
<file path=[Content_Types].xml><?xml version="1.0" encoding="utf-8"?>
<Types xmlns="http://schemas.openxmlformats.org/package/2006/content-types">
  <Default Extension="jpeg" ContentType="image/jpeg"/>
  <Default Extension="jp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charts/chart7.xml" ContentType="application/vnd.openxmlformats-officedocument.drawingml.chart+xml"/>
  <Override PartName="/ppt/charts/style4.xml" ContentType="application/vnd.ms-office.chartstyle+xml"/>
  <Override PartName="/ppt/charts/colors4.xml" ContentType="application/vnd.ms-office.chartcolorstyle+xml"/>
  <Override PartName="/ppt/charts/chart8.xml" ContentType="application/vnd.openxmlformats-officedocument.drawingml.chart+xml"/>
  <Override PartName="/ppt/charts/style5.xml" ContentType="application/vnd.ms-office.chartstyle+xml"/>
  <Override PartName="/ppt/charts/colors5.xml" ContentType="application/vnd.ms-office.chartcolorstyle+xml"/>
  <Override PartName="/ppt/charts/chart9.xml" ContentType="application/vnd.openxmlformats-officedocument.drawingml.chart+xml"/>
  <Override PartName="/ppt/charts/style6.xml" ContentType="application/vnd.ms-office.chartstyle+xml"/>
  <Override PartName="/ppt/charts/colors6.xml" ContentType="application/vnd.ms-office.chartcolorstyle+xml"/>
  <Override PartName="/ppt/charts/chart10.xml" ContentType="application/vnd.openxmlformats-officedocument.drawingml.chart+xml"/>
  <Override PartName="/ppt/charts/style7.xml" ContentType="application/vnd.ms-office.chartstyle+xml"/>
  <Override PartName="/ppt/charts/colors7.xml" ContentType="application/vnd.ms-office.chartcolorstyle+xml"/>
  <Override PartName="/ppt/charts/chart11.xml" ContentType="application/vnd.openxmlformats-officedocument.drawingml.chart+xml"/>
  <Override PartName="/ppt/charts/chart12.xml" ContentType="application/vnd.openxmlformats-officedocument.drawingml.chart+xml"/>
  <Override PartName="/ppt/charts/chart13.xml" ContentType="application/vnd.openxmlformats-officedocument.drawingml.chart+xml"/>
  <Override PartName="/ppt/charts/chart14.xml" ContentType="application/vnd.openxmlformats-officedocument.drawingml.chart+xml"/>
  <Override PartName="/ppt/charts/chart15.xml" ContentType="application/vnd.openxmlformats-officedocument.drawingml.chart+xml"/>
  <Override PartName="/ppt/charts/chart16.xml" ContentType="application/vnd.openxmlformats-officedocument.drawingml.chart+xml"/>
  <Override PartName="/ppt/charts/chart17.xml" ContentType="application/vnd.openxmlformats-officedocument.drawingml.chart+xml"/>
  <Override PartName="/ppt/charts/chart18.xml" ContentType="application/vnd.openxmlformats-officedocument.drawingml.chart+xml"/>
  <Override PartName="/ppt/charts/chart19.xml" ContentType="application/vnd.openxmlformats-officedocument.drawingml.chart+xml"/>
  <Override PartName="/ppt/charts/chart20.xml" ContentType="application/vnd.openxmlformats-officedocument.drawingml.chart+xml"/>
  <Override PartName="/ppt/charts/style8.xml" ContentType="application/vnd.ms-office.chartstyle+xml"/>
  <Override PartName="/ppt/charts/colors8.xml" ContentType="application/vnd.ms-office.chartcolorstyl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64" r:id="rId1"/>
    <p:sldMasterId id="2147483790" r:id="rId2"/>
  </p:sldMasterIdLst>
  <p:notesMasterIdLst>
    <p:notesMasterId r:id="rId39"/>
  </p:notesMasterIdLst>
  <p:handoutMasterIdLst>
    <p:handoutMasterId r:id="rId40"/>
  </p:handoutMasterIdLst>
  <p:sldIdLst>
    <p:sldId id="780" r:id="rId3"/>
    <p:sldId id="485" r:id="rId4"/>
    <p:sldId id="305" r:id="rId5"/>
    <p:sldId id="832" r:id="rId6"/>
    <p:sldId id="961" r:id="rId7"/>
    <p:sldId id="962" r:id="rId8"/>
    <p:sldId id="955" r:id="rId9"/>
    <p:sldId id="897" r:id="rId10"/>
    <p:sldId id="921" r:id="rId11"/>
    <p:sldId id="965" r:id="rId12"/>
    <p:sldId id="956" r:id="rId13"/>
    <p:sldId id="909" r:id="rId14"/>
    <p:sldId id="911" r:id="rId15"/>
    <p:sldId id="913" r:id="rId16"/>
    <p:sldId id="915" r:id="rId17"/>
    <p:sldId id="958" r:id="rId18"/>
    <p:sldId id="919" r:id="rId19"/>
    <p:sldId id="937" r:id="rId20"/>
    <p:sldId id="960" r:id="rId21"/>
    <p:sldId id="923" r:id="rId22"/>
    <p:sldId id="925" r:id="rId23"/>
    <p:sldId id="947" r:id="rId24"/>
    <p:sldId id="935" r:id="rId25"/>
    <p:sldId id="931" r:id="rId26"/>
    <p:sldId id="927" r:id="rId27"/>
    <p:sldId id="929" r:id="rId28"/>
    <p:sldId id="933" r:id="rId29"/>
    <p:sldId id="946" r:id="rId30"/>
    <p:sldId id="942" r:id="rId31"/>
    <p:sldId id="938" r:id="rId32"/>
    <p:sldId id="939" r:id="rId33"/>
    <p:sldId id="954" r:id="rId34"/>
    <p:sldId id="944" r:id="rId35"/>
    <p:sldId id="963" r:id="rId36"/>
    <p:sldId id="970" r:id="rId37"/>
    <p:sldId id="971" r:id="rId38"/>
  </p:sldIdLst>
  <p:sldSz cx="12192000" cy="6858000"/>
  <p:notesSz cx="6858000" cy="9144000"/>
  <p:defaultTextStyle>
    <a:defPPr>
      <a:defRPr lang="lt-L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lukasv" initials="l" lastIdx="1" clrIdx="0"/>
  <p:cmAuthor id="2" name="Ilze Kronberga" initials="IK" lastIdx="1"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F219C"/>
    <a:srgbClr val="14A2BA"/>
    <a:srgbClr val="1B7F24"/>
    <a:srgbClr val="FF9900"/>
    <a:srgbClr val="FFCC99"/>
    <a:srgbClr val="EE9A86"/>
    <a:srgbClr val="EB8871"/>
    <a:srgbClr val="F0F0F0"/>
    <a:srgbClr val="ED9783"/>
    <a:srgbClr val="E8795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9770" autoAdjust="0"/>
    <p:restoredTop sz="95460" autoAdjust="0"/>
  </p:normalViewPr>
  <p:slideViewPr>
    <p:cSldViewPr snapToGrid="0">
      <p:cViewPr varScale="1">
        <p:scale>
          <a:sx n="114" d="100"/>
          <a:sy n="114" d="100"/>
        </p:scale>
        <p:origin x="774" y="114"/>
      </p:cViewPr>
      <p:guideLst>
        <p:guide orient="horz" pos="2160"/>
        <p:guide pos="3840"/>
      </p:guideLst>
    </p:cSldViewPr>
  </p:slideViewPr>
  <p:outlineViewPr>
    <p:cViewPr>
      <p:scale>
        <a:sx n="33" d="100"/>
        <a:sy n="33" d="100"/>
      </p:scale>
      <p:origin x="0" y="0"/>
    </p:cViewPr>
  </p:outlineViewPr>
  <p:notesTextViewPr>
    <p:cViewPr>
      <p:scale>
        <a:sx n="3" d="2"/>
        <a:sy n="3" d="2"/>
      </p:scale>
      <p:origin x="0" y="0"/>
    </p:cViewPr>
  </p:notesTextViewPr>
  <p:notesViewPr>
    <p:cSldViewPr snapToGrid="0">
      <p:cViewPr varScale="1">
        <p:scale>
          <a:sx n="61" d="100"/>
          <a:sy n="61" d="100"/>
        </p:scale>
        <p:origin x="2742" y="66"/>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notesMaster" Target="notesMasters/notesMaster1.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presProps" Target="presProps.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slide" Target="slides/slide27.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handoutMaster" Target="handoutMasters/handoutMaster1.xml"/><Relationship Id="rId45" Type="http://schemas.openxmlformats.org/officeDocument/2006/relationships/tableStyles" Target="tableStyle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theme" Target="theme/theme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viewProps" Target="viewProps.xml"/><Relationship Id="rId8" Type="http://schemas.openxmlformats.org/officeDocument/2006/relationships/slide" Target="slides/slide6.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20" Type="http://schemas.openxmlformats.org/officeDocument/2006/relationships/slide" Target="slides/slide18.xml"/><Relationship Id="rId41" Type="http://schemas.openxmlformats.org/officeDocument/2006/relationships/commentAuthors" Target="commentAuthor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7.xml"/><Relationship Id="rId1" Type="http://schemas.microsoft.com/office/2011/relationships/chartStyle" Target="style7.xml"/></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20.xml.rels><?xml version="1.0" encoding="UTF-8" standalone="yes"?>
<Relationships xmlns="http://schemas.openxmlformats.org/package/2006/relationships"><Relationship Id="rId3" Type="http://schemas.openxmlformats.org/officeDocument/2006/relationships/package" Target="../embeddings/Microsoft_Excel_Worksheet19.xlsx"/><Relationship Id="rId2" Type="http://schemas.microsoft.com/office/2011/relationships/chartColorStyle" Target="colors8.xml"/><Relationship Id="rId1" Type="http://schemas.microsoft.com/office/2011/relationships/chartStyle" Target="style8.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4.xml"/><Relationship Id="rId1" Type="http://schemas.microsoft.com/office/2011/relationships/chartStyle" Target="style4.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5.xml"/><Relationship Id="rId1" Type="http://schemas.microsoft.com/office/2011/relationships/chartStyle" Target="style5.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6.xml"/><Relationship Id="rId1" Type="http://schemas.microsoft.com/office/2011/relationships/chartStyle" Target="style6.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lv-LV"/>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1935788536976426E-2"/>
          <c:y val="0"/>
          <c:w val="0.66336039282146231"/>
          <c:h val="0.92112847166127365"/>
        </c:manualLayout>
      </c:layout>
      <c:barChart>
        <c:barDir val="col"/>
        <c:grouping val="stacked"/>
        <c:varyColors val="0"/>
        <c:ser>
          <c:idx val="0"/>
          <c:order val="0"/>
          <c:tx>
            <c:strRef>
              <c:f>Sheet1!$B$1</c:f>
              <c:strCache>
                <c:ptCount val="1"/>
                <c:pt idx="0">
                  <c:v>Pilnīgi apmierināts</c:v>
                </c:pt>
              </c:strCache>
            </c:strRef>
          </c:tx>
          <c:spPr>
            <a:solidFill>
              <a:schemeClr val="accent1"/>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Visa izlase, n=323</c:v>
                </c:pt>
                <c:pt idx="1">
                  <c:v>Plānveida pārbaudes , n=203</c:v>
                </c:pt>
                <c:pt idx="2">
                  <c:v>Zvejas kontrole, n=55</c:v>
                </c:pt>
                <c:pt idx="3">
                  <c:v>Pārbaudes radiācijas drošībā, n=65</c:v>
                </c:pt>
              </c:strCache>
            </c:strRef>
          </c:cat>
          <c:val>
            <c:numRef>
              <c:f>Sheet1!$B$2:$B$5</c:f>
              <c:numCache>
                <c:formatCode>0</c:formatCode>
                <c:ptCount val="4"/>
                <c:pt idx="0">
                  <c:v>28.957001923434774</c:v>
                </c:pt>
                <c:pt idx="1">
                  <c:v>31.527093596058947</c:v>
                </c:pt>
                <c:pt idx="2">
                  <c:v>19.999999999999996</c:v>
                </c:pt>
                <c:pt idx="3">
                  <c:v>38.461538461538396</c:v>
                </c:pt>
              </c:numCache>
            </c:numRef>
          </c:val>
          <c:extLst>
            <c:ext xmlns:c16="http://schemas.microsoft.com/office/drawing/2014/chart" uri="{C3380CC4-5D6E-409C-BE32-E72D297353CC}">
              <c16:uniqueId val="{00000000-99F5-461A-A7EC-D0ED05637873}"/>
            </c:ext>
          </c:extLst>
        </c:ser>
        <c:ser>
          <c:idx val="1"/>
          <c:order val="1"/>
          <c:tx>
            <c:strRef>
              <c:f>Sheet1!$C$1</c:f>
              <c:strCache>
                <c:ptCount val="1"/>
                <c:pt idx="0">
                  <c:v>Ļoti apmierināts</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Visa izlase, n=323</c:v>
                </c:pt>
                <c:pt idx="1">
                  <c:v>Plānveida pārbaudes , n=203</c:v>
                </c:pt>
                <c:pt idx="2">
                  <c:v>Zvejas kontrole, n=55</c:v>
                </c:pt>
                <c:pt idx="3">
                  <c:v>Pārbaudes radiācijas drošībā, n=65</c:v>
                </c:pt>
              </c:strCache>
            </c:strRef>
          </c:cat>
          <c:val>
            <c:numRef>
              <c:f>Sheet1!$C$2:$C$5</c:f>
              <c:numCache>
                <c:formatCode>0</c:formatCode>
                <c:ptCount val="4"/>
                <c:pt idx="0">
                  <c:v>15.84041695104543</c:v>
                </c:pt>
                <c:pt idx="1">
                  <c:v>15.270935960591061</c:v>
                </c:pt>
                <c:pt idx="2">
                  <c:v>16.36363636363636</c:v>
                </c:pt>
                <c:pt idx="3">
                  <c:v>19.999999999999968</c:v>
                </c:pt>
              </c:numCache>
            </c:numRef>
          </c:val>
          <c:extLst>
            <c:ext xmlns:c16="http://schemas.microsoft.com/office/drawing/2014/chart" uri="{C3380CC4-5D6E-409C-BE32-E72D297353CC}">
              <c16:uniqueId val="{00000001-99F5-461A-A7EC-D0ED05637873}"/>
            </c:ext>
          </c:extLst>
        </c:ser>
        <c:ser>
          <c:idx val="2"/>
          <c:order val="2"/>
          <c:tx>
            <c:strRef>
              <c:f>Sheet1!$D$1</c:f>
              <c:strCache>
                <c:ptCount val="1"/>
                <c:pt idx="0">
                  <c:v>Apmierināts</c:v>
                </c:pt>
              </c:strCache>
            </c:strRef>
          </c:tx>
          <c:spPr>
            <a:solidFill>
              <a:schemeClr val="accent3"/>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Visa izlase, n=323</c:v>
                </c:pt>
                <c:pt idx="1">
                  <c:v>Plānveida pārbaudes , n=203</c:v>
                </c:pt>
                <c:pt idx="2">
                  <c:v>Zvejas kontrole, n=55</c:v>
                </c:pt>
                <c:pt idx="3">
                  <c:v>Pārbaudes radiācijas drošībā, n=65</c:v>
                </c:pt>
              </c:strCache>
            </c:strRef>
          </c:cat>
          <c:val>
            <c:numRef>
              <c:f>Sheet1!$D$2:$D$5</c:f>
              <c:numCache>
                <c:formatCode>0</c:formatCode>
                <c:ptCount val="4"/>
                <c:pt idx="0">
                  <c:v>49.339207048458064</c:v>
                </c:pt>
                <c:pt idx="1">
                  <c:v>46.798029556649993</c:v>
                </c:pt>
                <c:pt idx="2">
                  <c:v>58.181818181818208</c:v>
                </c:pt>
                <c:pt idx="3">
                  <c:v>39.999999999999936</c:v>
                </c:pt>
              </c:numCache>
            </c:numRef>
          </c:val>
          <c:extLst>
            <c:ext xmlns:c16="http://schemas.microsoft.com/office/drawing/2014/chart" uri="{C3380CC4-5D6E-409C-BE32-E72D297353CC}">
              <c16:uniqueId val="{00000002-99F5-461A-A7EC-D0ED05637873}"/>
            </c:ext>
          </c:extLst>
        </c:ser>
        <c:ser>
          <c:idx val="3"/>
          <c:order val="3"/>
          <c:tx>
            <c:strRef>
              <c:f>Sheet1!$E$1</c:f>
              <c:strCache>
                <c:ptCount val="1"/>
                <c:pt idx="0">
                  <c:v>Drīzāk neapmierināts</c:v>
                </c:pt>
              </c:strCache>
            </c:strRef>
          </c:tx>
          <c:spPr>
            <a:solidFill>
              <a:schemeClr val="accent4"/>
            </a:solidFill>
            <a:ln>
              <a:noFill/>
            </a:ln>
            <a:effectLst/>
          </c:spPr>
          <c:invertIfNegative val="0"/>
          <c:dLbls>
            <c:dLbl>
              <c:idx val="0"/>
              <c:layout>
                <c:manualLayout>
                  <c:x val="-1.1250290392584199E-2"/>
                  <c:y val="3.4918867652213356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99F5-461A-A7EC-D0ED05637873}"/>
                </c:ext>
              </c:extLst>
            </c:dLbl>
            <c:dLbl>
              <c:idx val="1"/>
              <c:layout>
                <c:manualLayout>
                  <c:x val="-1.1250290392584199E-2"/>
                  <c:y val="3.4913369483791992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99F5-461A-A7EC-D0ED05637873}"/>
                </c:ext>
              </c:extLst>
            </c:dLbl>
            <c:dLbl>
              <c:idx val="2"/>
              <c:layout>
                <c:manualLayout>
                  <c:x val="-9.8440040935111727E-3"/>
                  <c:y val="3.4916118568003316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99F5-461A-A7EC-D0ED05637873}"/>
                </c:ext>
              </c:extLst>
            </c:dLbl>
            <c:dLbl>
              <c:idx val="3"/>
              <c:layout>
                <c:manualLayout>
                  <c:x val="-7.0314314953651754E-3"/>
                  <c:y val="-1.4428057049673747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99F5-461A-A7EC-D0ED05637873}"/>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Visa izlase, n=323</c:v>
                </c:pt>
                <c:pt idx="1">
                  <c:v>Plānveida pārbaudes , n=203</c:v>
                </c:pt>
                <c:pt idx="2">
                  <c:v>Zvejas kontrole, n=55</c:v>
                </c:pt>
                <c:pt idx="3">
                  <c:v>Pārbaudes radiācijas drošībā, n=65</c:v>
                </c:pt>
              </c:strCache>
            </c:strRef>
          </c:cat>
          <c:val>
            <c:numRef>
              <c:f>Sheet1!$E$2:$E$5</c:f>
              <c:numCache>
                <c:formatCode>0</c:formatCode>
                <c:ptCount val="4"/>
                <c:pt idx="0">
                  <c:v>3.4870013029720091</c:v>
                </c:pt>
                <c:pt idx="1">
                  <c:v>4.4334975369457954</c:v>
                </c:pt>
                <c:pt idx="2">
                  <c:v>1.8181818181818181</c:v>
                </c:pt>
              </c:numCache>
            </c:numRef>
          </c:val>
          <c:extLst>
            <c:ext xmlns:c16="http://schemas.microsoft.com/office/drawing/2014/chart" uri="{C3380CC4-5D6E-409C-BE32-E72D297353CC}">
              <c16:uniqueId val="{00000007-99F5-461A-A7EC-D0ED05637873}"/>
            </c:ext>
          </c:extLst>
        </c:ser>
        <c:ser>
          <c:idx val="4"/>
          <c:order val="4"/>
          <c:tx>
            <c:strRef>
              <c:f>Sheet1!$F$1</c:f>
              <c:strCache>
                <c:ptCount val="1"/>
                <c:pt idx="0">
                  <c:v>Pilnīgi neapmierināts</c:v>
                </c:pt>
              </c:strCache>
            </c:strRef>
          </c:tx>
          <c:spPr>
            <a:solidFill>
              <a:schemeClr val="accent5"/>
            </a:solidFill>
            <a:ln>
              <a:noFill/>
            </a:ln>
            <a:effectLst/>
          </c:spPr>
          <c:invertIfNegative val="0"/>
          <c:dLbls>
            <c:dLbl>
              <c:idx val="0"/>
              <c:layout>
                <c:manualLayout>
                  <c:x val="9.8440040935111727E-3"/>
                  <c:y val="1.0474285753558346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99F5-461A-A7EC-D0ED05637873}"/>
                </c:ext>
              </c:extLst>
            </c:dLbl>
            <c:dLbl>
              <c:idx val="1"/>
              <c:layout>
                <c:manualLayout>
                  <c:x val="1.2656576691657224E-2"/>
                  <c:y val="1.39658976103585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99F5-461A-A7EC-D0ED05637873}"/>
                </c:ext>
              </c:extLst>
            </c:dLbl>
            <c:dLbl>
              <c:idx val="2"/>
              <c:layout>
                <c:manualLayout>
                  <c:x val="7.0314314953650722E-3"/>
                  <c:y val="1.2801420927616316E-16"/>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99F5-461A-A7EC-D0ED05637873}"/>
                </c:ext>
              </c:extLst>
            </c:dLbl>
            <c:dLbl>
              <c:idx val="3"/>
              <c:layout>
                <c:manualLayout>
                  <c:x val="0"/>
                  <c:y val="1.4428738690164178E-2"/>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99F5-461A-A7EC-D0ED05637873}"/>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Visa izlase, n=323</c:v>
                </c:pt>
                <c:pt idx="1">
                  <c:v>Plānveida pārbaudes , n=203</c:v>
                </c:pt>
                <c:pt idx="2">
                  <c:v>Zvejas kontrole, n=55</c:v>
                </c:pt>
                <c:pt idx="3">
                  <c:v>Pārbaudes radiācijas drošībā, n=65</c:v>
                </c:pt>
              </c:strCache>
            </c:strRef>
          </c:cat>
          <c:val>
            <c:numRef>
              <c:f>Sheet1!$F$2:$F$5</c:f>
              <c:numCache>
                <c:formatCode>0</c:formatCode>
                <c:ptCount val="4"/>
                <c:pt idx="0">
                  <c:v>2.3763727740894649</c:v>
                </c:pt>
                <c:pt idx="1">
                  <c:v>1.9704433497536866</c:v>
                </c:pt>
                <c:pt idx="2">
                  <c:v>3.6363636363636362</c:v>
                </c:pt>
                <c:pt idx="3">
                  <c:v>1.5384615384615365</c:v>
                </c:pt>
              </c:numCache>
            </c:numRef>
          </c:val>
          <c:extLst>
            <c:ext xmlns:c16="http://schemas.microsoft.com/office/drawing/2014/chart" uri="{C3380CC4-5D6E-409C-BE32-E72D297353CC}">
              <c16:uniqueId val="{0000000C-99F5-461A-A7EC-D0ED05637873}"/>
            </c:ext>
          </c:extLst>
        </c:ser>
        <c:dLbls>
          <c:showLegendKey val="0"/>
          <c:showVal val="0"/>
          <c:showCatName val="0"/>
          <c:showSerName val="0"/>
          <c:showPercent val="0"/>
          <c:showBubbleSize val="0"/>
        </c:dLbls>
        <c:gapWidth val="53"/>
        <c:overlap val="100"/>
        <c:axId val="-10093216"/>
        <c:axId val="-10092672"/>
      </c:barChart>
      <c:catAx>
        <c:axId val="-1009321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10092672"/>
        <c:crosses val="max"/>
        <c:auto val="1"/>
        <c:lblAlgn val="ctr"/>
        <c:lblOffset val="100"/>
        <c:noMultiLvlLbl val="0"/>
      </c:catAx>
      <c:valAx>
        <c:axId val="-10092672"/>
        <c:scaling>
          <c:orientation val="maxMin"/>
          <c:max val="100"/>
        </c:scaling>
        <c:delete val="1"/>
        <c:axPos val="l"/>
        <c:numFmt formatCode="0" sourceLinked="1"/>
        <c:majorTickMark val="out"/>
        <c:minorTickMark val="none"/>
        <c:tickLblPos val="nextTo"/>
        <c:crossAx val="-10093216"/>
        <c:crosses val="autoZero"/>
        <c:crossBetween val="between"/>
      </c:valAx>
      <c:spPr>
        <a:noFill/>
        <a:ln>
          <a:noFill/>
        </a:ln>
        <a:effectLst/>
      </c:spPr>
    </c:plotArea>
    <c:legend>
      <c:legendPos val="b"/>
      <c:layout>
        <c:manualLayout>
          <c:xMode val="edge"/>
          <c:yMode val="edge"/>
          <c:x val="0.76764374405235003"/>
          <c:y val="0"/>
          <c:w val="0.19462227260738102"/>
          <c:h val="0.92740375397541197"/>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lv-LV"/>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4743274278215232E-3"/>
          <c:y val="0"/>
          <c:w val="0.75926238844107952"/>
          <c:h val="0.87176671595053357"/>
        </c:manualLayout>
      </c:layout>
      <c:barChart>
        <c:barDir val="col"/>
        <c:grouping val="stacked"/>
        <c:varyColors val="0"/>
        <c:ser>
          <c:idx val="0"/>
          <c:order val="0"/>
          <c:tx>
            <c:strRef>
              <c:f>Sheet1!$B$1</c:f>
              <c:strCache>
                <c:ptCount val="1"/>
                <c:pt idx="0">
                  <c:v>Jebkurš koruptīvais risks ir pilnībā izslēgts</c:v>
                </c:pt>
              </c:strCache>
            </c:strRef>
          </c:tx>
          <c:spPr>
            <a:solidFill>
              <a:schemeClr val="accent1"/>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Visa izlase, n=323</c:v>
                </c:pt>
                <c:pt idx="1">
                  <c:v>Plānveida pārbaudes , n=203</c:v>
                </c:pt>
                <c:pt idx="2">
                  <c:v>Zvejas kontrole, n=55</c:v>
                </c:pt>
                <c:pt idx="3">
                  <c:v>Pārbaudes radiācijas drošībā, n=65</c:v>
                </c:pt>
              </c:strCache>
            </c:strRef>
          </c:cat>
          <c:val>
            <c:numRef>
              <c:f>Sheet1!$B$2:$B$5</c:f>
              <c:numCache>
                <c:formatCode>0</c:formatCode>
                <c:ptCount val="4"/>
                <c:pt idx="0">
                  <c:v>30.874232177204078</c:v>
                </c:pt>
                <c:pt idx="1">
                  <c:v>34.482758620689474</c:v>
                </c:pt>
                <c:pt idx="2">
                  <c:v>19.999999999999996</c:v>
                </c:pt>
                <c:pt idx="3">
                  <c:v>36.923076923076863</c:v>
                </c:pt>
              </c:numCache>
            </c:numRef>
          </c:val>
          <c:extLst>
            <c:ext xmlns:c16="http://schemas.microsoft.com/office/drawing/2014/chart" uri="{C3380CC4-5D6E-409C-BE32-E72D297353CC}">
              <c16:uniqueId val="{00000000-E68A-40D8-8E59-607A9E0F927C}"/>
            </c:ext>
          </c:extLst>
        </c:ser>
        <c:ser>
          <c:idx val="1"/>
          <c:order val="1"/>
          <c:tx>
            <c:strRef>
              <c:f>Sheet1!$C$1</c:f>
              <c:strCache>
                <c:ptCount val="1"/>
                <c:pt idx="0">
                  <c:v>Nav gandrīz nekādu koruptīvo risku</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Visa izlase, n=323</c:v>
                </c:pt>
                <c:pt idx="1">
                  <c:v>Plānveida pārbaudes , n=203</c:v>
                </c:pt>
                <c:pt idx="2">
                  <c:v>Zvejas kontrole, n=55</c:v>
                </c:pt>
                <c:pt idx="3">
                  <c:v>Pārbaudes radiācijas drošībā, n=65</c:v>
                </c:pt>
              </c:strCache>
            </c:strRef>
          </c:cat>
          <c:val>
            <c:numRef>
              <c:f>Sheet1!$C$2:$C$5</c:f>
              <c:numCache>
                <c:formatCode>0</c:formatCode>
                <c:ptCount val="4"/>
                <c:pt idx="0">
                  <c:v>16.392628901160212</c:v>
                </c:pt>
                <c:pt idx="1">
                  <c:v>18.719211822660007</c:v>
                </c:pt>
                <c:pt idx="2">
                  <c:v>9.0909090909090899</c:v>
                </c:pt>
                <c:pt idx="3">
                  <c:v>21.538461538461508</c:v>
                </c:pt>
              </c:numCache>
            </c:numRef>
          </c:val>
          <c:extLst>
            <c:ext xmlns:c16="http://schemas.microsoft.com/office/drawing/2014/chart" uri="{C3380CC4-5D6E-409C-BE32-E72D297353CC}">
              <c16:uniqueId val="{00000001-E68A-40D8-8E59-607A9E0F927C}"/>
            </c:ext>
          </c:extLst>
        </c:ser>
        <c:ser>
          <c:idx val="2"/>
          <c:order val="2"/>
          <c:tx>
            <c:strRef>
              <c:f>Sheet1!$D$1</c:f>
              <c:strCache>
                <c:ptCount val="1"/>
                <c:pt idx="0">
                  <c:v>Nelieli koruptīvie riski</c:v>
                </c:pt>
              </c:strCache>
            </c:strRef>
          </c:tx>
          <c:spPr>
            <a:solidFill>
              <a:schemeClr val="accent3"/>
            </a:solidFill>
            <a:ln>
              <a:noFill/>
            </a:ln>
            <a:effectLst/>
          </c:spPr>
          <c:invertIfNegative val="0"/>
          <c:dLbls>
            <c:dLbl>
              <c:idx val="0"/>
              <c:layout>
                <c:manualLayout>
                  <c:x val="7.0314314953651208E-3"/>
                  <c:y val="8.7291670962111392E-3"/>
                </c:manualLayout>
              </c:layout>
              <c:numFmt formatCode="0\%" sourceLinked="0"/>
              <c:spPr>
                <a:noFill/>
                <a:ln>
                  <a:noFill/>
                </a:ln>
                <a:effectLst/>
              </c:spPr>
              <c:txPr>
                <a:bodyPr rot="0" spcFirstLastPara="1" vertOverflow="ellipsis" vert="horz" wrap="square" lIns="38100" tIns="19050" rIns="38100" bIns="19050" anchor="ctr" anchorCtr="1">
                  <a:noAutofit/>
                </a:bodyPr>
                <a:lstStyle/>
                <a:p>
                  <a:pPr>
                    <a:defRPr sz="14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layout>
                    <c:manualLayout>
                      <c:w val="3.2492189574479906E-2"/>
                      <c:h val="8.0614970138072756E-2"/>
                    </c:manualLayout>
                  </c15:layout>
                </c:ext>
                <c:ext xmlns:c16="http://schemas.microsoft.com/office/drawing/2014/chart" uri="{C3380CC4-5D6E-409C-BE32-E72D297353CC}">
                  <c16:uniqueId val="{00000002-E68A-40D8-8E59-607A9E0F927C}"/>
                </c:ext>
              </c:extLst>
            </c:dLbl>
            <c:dLbl>
              <c:idx val="2"/>
              <c:layout>
                <c:manualLayout>
                  <c:x val="5.6251451962920996E-3"/>
                  <c:y val="3.4913369483791034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E68A-40D8-8E59-607A9E0F927C}"/>
                </c:ext>
              </c:extLst>
            </c:dLbl>
            <c:dLbl>
              <c:idx val="3"/>
              <c:layout>
                <c:manualLayout>
                  <c:x val="2.8125725981460498E-3"/>
                  <c:y val="1.74566847418954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E68A-40D8-8E59-607A9E0F927C}"/>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Visa izlase, n=323</c:v>
                </c:pt>
                <c:pt idx="1">
                  <c:v>Plānveida pārbaudes , n=203</c:v>
                </c:pt>
                <c:pt idx="2">
                  <c:v>Zvejas kontrole, n=55</c:v>
                </c:pt>
                <c:pt idx="3">
                  <c:v>Pārbaudes radiācijas drošībā, n=65</c:v>
                </c:pt>
              </c:strCache>
            </c:strRef>
          </c:cat>
          <c:val>
            <c:numRef>
              <c:f>Sheet1!$D$2:$D$5</c:f>
              <c:numCache>
                <c:formatCode>0</c:formatCode>
                <c:ptCount val="4"/>
                <c:pt idx="0">
                  <c:v>3.0837004405286268</c:v>
                </c:pt>
                <c:pt idx="1">
                  <c:v>2.4630541871921086</c:v>
                </c:pt>
                <c:pt idx="2">
                  <c:v>3.6363636363636362</c:v>
                </c:pt>
                <c:pt idx="3">
                  <c:v>7.6923076923076827</c:v>
                </c:pt>
              </c:numCache>
            </c:numRef>
          </c:val>
          <c:extLst>
            <c:ext xmlns:c16="http://schemas.microsoft.com/office/drawing/2014/chart" uri="{C3380CC4-5D6E-409C-BE32-E72D297353CC}">
              <c16:uniqueId val="{00000005-E68A-40D8-8E59-607A9E0F927C}"/>
            </c:ext>
          </c:extLst>
        </c:ser>
        <c:ser>
          <c:idx val="3"/>
          <c:order val="3"/>
          <c:tx>
            <c:strRef>
              <c:f>Sheet1!$E$1</c:f>
              <c:strCache>
                <c:ptCount val="1"/>
                <c:pt idx="0">
                  <c:v>Augsti koruptīvie riski</c:v>
                </c:pt>
              </c:strCache>
            </c:strRef>
          </c:tx>
          <c:spPr>
            <a:solidFill>
              <a:schemeClr val="accent4"/>
            </a:solidFill>
            <a:ln>
              <a:noFill/>
            </a:ln>
            <a:effectLst/>
          </c:spPr>
          <c:invertIfNegative val="0"/>
          <c:dLbls>
            <c:dLbl>
              <c:idx val="0"/>
              <c:layout>
                <c:manualLayout>
                  <c:x val="-2.2500580785168398E-2"/>
                  <c:y val="1.7471804705057707E-3"/>
                </c:manualLayout>
              </c:layout>
              <c:numFmt formatCode="0.0\%" sourceLinked="0"/>
              <c:spPr>
                <a:noFill/>
                <a:ln>
                  <a:noFill/>
                </a:ln>
                <a:effectLst/>
              </c:spPr>
              <c:txPr>
                <a:bodyPr rot="0" spcFirstLastPara="1" vertOverflow="ellipsis" vert="horz" wrap="square" lIns="38100" tIns="19050" rIns="38100" bIns="19050" anchor="ctr" anchorCtr="1">
                  <a:noAutofit/>
                </a:bodyPr>
                <a:lstStyle/>
                <a:p>
                  <a:pPr>
                    <a:defRPr sz="14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layout>
                    <c:manualLayout>
                      <c:w val="4.7441123664830817E-2"/>
                      <c:h val="0.10156299182834719"/>
                    </c:manualLayout>
                  </c15:layout>
                </c:ext>
                <c:ext xmlns:c16="http://schemas.microsoft.com/office/drawing/2014/chart" uri="{C3380CC4-5D6E-409C-BE32-E72D297353CC}">
                  <c16:uniqueId val="{00000006-E68A-40D8-8E59-607A9E0F927C}"/>
                </c:ext>
              </c:extLst>
            </c:dLbl>
            <c:dLbl>
              <c:idx val="1"/>
              <c:layout>
                <c:manualLayout>
                  <c:x val="-1.8281666522347022E-2"/>
                  <c:y val="6.9836360762321695E-3"/>
                </c:manualLayout>
              </c:layout>
              <c:numFmt formatCode="0.0\%" sourceLinked="0"/>
              <c:spPr>
                <a:noFill/>
                <a:ln>
                  <a:noFill/>
                </a:ln>
                <a:effectLst/>
              </c:spPr>
              <c:txPr>
                <a:bodyPr rot="0" spcFirstLastPara="1" vertOverflow="ellipsis" vert="horz" wrap="square" lIns="38100" tIns="19050" rIns="38100" bIns="19050" anchor="ctr" anchorCtr="1">
                  <a:noAutofit/>
                </a:bodyPr>
                <a:lstStyle/>
                <a:p>
                  <a:pPr>
                    <a:defRPr sz="14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layout>
                    <c:manualLayout>
                      <c:w val="3.2492189574479906E-2"/>
                      <c:h val="6.3158285396177391E-2"/>
                    </c:manualLayout>
                  </c15:layout>
                </c:ext>
                <c:ext xmlns:c16="http://schemas.microsoft.com/office/drawing/2014/chart" uri="{C3380CC4-5D6E-409C-BE32-E72D297353CC}">
                  <c16:uniqueId val="{00000007-E68A-40D8-8E59-607A9E0F927C}"/>
                </c:ext>
              </c:extLst>
            </c:dLbl>
            <c:dLbl>
              <c:idx val="2"/>
              <c:layout>
                <c:manualLayout>
                  <c:x val="-1.2656576691657224E-2"/>
                  <c:y val="6.9832237136004073E-3"/>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E68A-40D8-8E59-607A9E0F927C}"/>
                </c:ext>
              </c:extLst>
            </c:dLbl>
            <c:dLbl>
              <c:idx val="3"/>
              <c:layout>
                <c:manualLayout>
                  <c:x val="-7.0314314953651242E-3"/>
                  <c:y val="-3.9537329127234486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E68A-40D8-8E59-607A9E0F927C}"/>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Visa izlase, n=323</c:v>
                </c:pt>
                <c:pt idx="1">
                  <c:v>Plānveida pārbaudes , n=203</c:v>
                </c:pt>
                <c:pt idx="2">
                  <c:v>Zvejas kontrole, n=55</c:v>
                </c:pt>
                <c:pt idx="3">
                  <c:v>Pārbaudes radiācijas drošībā, n=65</c:v>
                </c:pt>
              </c:strCache>
            </c:strRef>
          </c:cat>
          <c:val>
            <c:numRef>
              <c:f>Sheet1!$E$2:$E$5</c:f>
              <c:numCache>
                <c:formatCode>General</c:formatCode>
                <c:ptCount val="4"/>
                <c:pt idx="0" formatCode="0">
                  <c:v>0.47155177762610795</c:v>
                </c:pt>
                <c:pt idx="2" formatCode="0">
                  <c:v>1.8181818181818181</c:v>
                </c:pt>
              </c:numCache>
            </c:numRef>
          </c:val>
          <c:extLst>
            <c:ext xmlns:c16="http://schemas.microsoft.com/office/drawing/2014/chart" uri="{C3380CC4-5D6E-409C-BE32-E72D297353CC}">
              <c16:uniqueId val="{0000000A-E68A-40D8-8E59-607A9E0F927C}"/>
            </c:ext>
          </c:extLst>
        </c:ser>
        <c:ser>
          <c:idx val="4"/>
          <c:order val="4"/>
          <c:tx>
            <c:strRef>
              <c:f>Sheet1!$F$1</c:f>
              <c:strCache>
                <c:ptCount val="1"/>
                <c:pt idx="0">
                  <c:v>Ļoti augsti koruptīvie riski</c:v>
                </c:pt>
              </c:strCache>
            </c:strRef>
          </c:tx>
          <c:spPr>
            <a:solidFill>
              <a:schemeClr val="accent5"/>
            </a:solidFill>
            <a:ln>
              <a:noFill/>
            </a:ln>
            <a:effectLst/>
          </c:spPr>
          <c:invertIfNegative val="0"/>
          <c:dLbls>
            <c:dLbl>
              <c:idx val="0"/>
              <c:layout>
                <c:manualLayout>
                  <c:x val="1.8281721887949322E-2"/>
                  <c:y val="-1.04734610282949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E68A-40D8-8E59-607A9E0F927C}"/>
                </c:ext>
              </c:extLst>
            </c:dLbl>
            <c:dLbl>
              <c:idx val="1"/>
              <c:layout>
                <c:manualLayout>
                  <c:x val="1.6875435588876296E-2"/>
                  <c:y val="2.7490842119621741E-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E68A-40D8-8E59-607A9E0F927C}"/>
                </c:ext>
              </c:extLst>
            </c:dLbl>
            <c:dLbl>
              <c:idx val="2"/>
              <c:layout>
                <c:manualLayout>
                  <c:x val="1.5469149289803273E-2"/>
                  <c:y val="5.4981684229642417E-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E68A-40D8-8E59-607A9E0F927C}"/>
                </c:ext>
              </c:extLst>
            </c:dLbl>
            <c:dLbl>
              <c:idx val="3"/>
              <c:layout>
                <c:manualLayout>
                  <c:x val="0"/>
                  <c:y val="1.4428738690164178E-2"/>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E-E68A-40D8-8E59-607A9E0F927C}"/>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Visa izlase, n=323</c:v>
                </c:pt>
                <c:pt idx="1">
                  <c:v>Plānveida pārbaudes , n=203</c:v>
                </c:pt>
                <c:pt idx="2">
                  <c:v>Zvejas kontrole, n=55</c:v>
                </c:pt>
                <c:pt idx="3">
                  <c:v>Pārbaudes radiācijas drošībā, n=65</c:v>
                </c:pt>
              </c:strCache>
            </c:strRef>
          </c:cat>
          <c:val>
            <c:numRef>
              <c:f>Sheet1!$F$2:$F$5</c:f>
              <c:numCache>
                <c:formatCode>0</c:formatCode>
                <c:ptCount val="4"/>
                <c:pt idx="0">
                  <c:v>1.2347211019420459</c:v>
                </c:pt>
                <c:pt idx="1">
                  <c:v>0.98522167487684331</c:v>
                </c:pt>
                <c:pt idx="2">
                  <c:v>1.8181818181818181</c:v>
                </c:pt>
                <c:pt idx="3">
                  <c:v>1.5384615384615365</c:v>
                </c:pt>
              </c:numCache>
            </c:numRef>
          </c:val>
          <c:extLst>
            <c:ext xmlns:c16="http://schemas.microsoft.com/office/drawing/2014/chart" uri="{C3380CC4-5D6E-409C-BE32-E72D297353CC}">
              <c16:uniqueId val="{0000000F-E68A-40D8-8E59-607A9E0F927C}"/>
            </c:ext>
          </c:extLst>
        </c:ser>
        <c:ser>
          <c:idx val="5"/>
          <c:order val="5"/>
          <c:tx>
            <c:strRef>
              <c:f>Sheet1!$G$1</c:f>
              <c:strCache>
                <c:ptCount val="1"/>
                <c:pt idx="0">
                  <c:v>Nevaru novērtēt</c:v>
                </c:pt>
              </c:strCache>
            </c:strRef>
          </c:tx>
          <c:spPr>
            <a:solidFill>
              <a:schemeClr val="bg1">
                <a:lumMod val="85000"/>
              </a:schemeClr>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Visa izlase, n=323</c:v>
                </c:pt>
                <c:pt idx="1">
                  <c:v>Plānveida pārbaudes , n=203</c:v>
                </c:pt>
                <c:pt idx="2">
                  <c:v>Zvejas kontrole, n=55</c:v>
                </c:pt>
                <c:pt idx="3">
                  <c:v>Pārbaudes radiācijas drošībā, n=65</c:v>
                </c:pt>
              </c:strCache>
            </c:strRef>
          </c:cat>
          <c:val>
            <c:numRef>
              <c:f>Sheet1!$G$2:$G$5</c:f>
              <c:numCache>
                <c:formatCode>0</c:formatCode>
                <c:ptCount val="4"/>
                <c:pt idx="0">
                  <c:v>47.943165601538631</c:v>
                </c:pt>
                <c:pt idx="1">
                  <c:v>43.349753694581047</c:v>
                </c:pt>
                <c:pt idx="2">
                  <c:v>63.636363636363676</c:v>
                </c:pt>
                <c:pt idx="3">
                  <c:v>32.307692307692257</c:v>
                </c:pt>
              </c:numCache>
            </c:numRef>
          </c:val>
          <c:extLst>
            <c:ext xmlns:c16="http://schemas.microsoft.com/office/drawing/2014/chart" uri="{C3380CC4-5D6E-409C-BE32-E72D297353CC}">
              <c16:uniqueId val="{00000010-E68A-40D8-8E59-607A9E0F927C}"/>
            </c:ext>
          </c:extLst>
        </c:ser>
        <c:dLbls>
          <c:showLegendKey val="0"/>
          <c:showVal val="0"/>
          <c:showCatName val="0"/>
          <c:showSerName val="0"/>
          <c:showPercent val="0"/>
          <c:showBubbleSize val="0"/>
        </c:dLbls>
        <c:gapWidth val="53"/>
        <c:overlap val="100"/>
        <c:axId val="-1577554496"/>
        <c:axId val="-1577558304"/>
      </c:barChart>
      <c:catAx>
        <c:axId val="-157755449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1577558304"/>
        <c:crosses val="max"/>
        <c:auto val="1"/>
        <c:lblAlgn val="ctr"/>
        <c:lblOffset val="100"/>
        <c:noMultiLvlLbl val="0"/>
      </c:catAx>
      <c:valAx>
        <c:axId val="-1577558304"/>
        <c:scaling>
          <c:orientation val="maxMin"/>
          <c:max val="100"/>
        </c:scaling>
        <c:delete val="1"/>
        <c:axPos val="l"/>
        <c:numFmt formatCode="0" sourceLinked="1"/>
        <c:majorTickMark val="out"/>
        <c:minorTickMark val="none"/>
        <c:tickLblPos val="nextTo"/>
        <c:crossAx val="-1577554496"/>
        <c:crosses val="autoZero"/>
        <c:crossBetween val="between"/>
      </c:valAx>
      <c:spPr>
        <a:noFill/>
        <a:ln>
          <a:noFill/>
        </a:ln>
        <a:effectLst/>
      </c:spPr>
    </c:plotArea>
    <c:legend>
      <c:legendPos val="b"/>
      <c:layout>
        <c:manualLayout>
          <c:xMode val="edge"/>
          <c:yMode val="edge"/>
          <c:x val="0.7720756483159813"/>
          <c:y val="1.3965325313861413E-2"/>
          <c:w val="0.19180970000923495"/>
          <c:h val="0.85796502659032525"/>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lv-LV"/>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7160415031975808"/>
          <c:y val="9.5395118068569221E-2"/>
          <c:w val="0.60903332417551981"/>
          <c:h val="0.79868539544619288"/>
        </c:manualLayout>
      </c:layout>
      <c:barChart>
        <c:barDir val="bar"/>
        <c:grouping val="percentStacked"/>
        <c:varyColors val="0"/>
        <c:ser>
          <c:idx val="0"/>
          <c:order val="0"/>
          <c:tx>
            <c:strRef>
              <c:f>Sheet1!$B$1</c:f>
              <c:strCache>
                <c:ptCount val="1"/>
                <c:pt idx="0">
                  <c:v>Pilnīgi apmierināts</c:v>
                </c:pt>
              </c:strCache>
            </c:strRef>
          </c:tx>
          <c:spPr>
            <a:solidFill>
              <a:schemeClr val="accent1"/>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Visa izlase, n=323</c:v>
                </c:pt>
                <c:pt idx="1">
                  <c:v>Plānveida pārbaudes , n=203</c:v>
                </c:pt>
                <c:pt idx="2">
                  <c:v>Zvejas kontrole, n=55</c:v>
                </c:pt>
                <c:pt idx="3">
                  <c:v>Pārbaudes radiācijas drošībā, n=65</c:v>
                </c:pt>
              </c:strCache>
            </c:strRef>
          </c:cat>
          <c:val>
            <c:numRef>
              <c:f>Sheet1!$B$2:$B$5</c:f>
              <c:numCache>
                <c:formatCode>0</c:formatCode>
                <c:ptCount val="4"/>
                <c:pt idx="0">
                  <c:v>55.351492213191001</c:v>
                </c:pt>
                <c:pt idx="1">
                  <c:v>60.098522167487381</c:v>
                </c:pt>
                <c:pt idx="2">
                  <c:v>41.818181818181813</c:v>
                </c:pt>
                <c:pt idx="3">
                  <c:v>59.999999999999957</c:v>
                </c:pt>
              </c:numCache>
            </c:numRef>
          </c:val>
          <c:extLst>
            <c:ext xmlns:c16="http://schemas.microsoft.com/office/drawing/2014/chart" uri="{C3380CC4-5D6E-409C-BE32-E72D297353CC}">
              <c16:uniqueId val="{00000000-9480-4CFC-92EF-A4612A96E5F1}"/>
            </c:ext>
          </c:extLst>
        </c:ser>
        <c:ser>
          <c:idx val="1"/>
          <c:order val="1"/>
          <c:tx>
            <c:strRef>
              <c:f>Sheet1!$C$1</c:f>
              <c:strCache>
                <c:ptCount val="1"/>
                <c:pt idx="0">
                  <c:v>Ļoti apmierināts</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Visa izlase, n=323</c:v>
                </c:pt>
                <c:pt idx="1">
                  <c:v>Plānveida pārbaudes , n=203</c:v>
                </c:pt>
                <c:pt idx="2">
                  <c:v>Zvejas kontrole, n=55</c:v>
                </c:pt>
                <c:pt idx="3">
                  <c:v>Pārbaudes radiācijas drošībā, n=65</c:v>
                </c:pt>
              </c:strCache>
            </c:strRef>
          </c:cat>
          <c:val>
            <c:numRef>
              <c:f>Sheet1!$C$2:$C$5</c:f>
              <c:numCache>
                <c:formatCode>0</c:formatCode>
                <c:ptCount val="4"/>
                <c:pt idx="0">
                  <c:v>17.242663026617809</c:v>
                </c:pt>
                <c:pt idx="1">
                  <c:v>18.719211822660007</c:v>
                </c:pt>
                <c:pt idx="2">
                  <c:v>12.727272727272725</c:v>
                </c:pt>
                <c:pt idx="3">
                  <c:v>19.999999999999968</c:v>
                </c:pt>
              </c:numCache>
            </c:numRef>
          </c:val>
          <c:extLst>
            <c:ext xmlns:c16="http://schemas.microsoft.com/office/drawing/2014/chart" uri="{C3380CC4-5D6E-409C-BE32-E72D297353CC}">
              <c16:uniqueId val="{00000001-9480-4CFC-92EF-A4612A96E5F1}"/>
            </c:ext>
          </c:extLst>
        </c:ser>
        <c:ser>
          <c:idx val="2"/>
          <c:order val="2"/>
          <c:tx>
            <c:strRef>
              <c:f>Sheet1!$D$1</c:f>
              <c:strCache>
                <c:ptCount val="1"/>
                <c:pt idx="0">
                  <c:v>Apmierināts</c:v>
                </c:pt>
              </c:strCache>
            </c:strRef>
          </c:tx>
          <c:spPr>
            <a:solidFill>
              <a:schemeClr val="accent3"/>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Visa izlase, n=323</c:v>
                </c:pt>
                <c:pt idx="1">
                  <c:v>Plānveida pārbaudes , n=203</c:v>
                </c:pt>
                <c:pt idx="2">
                  <c:v>Zvejas kontrole, n=55</c:v>
                </c:pt>
                <c:pt idx="3">
                  <c:v>Pārbaudes radiācijas drošībā, n=65</c:v>
                </c:pt>
              </c:strCache>
            </c:strRef>
          </c:cat>
          <c:val>
            <c:numRef>
              <c:f>Sheet1!$D$2:$D$5</c:f>
              <c:numCache>
                <c:formatCode>0</c:formatCode>
                <c:ptCount val="4"/>
                <c:pt idx="0">
                  <c:v>21.126760563380223</c:v>
                </c:pt>
                <c:pt idx="1">
                  <c:v>15.270935960591061</c:v>
                </c:pt>
                <c:pt idx="2">
                  <c:v>38.181818181818173</c:v>
                </c:pt>
                <c:pt idx="3">
                  <c:v>13.846153846153827</c:v>
                </c:pt>
              </c:numCache>
            </c:numRef>
          </c:val>
          <c:extLst>
            <c:ext xmlns:c16="http://schemas.microsoft.com/office/drawing/2014/chart" uri="{C3380CC4-5D6E-409C-BE32-E72D297353CC}">
              <c16:uniqueId val="{00000002-9480-4CFC-92EF-A4612A96E5F1}"/>
            </c:ext>
          </c:extLst>
        </c:ser>
        <c:ser>
          <c:idx val="3"/>
          <c:order val="3"/>
          <c:tx>
            <c:strRef>
              <c:f>Sheet1!$E$1</c:f>
              <c:strCache>
                <c:ptCount val="1"/>
                <c:pt idx="0">
                  <c:v>Drīzāk neapmierināts</c:v>
                </c:pt>
              </c:strCache>
            </c:strRef>
          </c:tx>
          <c:spPr>
            <a:solidFill>
              <a:schemeClr val="accent4"/>
            </a:solidFill>
            <a:ln>
              <a:noFill/>
            </a:ln>
            <a:effectLst/>
          </c:spPr>
          <c:invertIfNegative val="0"/>
          <c:dLbls>
            <c:dLbl>
              <c:idx val="0"/>
              <c:layout>
                <c:manualLayout>
                  <c:x val="-1.0326679841314711E-2"/>
                  <c:y val="3.4694469519536142E-18"/>
                </c:manualLayout>
              </c:layout>
              <c:numFmt formatCode="0\%" sourceLinked="0"/>
              <c:spPr>
                <a:noFill/>
                <a:ln>
                  <a:noFill/>
                </a:ln>
                <a:effectLst/>
              </c:spPr>
              <c:txPr>
                <a:bodyPr rot="0" spcFirstLastPara="1" vertOverflow="ellipsis" vert="horz" wrap="square" lIns="38100" tIns="19050" rIns="38100" bIns="19050" anchor="ctr" anchorCtr="1">
                  <a:noAutofit/>
                </a:bodyPr>
                <a:lstStyle/>
                <a:p>
                  <a:pPr>
                    <a:defRPr sz="1197"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layout>
                    <c:manualLayout>
                      <c:w val="2.6617017290988657E-2"/>
                      <c:h val="9.6304764679616781E-2"/>
                    </c:manualLayout>
                  </c15:layout>
                </c:ext>
                <c:ext xmlns:c16="http://schemas.microsoft.com/office/drawing/2014/chart" uri="{C3380CC4-5D6E-409C-BE32-E72D297353CC}">
                  <c16:uniqueId val="{00000000-07EB-46E7-BD58-8EF17AD47115}"/>
                </c:ext>
              </c:extLst>
            </c:dLbl>
            <c:dLbl>
              <c:idx val="1"/>
              <c:layout>
                <c:manualLayout>
                  <c:x val="-5.1633399206573545E-3"/>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07EB-46E7-BD58-8EF17AD47115}"/>
                </c:ext>
              </c:extLst>
            </c:dLbl>
            <c:dLbl>
              <c:idx val="3"/>
              <c:layout>
                <c:manualLayout>
                  <c:x val="-9.0357940408755597E-3"/>
                  <c:y val="3.7605839986640088E-3"/>
                </c:manualLayout>
              </c:layout>
              <c:numFmt formatCode="0\%" sourceLinked="0"/>
              <c:spPr>
                <a:noFill/>
                <a:ln>
                  <a:noFill/>
                </a:ln>
                <a:effectLst/>
              </c:spPr>
              <c:txPr>
                <a:bodyPr rot="0" spcFirstLastPara="1" vertOverflow="ellipsis" vert="horz" wrap="square" lIns="38100" tIns="19050" rIns="38100" bIns="19050" anchor="ctr" anchorCtr="1">
                  <a:noAutofit/>
                </a:bodyPr>
                <a:lstStyle/>
                <a:p>
                  <a:pPr>
                    <a:defRPr sz="1197"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layout>
                    <c:manualLayout>
                      <c:w val="3.0489522231481676E-2"/>
                      <c:h val="6.2460841129575728E-2"/>
                    </c:manualLayout>
                  </c15:layout>
                </c:ext>
                <c:ext xmlns:c16="http://schemas.microsoft.com/office/drawing/2014/chart" uri="{C3380CC4-5D6E-409C-BE32-E72D297353CC}">
                  <c16:uniqueId val="{00000002-07EB-46E7-BD58-8EF17AD4711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Visa izlase, n=323</c:v>
                </c:pt>
                <c:pt idx="1">
                  <c:v>Plānveida pārbaudes , n=203</c:v>
                </c:pt>
                <c:pt idx="2">
                  <c:v>Zvejas kontrole, n=55</c:v>
                </c:pt>
                <c:pt idx="3">
                  <c:v>Pārbaudes radiācijas drošībā, n=65</c:v>
                </c:pt>
              </c:strCache>
            </c:strRef>
          </c:cat>
          <c:val>
            <c:numRef>
              <c:f>Sheet1!$E$2:$E$5</c:f>
              <c:numCache>
                <c:formatCode>0</c:formatCode>
                <c:ptCount val="4"/>
                <c:pt idx="0">
                  <c:v>1.5697710492027017</c:v>
                </c:pt>
                <c:pt idx="1">
                  <c:v>1.4778325123152651</c:v>
                </c:pt>
                <c:pt idx="2">
                  <c:v>1.8181818181818181</c:v>
                </c:pt>
                <c:pt idx="3">
                  <c:v>1.5384615384615365</c:v>
                </c:pt>
              </c:numCache>
            </c:numRef>
          </c:val>
          <c:extLst>
            <c:ext xmlns:c16="http://schemas.microsoft.com/office/drawing/2014/chart" uri="{C3380CC4-5D6E-409C-BE32-E72D297353CC}">
              <c16:uniqueId val="{00000003-9480-4CFC-92EF-A4612A96E5F1}"/>
            </c:ext>
          </c:extLst>
        </c:ser>
        <c:ser>
          <c:idx val="4"/>
          <c:order val="4"/>
          <c:tx>
            <c:strRef>
              <c:f>Sheet1!$F$1</c:f>
              <c:strCache>
                <c:ptCount val="1"/>
                <c:pt idx="0">
                  <c:v>Pilnīgi neapmierināts</c:v>
                </c:pt>
              </c:strCache>
            </c:strRef>
          </c:tx>
          <c:spPr>
            <a:solidFill>
              <a:schemeClr val="accent5"/>
            </a:solidFill>
            <a:ln>
              <a:noFill/>
            </a:ln>
            <a:effectLst/>
          </c:spPr>
          <c:invertIfNegative val="0"/>
          <c:dLbls>
            <c:dLbl>
              <c:idx val="0"/>
              <c:layout>
                <c:manualLayout>
                  <c:x val="3.3917451407940142E-4"/>
                  <c:y val="8.0658512225511517E-7"/>
                </c:manualLayout>
              </c:layout>
              <c:tx>
                <c:rich>
                  <a:bodyPr/>
                  <a:lstStyle/>
                  <a:p>
                    <a:fld id="{4BF6CF23-D790-4A5C-BDED-BDBE91B3A95C}" type="VALUE">
                      <a:rPr lang="en-US" sz="1200">
                        <a:solidFill>
                          <a:schemeClr val="bg1"/>
                        </a:solidFill>
                      </a:rPr>
                      <a:pPr/>
                      <a:t>[VĒRTĪBA]</a:t>
                    </a:fld>
                    <a:endParaRPr lang="en-GB"/>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4-9480-4CFC-92EF-A4612A96E5F1}"/>
                </c:ext>
              </c:extLst>
            </c:dLbl>
            <c:dLbl>
              <c:idx val="1"/>
              <c:layout>
                <c:manualLayout>
                  <c:x val="-1.5277601289623992E-16"/>
                  <c:y val="8.0658512225511517E-7"/>
                </c:manualLayout>
              </c:layout>
              <c:tx>
                <c:rich>
                  <a:bodyPr/>
                  <a:lstStyle/>
                  <a:p>
                    <a:fld id="{24BCE490-AC51-48C3-8825-67A161DFF470}" type="VALUE">
                      <a:rPr lang="en-US">
                        <a:solidFill>
                          <a:schemeClr val="bg1"/>
                        </a:solidFill>
                      </a:rPr>
                      <a:pPr/>
                      <a:t>[VĒRTĪBA]</a:t>
                    </a:fld>
                    <a:endParaRPr lang="en-GB"/>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5-9480-4CFC-92EF-A4612A96E5F1}"/>
                </c:ext>
              </c:extLst>
            </c:dLbl>
            <c:dLbl>
              <c:idx val="2"/>
              <c:layout>
                <c:manualLayout>
                  <c:x val="-9.9668722956626011E-4"/>
                  <c:y val="4.0329256122145648E-7"/>
                </c:manualLayout>
              </c:layout>
              <c:tx>
                <c:rich>
                  <a:bodyPr/>
                  <a:lstStyle/>
                  <a:p>
                    <a:fld id="{96CB6FE0-6B28-4AE3-BD9C-7C82138C60E2}" type="VALUE">
                      <a:rPr lang="en-US" sz="1200">
                        <a:solidFill>
                          <a:schemeClr val="bg1"/>
                        </a:solidFill>
                      </a:rPr>
                      <a:pPr/>
                      <a:t>[VĒRTĪBA]</a:t>
                    </a:fld>
                    <a:endParaRPr lang="en-GB"/>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6-9480-4CFC-92EF-A4612A96E5F1}"/>
                </c:ext>
              </c:extLst>
            </c:dLbl>
            <c:numFmt formatCode="0\%" sourceLinked="0"/>
            <c:spPr>
              <a:noFill/>
              <a:ln>
                <a:noFill/>
              </a:ln>
              <a:effectLst/>
            </c:spPr>
            <c:txPr>
              <a:bodyPr/>
              <a:lstStyle/>
              <a:p>
                <a:pPr>
                  <a:defRPr sz="1200" b="0">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Visa izlase, n=323</c:v>
                </c:pt>
                <c:pt idx="1">
                  <c:v>Plānveida pārbaudes , n=203</c:v>
                </c:pt>
                <c:pt idx="2">
                  <c:v>Zvejas kontrole, n=55</c:v>
                </c:pt>
                <c:pt idx="3">
                  <c:v>Pārbaudes radiācijas drošībā, n=65</c:v>
                </c:pt>
              </c:strCache>
            </c:strRef>
          </c:cat>
          <c:val>
            <c:numRef>
              <c:f>Sheet1!$F$2:$F$5</c:f>
              <c:numCache>
                <c:formatCode>0</c:formatCode>
                <c:ptCount val="4"/>
                <c:pt idx="0">
                  <c:v>1.768319166097905</c:v>
                </c:pt>
                <c:pt idx="1">
                  <c:v>2.4630541871921086</c:v>
                </c:pt>
                <c:pt idx="3">
                  <c:v>1.5384615384615365</c:v>
                </c:pt>
              </c:numCache>
            </c:numRef>
          </c:val>
          <c:extLst>
            <c:ext xmlns:c16="http://schemas.microsoft.com/office/drawing/2014/chart" uri="{C3380CC4-5D6E-409C-BE32-E72D297353CC}">
              <c16:uniqueId val="{00000008-9480-4CFC-92EF-A4612A96E5F1}"/>
            </c:ext>
          </c:extLst>
        </c:ser>
        <c:ser>
          <c:idx val="5"/>
          <c:order val="5"/>
          <c:tx>
            <c:strRef>
              <c:f>Sheet1!$G$1</c:f>
              <c:strCache>
                <c:ptCount val="1"/>
                <c:pt idx="0">
                  <c:v>Nevaru novērtēt</c:v>
                </c:pt>
              </c:strCache>
            </c:strRef>
          </c:tx>
          <c:spPr>
            <a:solidFill>
              <a:schemeClr val="bg1">
                <a:lumMod val="65000"/>
              </a:schemeClr>
            </a:solidFill>
          </c:spPr>
          <c:invertIfNegative val="0"/>
          <c:dLbls>
            <c:dLbl>
              <c:idx val="0"/>
              <c:layout>
                <c:manualLayout>
                  <c:x val="5.1633399206573545E-3"/>
                  <c:y val="-5.6400617303690439E-3"/>
                </c:manualLayout>
              </c:layout>
              <c:numFmt formatCode="0\%" sourceLinked="0"/>
              <c:spPr>
                <a:noFill/>
                <a:ln>
                  <a:noFill/>
                </a:ln>
                <a:effectLst/>
              </c:spPr>
              <c:txPr>
                <a:bodyPr wrap="square" lIns="38100" tIns="19050" rIns="38100" bIns="19050" anchor="ctr">
                  <a:noAutofit/>
                </a:bodyPr>
                <a:lstStyle/>
                <a:p>
                  <a:pPr>
                    <a:defRPr sz="1200">
                      <a:solidFill>
                        <a:schemeClr val="tx1"/>
                      </a:solidFill>
                    </a:defRPr>
                  </a:pPr>
                  <a:endParaRPr lang="en-US"/>
                </a:p>
              </c:txPr>
              <c:showLegendKey val="0"/>
              <c:showVal val="1"/>
              <c:showCatName val="0"/>
              <c:showSerName val="0"/>
              <c:showPercent val="0"/>
              <c:showBubbleSize val="0"/>
              <c:extLst>
                <c:ext xmlns:c15="http://schemas.microsoft.com/office/drawing/2012/chart" uri="{CE6537A1-D6FC-4f65-9D91-7224C49458BB}">
                  <c15:layout>
                    <c:manualLayout>
                      <c:w val="2.6668650690195233E-2"/>
                      <c:h val="8.5173874267603283E-2"/>
                    </c:manualLayout>
                  </c15:layout>
                </c:ext>
                <c:ext xmlns:c16="http://schemas.microsoft.com/office/drawing/2014/chart" uri="{C3380CC4-5D6E-409C-BE32-E72D297353CC}">
                  <c16:uniqueId val="{00000003-07EB-46E7-BD58-8EF17AD47115}"/>
                </c:ext>
              </c:extLst>
            </c:dLbl>
            <c:dLbl>
              <c:idx val="1"/>
              <c:layout>
                <c:manualLayout>
                  <c:x val="5.1633399206573545E-3"/>
                  <c:y val="0"/>
                </c:manualLayout>
              </c:layout>
              <c:numFmt formatCode="0\%" sourceLinked="0"/>
              <c:spPr>
                <a:noFill/>
                <a:ln>
                  <a:noFill/>
                </a:ln>
                <a:effectLst/>
              </c:spPr>
              <c:txPr>
                <a:bodyPr wrap="square" lIns="38100" tIns="19050" rIns="38100" bIns="19050" anchor="ctr">
                  <a:spAutoFit/>
                </a:bodyPr>
                <a:lstStyle/>
                <a:p>
                  <a:pPr>
                    <a:defRPr sz="1200">
                      <a:solidFill>
                        <a:schemeClr val="tx1"/>
                      </a:solidFill>
                    </a:defRPr>
                  </a:pPr>
                  <a:endParaRPr lang="en-US"/>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07EB-46E7-BD58-8EF17AD47115}"/>
                </c:ext>
              </c:extLst>
            </c:dLbl>
            <c:dLbl>
              <c:idx val="3"/>
              <c:layout>
                <c:manualLayout>
                  <c:x val="5.1633399206573545E-3"/>
                  <c:y val="3.7607320473234578E-3"/>
                </c:manualLayout>
              </c:layout>
              <c:numFmt formatCode="0\%" sourceLinked="0"/>
              <c:spPr>
                <a:noFill/>
                <a:ln>
                  <a:noFill/>
                </a:ln>
                <a:effectLst/>
              </c:spPr>
              <c:txPr>
                <a:bodyPr wrap="square" lIns="38100" tIns="19050" rIns="38100" bIns="19050" anchor="ctr">
                  <a:spAutoFit/>
                </a:bodyPr>
                <a:lstStyle/>
                <a:p>
                  <a:pPr>
                    <a:defRPr sz="1200">
                      <a:solidFill>
                        <a:schemeClr val="tx1"/>
                      </a:solidFill>
                    </a:defRPr>
                  </a:pPr>
                  <a:endParaRPr lang="en-US"/>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07EB-46E7-BD58-8EF17AD47115}"/>
                </c:ext>
              </c:extLst>
            </c:dLbl>
            <c:numFmt formatCode="0\%" sourceLinked="0"/>
            <c:spPr>
              <a:noFill/>
              <a:ln>
                <a:noFill/>
              </a:ln>
              <a:effectLst/>
            </c:spPr>
            <c:txPr>
              <a:bodyPr wrap="square" lIns="38100" tIns="19050" rIns="38100" bIns="19050" anchor="ctr">
                <a:spAutoFit/>
              </a:bodyPr>
              <a:lstStyle/>
              <a:p>
                <a:pPr>
                  <a:defRPr sz="1200">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Visa izlase, n=323</c:v>
                </c:pt>
                <c:pt idx="1">
                  <c:v>Plānveida pārbaudes , n=203</c:v>
                </c:pt>
                <c:pt idx="2">
                  <c:v>Zvejas kontrole, n=55</c:v>
                </c:pt>
                <c:pt idx="3">
                  <c:v>Pārbaudes radiācijas drošībā, n=65</c:v>
                </c:pt>
              </c:strCache>
            </c:strRef>
          </c:cat>
          <c:val>
            <c:numRef>
              <c:f>Sheet1!$G$2:$G$5</c:f>
              <c:numCache>
                <c:formatCode>0</c:formatCode>
                <c:ptCount val="4"/>
                <c:pt idx="0">
                  <c:v>2.9409939815101991</c:v>
                </c:pt>
                <c:pt idx="1">
                  <c:v>1.9704433497536866</c:v>
                </c:pt>
                <c:pt idx="2">
                  <c:v>5.4545454545454541</c:v>
                </c:pt>
                <c:pt idx="3">
                  <c:v>3.0769230769230731</c:v>
                </c:pt>
              </c:numCache>
            </c:numRef>
          </c:val>
          <c:extLst>
            <c:ext xmlns:c16="http://schemas.microsoft.com/office/drawing/2014/chart" uri="{C3380CC4-5D6E-409C-BE32-E72D297353CC}">
              <c16:uniqueId val="{00000009-9480-4CFC-92EF-A4612A96E5F1}"/>
            </c:ext>
          </c:extLst>
        </c:ser>
        <c:dLbls>
          <c:showLegendKey val="0"/>
          <c:showVal val="0"/>
          <c:showCatName val="0"/>
          <c:showSerName val="0"/>
          <c:showPercent val="0"/>
          <c:showBubbleSize val="0"/>
        </c:dLbls>
        <c:gapWidth val="41"/>
        <c:overlap val="100"/>
        <c:axId val="-1577557760"/>
        <c:axId val="-1577553952"/>
      </c:barChart>
      <c:catAx>
        <c:axId val="-1577557760"/>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lgn="r">
              <a:defRPr sz="1300" b="0" i="0" u="none" strike="noStrike" kern="1200" baseline="0">
                <a:solidFill>
                  <a:schemeClr val="tx1"/>
                </a:solidFill>
                <a:latin typeface="+mn-lt"/>
                <a:ea typeface="+mn-ea"/>
                <a:cs typeface="+mn-cs"/>
              </a:defRPr>
            </a:pPr>
            <a:endParaRPr lang="en-US"/>
          </a:p>
        </c:txPr>
        <c:crossAx val="-1577553952"/>
        <c:crosses val="autoZero"/>
        <c:auto val="1"/>
        <c:lblAlgn val="ctr"/>
        <c:lblOffset val="100"/>
        <c:noMultiLvlLbl val="0"/>
      </c:catAx>
      <c:valAx>
        <c:axId val="-1577553952"/>
        <c:scaling>
          <c:orientation val="minMax"/>
        </c:scaling>
        <c:delete val="1"/>
        <c:axPos val="t"/>
        <c:numFmt formatCode="0%" sourceLinked="1"/>
        <c:majorTickMark val="none"/>
        <c:minorTickMark val="none"/>
        <c:tickLblPos val="nextTo"/>
        <c:crossAx val="-1577557760"/>
        <c:crosses val="autoZero"/>
        <c:crossBetween val="between"/>
      </c:valAx>
      <c:spPr>
        <a:noFill/>
        <a:ln>
          <a:noFill/>
        </a:ln>
        <a:effectLst/>
      </c:spPr>
    </c:plotArea>
    <c:legend>
      <c:legendPos val="t"/>
      <c:layout>
        <c:manualLayout>
          <c:xMode val="edge"/>
          <c:yMode val="edge"/>
          <c:x val="0.18514249888928241"/>
          <c:y val="2.9323402119584712E-2"/>
          <c:w val="0.81485750111071764"/>
          <c:h val="6.7999637576881669E-2"/>
        </c:manualLayout>
      </c:layout>
      <c:overlay val="0"/>
      <c:spPr>
        <a:noFill/>
        <a:ln>
          <a:noFill/>
        </a:ln>
        <a:effectLst/>
      </c:spPr>
      <c:txPr>
        <a:bodyPr rot="0" spcFirstLastPara="1" vertOverflow="ellipsis" vert="horz" wrap="square" anchor="ctr" anchorCtr="1"/>
        <a:lstStyle/>
        <a:p>
          <a:pPr>
            <a:defRPr sz="13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lv-LV"/>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7160415031975808"/>
          <c:y val="9.5395118068569221E-2"/>
          <c:w val="0.60903332417551981"/>
          <c:h val="0.83732337578121374"/>
        </c:manualLayout>
      </c:layout>
      <c:barChart>
        <c:barDir val="bar"/>
        <c:grouping val="percentStacked"/>
        <c:varyColors val="0"/>
        <c:ser>
          <c:idx val="0"/>
          <c:order val="0"/>
          <c:tx>
            <c:strRef>
              <c:f>Sheet1!$B$1</c:f>
              <c:strCache>
                <c:ptCount val="1"/>
                <c:pt idx="0">
                  <c:v>Pilnīgi apmierināts</c:v>
                </c:pt>
              </c:strCache>
            </c:strRef>
          </c:tx>
          <c:spPr>
            <a:solidFill>
              <a:schemeClr val="accent1"/>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Visa izlase, n=323</c:v>
                </c:pt>
                <c:pt idx="1">
                  <c:v>Plānveida pārbaudes , n=203</c:v>
                </c:pt>
                <c:pt idx="2">
                  <c:v>Zvejas kontrole, n=55</c:v>
                </c:pt>
                <c:pt idx="3">
                  <c:v>Pārbaudes radiācijas drošībā, n=65</c:v>
                </c:pt>
              </c:strCache>
            </c:strRef>
          </c:cat>
          <c:val>
            <c:numRef>
              <c:f>Sheet1!$B$2:$B$5</c:f>
              <c:numCache>
                <c:formatCode>0</c:formatCode>
                <c:ptCount val="4"/>
                <c:pt idx="0">
                  <c:v>45.541974312837255</c:v>
                </c:pt>
                <c:pt idx="1">
                  <c:v>50.24630541871894</c:v>
                </c:pt>
                <c:pt idx="2">
                  <c:v>30.909090909090903</c:v>
                </c:pt>
                <c:pt idx="3">
                  <c:v>55.384615384615337</c:v>
                </c:pt>
              </c:numCache>
            </c:numRef>
          </c:val>
          <c:extLst>
            <c:ext xmlns:c16="http://schemas.microsoft.com/office/drawing/2014/chart" uri="{C3380CC4-5D6E-409C-BE32-E72D297353CC}">
              <c16:uniqueId val="{00000000-9480-4CFC-92EF-A4612A96E5F1}"/>
            </c:ext>
          </c:extLst>
        </c:ser>
        <c:ser>
          <c:idx val="1"/>
          <c:order val="1"/>
          <c:tx>
            <c:strRef>
              <c:f>Sheet1!$C$1</c:f>
              <c:strCache>
                <c:ptCount val="1"/>
                <c:pt idx="0">
                  <c:v>Ļoti apmierināts</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Visa izlase, n=323</c:v>
                </c:pt>
                <c:pt idx="1">
                  <c:v>Plānveida pārbaudes , n=203</c:v>
                </c:pt>
                <c:pt idx="2">
                  <c:v>Zvejas kontrole, n=55</c:v>
                </c:pt>
                <c:pt idx="3">
                  <c:v>Pārbaudes radiācijas drošībā, n=65</c:v>
                </c:pt>
              </c:strCache>
            </c:strRef>
          </c:cat>
          <c:val>
            <c:numRef>
              <c:f>Sheet1!$C$2:$C$5</c:f>
              <c:numCache>
                <c:formatCode>0</c:formatCode>
                <c:ptCount val="4"/>
                <c:pt idx="0">
                  <c:v>22.677917726623985</c:v>
                </c:pt>
                <c:pt idx="1">
                  <c:v>24.630541871921057</c:v>
                </c:pt>
                <c:pt idx="2">
                  <c:v>18.181818181818176</c:v>
                </c:pt>
                <c:pt idx="3">
                  <c:v>19.999999999999968</c:v>
                </c:pt>
              </c:numCache>
            </c:numRef>
          </c:val>
          <c:extLst>
            <c:ext xmlns:c16="http://schemas.microsoft.com/office/drawing/2014/chart" uri="{C3380CC4-5D6E-409C-BE32-E72D297353CC}">
              <c16:uniqueId val="{00000001-9480-4CFC-92EF-A4612A96E5F1}"/>
            </c:ext>
          </c:extLst>
        </c:ser>
        <c:ser>
          <c:idx val="2"/>
          <c:order val="2"/>
          <c:tx>
            <c:strRef>
              <c:f>Sheet1!$D$1</c:f>
              <c:strCache>
                <c:ptCount val="1"/>
                <c:pt idx="0">
                  <c:v>Apmierināts</c:v>
                </c:pt>
              </c:strCache>
            </c:strRef>
          </c:tx>
          <c:spPr>
            <a:solidFill>
              <a:schemeClr val="accent3"/>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Visa izlase, n=323</c:v>
                </c:pt>
                <c:pt idx="1">
                  <c:v>Plānveida pārbaudes , n=203</c:v>
                </c:pt>
                <c:pt idx="2">
                  <c:v>Zvejas kontrole, n=55</c:v>
                </c:pt>
                <c:pt idx="3">
                  <c:v>Pārbaudes radiācijas drošībā, n=65</c:v>
                </c:pt>
              </c:strCache>
            </c:strRef>
          </c:cat>
          <c:val>
            <c:numRef>
              <c:f>Sheet1!$D$2:$D$5</c:f>
              <c:numCache>
                <c:formatCode>0</c:formatCode>
                <c:ptCount val="4"/>
                <c:pt idx="0">
                  <c:v>23.168083390209024</c:v>
                </c:pt>
                <c:pt idx="1">
                  <c:v>16.748768472906324</c:v>
                </c:pt>
                <c:pt idx="2">
                  <c:v>41.818181818181813</c:v>
                </c:pt>
                <c:pt idx="3">
                  <c:v>15.384615384615362</c:v>
                </c:pt>
              </c:numCache>
            </c:numRef>
          </c:val>
          <c:extLst>
            <c:ext xmlns:c16="http://schemas.microsoft.com/office/drawing/2014/chart" uri="{C3380CC4-5D6E-409C-BE32-E72D297353CC}">
              <c16:uniqueId val="{00000002-9480-4CFC-92EF-A4612A96E5F1}"/>
            </c:ext>
          </c:extLst>
        </c:ser>
        <c:ser>
          <c:idx val="3"/>
          <c:order val="3"/>
          <c:tx>
            <c:strRef>
              <c:f>Sheet1!$E$1</c:f>
              <c:strCache>
                <c:ptCount val="1"/>
                <c:pt idx="0">
                  <c:v>Drīzāk neapmierināts</c:v>
                </c:pt>
              </c:strCache>
            </c:strRef>
          </c:tx>
          <c:spPr>
            <a:solidFill>
              <a:schemeClr val="accent4"/>
            </a:solidFill>
            <a:ln>
              <a:noFill/>
            </a:ln>
            <a:effectLst/>
          </c:spPr>
          <c:invertIfNegative val="0"/>
          <c:dLbls>
            <c:dLbl>
              <c:idx val="0"/>
              <c:layout>
                <c:manualLayout>
                  <c:x val="-6.4541240805470728E-3"/>
                  <c:y val="1.7347234759768071E-18"/>
                </c:manualLayout>
              </c:layout>
              <c:numFmt formatCode="0\%" sourceLinked="0"/>
              <c:spPr>
                <a:noFill/>
                <a:ln>
                  <a:noFill/>
                </a:ln>
                <a:effectLst/>
              </c:spPr>
              <c:txPr>
                <a:bodyPr rot="0" spcFirstLastPara="1" vertOverflow="ellipsis" vert="horz" wrap="square" lIns="38100" tIns="19050" rIns="38100" bIns="19050" anchor="ctr" anchorCtr="1">
                  <a:noAutofit/>
                </a:bodyPr>
                <a:lstStyle/>
                <a:p>
                  <a:pPr>
                    <a:defRPr sz="1197"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layout>
                    <c:manualLayout>
                      <c:w val="2.6617017290988657E-2"/>
                      <c:h val="9.6304764679616781E-2"/>
                    </c:manualLayout>
                  </c15:layout>
                </c:ext>
                <c:ext xmlns:c16="http://schemas.microsoft.com/office/drawing/2014/chart" uri="{C3380CC4-5D6E-409C-BE32-E72D297353CC}">
                  <c16:uniqueId val="{00000000-37F9-4CD3-98F9-E0D8AAEB9219}"/>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Visa izlase, n=323</c:v>
                </c:pt>
                <c:pt idx="1">
                  <c:v>Plānveida pārbaudes , n=203</c:v>
                </c:pt>
                <c:pt idx="2">
                  <c:v>Zvejas kontrole, n=55</c:v>
                </c:pt>
                <c:pt idx="3">
                  <c:v>Pārbaudes radiācijas drošībā, n=65</c:v>
                </c:pt>
              </c:strCache>
            </c:strRef>
          </c:cat>
          <c:val>
            <c:numRef>
              <c:f>Sheet1!$E$2:$E$5</c:f>
              <c:numCache>
                <c:formatCode>0</c:formatCode>
                <c:ptCount val="4"/>
                <c:pt idx="0">
                  <c:v>2.0909598560526099</c:v>
                </c:pt>
                <c:pt idx="1">
                  <c:v>1.9704433497536866</c:v>
                </c:pt>
                <c:pt idx="2">
                  <c:v>1.8181818181818181</c:v>
                </c:pt>
                <c:pt idx="3">
                  <c:v>4.6153846153846088</c:v>
                </c:pt>
              </c:numCache>
            </c:numRef>
          </c:val>
          <c:extLst>
            <c:ext xmlns:c16="http://schemas.microsoft.com/office/drawing/2014/chart" uri="{C3380CC4-5D6E-409C-BE32-E72D297353CC}">
              <c16:uniqueId val="{00000003-9480-4CFC-92EF-A4612A96E5F1}"/>
            </c:ext>
          </c:extLst>
        </c:ser>
        <c:ser>
          <c:idx val="4"/>
          <c:order val="4"/>
          <c:tx>
            <c:strRef>
              <c:f>Sheet1!$F$1</c:f>
              <c:strCache>
                <c:ptCount val="1"/>
                <c:pt idx="0">
                  <c:v>Pilnīgi neapmierināts</c:v>
                </c:pt>
              </c:strCache>
            </c:strRef>
          </c:tx>
          <c:spPr>
            <a:solidFill>
              <a:schemeClr val="accent5"/>
            </a:solidFill>
            <a:ln>
              <a:noFill/>
            </a:ln>
            <a:effectLst/>
          </c:spPr>
          <c:invertIfNegative val="0"/>
          <c:dLbls>
            <c:dLbl>
              <c:idx val="0"/>
              <c:layout>
                <c:manualLayout>
                  <c:x val="3.3917451407940142E-4"/>
                  <c:y val="8.0658512225511517E-7"/>
                </c:manualLayout>
              </c:layout>
              <c:tx>
                <c:rich>
                  <a:bodyPr/>
                  <a:lstStyle/>
                  <a:p>
                    <a:fld id="{4BF6CF23-D790-4A5C-BDED-BDBE91B3A95C}" type="VALUE">
                      <a:rPr lang="en-US" sz="1200">
                        <a:solidFill>
                          <a:schemeClr val="bg1"/>
                        </a:solidFill>
                      </a:rPr>
                      <a:pPr/>
                      <a:t>[VĒRTĪBA]</a:t>
                    </a:fld>
                    <a:endParaRPr lang="en-GB"/>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4-9480-4CFC-92EF-A4612A96E5F1}"/>
                </c:ext>
              </c:extLst>
            </c:dLbl>
            <c:dLbl>
              <c:idx val="1"/>
              <c:layout>
                <c:manualLayout>
                  <c:x val="-1.5277601289623992E-16"/>
                  <c:y val="8.0658512225511517E-7"/>
                </c:manualLayout>
              </c:layout>
              <c:tx>
                <c:rich>
                  <a:bodyPr/>
                  <a:lstStyle/>
                  <a:p>
                    <a:fld id="{24BCE490-AC51-48C3-8825-67A161DFF470}" type="VALUE">
                      <a:rPr lang="en-US">
                        <a:solidFill>
                          <a:schemeClr val="bg1"/>
                        </a:solidFill>
                      </a:rPr>
                      <a:pPr/>
                      <a:t>[VĒRTĪBA]</a:t>
                    </a:fld>
                    <a:endParaRPr lang="en-GB"/>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5-9480-4CFC-92EF-A4612A96E5F1}"/>
                </c:ext>
              </c:extLst>
            </c:dLbl>
            <c:dLbl>
              <c:idx val="2"/>
              <c:layout>
                <c:manualLayout>
                  <c:x val="-9.9668722956626011E-4"/>
                  <c:y val="4.0329256122145648E-7"/>
                </c:manualLayout>
              </c:layout>
              <c:tx>
                <c:rich>
                  <a:bodyPr/>
                  <a:lstStyle/>
                  <a:p>
                    <a:fld id="{96CB6FE0-6B28-4AE3-BD9C-7C82138C60E2}" type="VALUE">
                      <a:rPr lang="en-US" sz="1200">
                        <a:solidFill>
                          <a:schemeClr val="bg1"/>
                        </a:solidFill>
                      </a:rPr>
                      <a:pPr/>
                      <a:t>[VĒRTĪBA]</a:t>
                    </a:fld>
                    <a:endParaRPr lang="en-GB"/>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6-9480-4CFC-92EF-A4612A96E5F1}"/>
                </c:ext>
              </c:extLst>
            </c:dLbl>
            <c:numFmt formatCode="0\%" sourceLinked="0"/>
            <c:spPr>
              <a:noFill/>
              <a:ln>
                <a:noFill/>
              </a:ln>
              <a:effectLst/>
            </c:spPr>
            <c:txPr>
              <a:bodyPr/>
              <a:lstStyle/>
              <a:p>
                <a:pPr>
                  <a:defRPr sz="1200" b="0">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Visa izlase, n=323</c:v>
                </c:pt>
                <c:pt idx="1">
                  <c:v>Plānveida pārbaudes , n=203</c:v>
                </c:pt>
                <c:pt idx="2">
                  <c:v>Zvejas kontrole, n=55</c:v>
                </c:pt>
                <c:pt idx="3">
                  <c:v>Pārbaudes radiācijas drošībā, n=65</c:v>
                </c:pt>
              </c:strCache>
            </c:strRef>
          </c:cat>
          <c:val>
            <c:numRef>
              <c:f>Sheet1!$F$2:$F$5</c:f>
              <c:numCache>
                <c:formatCode>0</c:formatCode>
                <c:ptCount val="4"/>
                <c:pt idx="0">
                  <c:v>2.6803995780852454</c:v>
                </c:pt>
                <c:pt idx="1">
                  <c:v>3.9408866995073732</c:v>
                </c:pt>
              </c:numCache>
            </c:numRef>
          </c:val>
          <c:extLst>
            <c:ext xmlns:c16="http://schemas.microsoft.com/office/drawing/2014/chart" uri="{C3380CC4-5D6E-409C-BE32-E72D297353CC}">
              <c16:uniqueId val="{00000008-9480-4CFC-92EF-A4612A96E5F1}"/>
            </c:ext>
          </c:extLst>
        </c:ser>
        <c:ser>
          <c:idx val="5"/>
          <c:order val="5"/>
          <c:tx>
            <c:strRef>
              <c:f>Sheet1!$G$1</c:f>
              <c:strCache>
                <c:ptCount val="1"/>
                <c:pt idx="0">
                  <c:v>Nevaru novērtēt</c:v>
                </c:pt>
              </c:strCache>
            </c:strRef>
          </c:tx>
          <c:spPr>
            <a:solidFill>
              <a:schemeClr val="bg1">
                <a:lumMod val="65000"/>
              </a:schemeClr>
            </a:solidFill>
          </c:spPr>
          <c:invertIfNegative val="0"/>
          <c:dLbls>
            <c:numFmt formatCode="0\%" sourceLinked="0"/>
            <c:spPr>
              <a:noFill/>
              <a:ln>
                <a:noFill/>
              </a:ln>
              <a:effectLst/>
            </c:spPr>
            <c:txPr>
              <a:bodyPr wrap="square" lIns="38100" tIns="19050" rIns="38100" bIns="19050" anchor="ctr">
                <a:spAutoFit/>
              </a:bodyPr>
              <a:lstStyle/>
              <a:p>
                <a:pPr>
                  <a:defRPr sz="1200">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Visa izlase, n=323</c:v>
                </c:pt>
                <c:pt idx="1">
                  <c:v>Plānveida pārbaudes , n=203</c:v>
                </c:pt>
                <c:pt idx="2">
                  <c:v>Zvejas kontrole, n=55</c:v>
                </c:pt>
                <c:pt idx="3">
                  <c:v>Pārbaudes radiācijas drošībā, n=65</c:v>
                </c:pt>
              </c:strCache>
            </c:strRef>
          </c:cat>
          <c:val>
            <c:numRef>
              <c:f>Sheet1!$G$2:$G$5</c:f>
              <c:numCache>
                <c:formatCode>0</c:formatCode>
                <c:ptCount val="4"/>
                <c:pt idx="0">
                  <c:v>3.8406651361915896</c:v>
                </c:pt>
                <c:pt idx="1">
                  <c:v>2.4630541871921086</c:v>
                </c:pt>
                <c:pt idx="2">
                  <c:v>7.2727272727272725</c:v>
                </c:pt>
                <c:pt idx="3">
                  <c:v>4.6153846153846088</c:v>
                </c:pt>
              </c:numCache>
            </c:numRef>
          </c:val>
          <c:extLst>
            <c:ext xmlns:c16="http://schemas.microsoft.com/office/drawing/2014/chart" uri="{C3380CC4-5D6E-409C-BE32-E72D297353CC}">
              <c16:uniqueId val="{00000009-9480-4CFC-92EF-A4612A96E5F1}"/>
            </c:ext>
          </c:extLst>
        </c:ser>
        <c:dLbls>
          <c:showLegendKey val="0"/>
          <c:showVal val="0"/>
          <c:showCatName val="0"/>
          <c:showSerName val="0"/>
          <c:showPercent val="0"/>
          <c:showBubbleSize val="0"/>
        </c:dLbls>
        <c:gapWidth val="41"/>
        <c:overlap val="100"/>
        <c:axId val="-1577552864"/>
        <c:axId val="-1577552320"/>
      </c:barChart>
      <c:catAx>
        <c:axId val="-1577552864"/>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lgn="r">
              <a:defRPr sz="1300" b="0" i="0" u="none" strike="noStrike" kern="1200" baseline="0">
                <a:solidFill>
                  <a:schemeClr val="tx1"/>
                </a:solidFill>
                <a:latin typeface="+mn-lt"/>
                <a:ea typeface="+mn-ea"/>
                <a:cs typeface="+mn-cs"/>
              </a:defRPr>
            </a:pPr>
            <a:endParaRPr lang="en-US"/>
          </a:p>
        </c:txPr>
        <c:crossAx val="-1577552320"/>
        <c:crosses val="autoZero"/>
        <c:auto val="1"/>
        <c:lblAlgn val="ctr"/>
        <c:lblOffset val="100"/>
        <c:noMultiLvlLbl val="0"/>
      </c:catAx>
      <c:valAx>
        <c:axId val="-1577552320"/>
        <c:scaling>
          <c:orientation val="minMax"/>
        </c:scaling>
        <c:delete val="1"/>
        <c:axPos val="t"/>
        <c:numFmt formatCode="0%" sourceLinked="1"/>
        <c:majorTickMark val="none"/>
        <c:minorTickMark val="none"/>
        <c:tickLblPos val="nextTo"/>
        <c:crossAx val="-1577552864"/>
        <c:crosses val="autoZero"/>
        <c:crossBetween val="between"/>
      </c:valAx>
      <c:spPr>
        <a:noFill/>
        <a:ln>
          <a:noFill/>
        </a:ln>
        <a:effectLst/>
      </c:spPr>
    </c:plotArea>
    <c:legend>
      <c:legendPos val="t"/>
      <c:layout>
        <c:manualLayout>
          <c:xMode val="edge"/>
          <c:yMode val="edge"/>
          <c:x val="0.16428192527122529"/>
          <c:y val="2.9323402119584712E-2"/>
          <c:w val="0.83571807472877468"/>
          <c:h val="6.7999637576881669E-2"/>
        </c:manualLayout>
      </c:layout>
      <c:overlay val="0"/>
      <c:spPr>
        <a:noFill/>
        <a:ln>
          <a:noFill/>
        </a:ln>
        <a:effectLst/>
      </c:spPr>
      <c:txPr>
        <a:bodyPr rot="0" spcFirstLastPara="1" vertOverflow="ellipsis" vert="horz" wrap="square" anchor="ctr" anchorCtr="1"/>
        <a:lstStyle/>
        <a:p>
          <a:pPr>
            <a:defRPr sz="13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lv-LV"/>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7160415031975808"/>
          <c:y val="9.5395118068569221E-2"/>
          <c:w val="0.60903332417551981"/>
          <c:h val="0.83732337578121374"/>
        </c:manualLayout>
      </c:layout>
      <c:barChart>
        <c:barDir val="bar"/>
        <c:grouping val="percentStacked"/>
        <c:varyColors val="0"/>
        <c:ser>
          <c:idx val="0"/>
          <c:order val="0"/>
          <c:tx>
            <c:strRef>
              <c:f>Sheet1!$B$1</c:f>
              <c:strCache>
                <c:ptCount val="1"/>
                <c:pt idx="0">
                  <c:v>Pilnīgi apmierināts</c:v>
                </c:pt>
              </c:strCache>
            </c:strRef>
          </c:tx>
          <c:spPr>
            <a:solidFill>
              <a:schemeClr val="accent1"/>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Visa izlase, n=323</c:v>
                </c:pt>
                <c:pt idx="1">
                  <c:v>Plānveida pārbaudes , n=203</c:v>
                </c:pt>
                <c:pt idx="2">
                  <c:v>Zvejas kontrole, n=55</c:v>
                </c:pt>
                <c:pt idx="3">
                  <c:v>Pārbaudes radiācijas drošībā, n=65</c:v>
                </c:pt>
              </c:strCache>
            </c:strRef>
          </c:cat>
          <c:val>
            <c:numRef>
              <c:f>Sheet1!$B$2:$B$5</c:f>
              <c:numCache>
                <c:formatCode>0</c:formatCode>
                <c:ptCount val="4"/>
                <c:pt idx="0">
                  <c:v>45.405472482471794</c:v>
                </c:pt>
                <c:pt idx="1">
                  <c:v>50.73891625615736</c:v>
                </c:pt>
                <c:pt idx="2">
                  <c:v>29.090909090909083</c:v>
                </c:pt>
                <c:pt idx="3">
                  <c:v>55.384615384615337</c:v>
                </c:pt>
              </c:numCache>
            </c:numRef>
          </c:val>
          <c:extLst>
            <c:ext xmlns:c16="http://schemas.microsoft.com/office/drawing/2014/chart" uri="{C3380CC4-5D6E-409C-BE32-E72D297353CC}">
              <c16:uniqueId val="{00000000-9480-4CFC-92EF-A4612A96E5F1}"/>
            </c:ext>
          </c:extLst>
        </c:ser>
        <c:ser>
          <c:idx val="1"/>
          <c:order val="1"/>
          <c:tx>
            <c:strRef>
              <c:f>Sheet1!$C$1</c:f>
              <c:strCache>
                <c:ptCount val="1"/>
                <c:pt idx="0">
                  <c:v>Ļoti apmierināts</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Visa izlase, n=323</c:v>
                </c:pt>
                <c:pt idx="1">
                  <c:v>Plānveida pārbaudes , n=203</c:v>
                </c:pt>
                <c:pt idx="2">
                  <c:v>Zvejas kontrole, n=55</c:v>
                </c:pt>
                <c:pt idx="3">
                  <c:v>Pārbaudes radiācijas drošībā, n=65</c:v>
                </c:pt>
              </c:strCache>
            </c:strRef>
          </c:cat>
          <c:val>
            <c:numRef>
              <c:f>Sheet1!$C$2:$C$5</c:f>
              <c:numCache>
                <c:formatCode>0</c:formatCode>
                <c:ptCount val="4"/>
                <c:pt idx="0">
                  <c:v>20.909598560526092</c:v>
                </c:pt>
                <c:pt idx="1">
                  <c:v>22.16748768472895</c:v>
                </c:pt>
                <c:pt idx="2">
                  <c:v>18.181818181818176</c:v>
                </c:pt>
                <c:pt idx="3">
                  <c:v>18.461538461538435</c:v>
                </c:pt>
              </c:numCache>
            </c:numRef>
          </c:val>
          <c:extLst>
            <c:ext xmlns:c16="http://schemas.microsoft.com/office/drawing/2014/chart" uri="{C3380CC4-5D6E-409C-BE32-E72D297353CC}">
              <c16:uniqueId val="{00000001-9480-4CFC-92EF-A4612A96E5F1}"/>
            </c:ext>
          </c:extLst>
        </c:ser>
        <c:ser>
          <c:idx val="2"/>
          <c:order val="2"/>
          <c:tx>
            <c:strRef>
              <c:f>Sheet1!$D$1</c:f>
              <c:strCache>
                <c:ptCount val="1"/>
                <c:pt idx="0">
                  <c:v>Apmierināts</c:v>
                </c:pt>
              </c:strCache>
            </c:strRef>
          </c:tx>
          <c:spPr>
            <a:solidFill>
              <a:schemeClr val="accent3"/>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Visa izlase, n=323</c:v>
                </c:pt>
                <c:pt idx="1">
                  <c:v>Plānveida pārbaudes , n=203</c:v>
                </c:pt>
                <c:pt idx="2">
                  <c:v>Zvejas kontrole, n=55</c:v>
                </c:pt>
                <c:pt idx="3">
                  <c:v>Pārbaudes radiācijas drošībā, n=65</c:v>
                </c:pt>
              </c:strCache>
            </c:strRef>
          </c:cat>
          <c:val>
            <c:numRef>
              <c:f>Sheet1!$D$2:$D$5</c:f>
              <c:numCache>
                <c:formatCode>0</c:formatCode>
                <c:ptCount val="4"/>
                <c:pt idx="0">
                  <c:v>27.163864242724983</c:v>
                </c:pt>
                <c:pt idx="1">
                  <c:v>20.689655172413691</c:v>
                </c:pt>
                <c:pt idx="2">
                  <c:v>45.45454545454546</c:v>
                </c:pt>
                <c:pt idx="3">
                  <c:v>21.538461538461508</c:v>
                </c:pt>
              </c:numCache>
            </c:numRef>
          </c:val>
          <c:extLst>
            <c:ext xmlns:c16="http://schemas.microsoft.com/office/drawing/2014/chart" uri="{C3380CC4-5D6E-409C-BE32-E72D297353CC}">
              <c16:uniqueId val="{00000002-9480-4CFC-92EF-A4612A96E5F1}"/>
            </c:ext>
          </c:extLst>
        </c:ser>
        <c:ser>
          <c:idx val="3"/>
          <c:order val="3"/>
          <c:tx>
            <c:strRef>
              <c:f>Sheet1!$E$1</c:f>
              <c:strCache>
                <c:ptCount val="1"/>
                <c:pt idx="0">
                  <c:v>Drīzāk neapmierināts</c:v>
                </c:pt>
              </c:strCache>
            </c:strRef>
          </c:tx>
          <c:spPr>
            <a:solidFill>
              <a:schemeClr val="accent4"/>
            </a:solidFill>
            <a:ln>
              <a:noFill/>
            </a:ln>
            <a:effectLst/>
          </c:spPr>
          <c:invertIfNegative val="0"/>
          <c:dLbls>
            <c:dLbl>
              <c:idx val="0"/>
              <c:layout>
                <c:manualLayout>
                  <c:x val="-6.4541240805468829E-3"/>
                  <c:y val="1.8805140723211732E-3"/>
                </c:manualLayout>
              </c:layout>
              <c:numFmt formatCode="0\%" sourceLinked="0"/>
              <c:spPr>
                <a:noFill/>
                <a:ln>
                  <a:noFill/>
                </a:ln>
                <a:effectLst/>
              </c:spPr>
              <c:txPr>
                <a:bodyPr rot="0" spcFirstLastPara="1" vertOverflow="ellipsis" vert="horz" wrap="square" lIns="38100" tIns="19050" rIns="38100" bIns="19050" anchor="ctr" anchorCtr="1">
                  <a:noAutofit/>
                </a:bodyPr>
                <a:lstStyle/>
                <a:p>
                  <a:pPr>
                    <a:defRPr sz="1197"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layout>
                    <c:manualLayout>
                      <c:w val="2.6617017290988657E-2"/>
                      <c:h val="0.10006520062962133"/>
                    </c:manualLayout>
                  </c15:layout>
                </c:ext>
                <c:ext xmlns:c16="http://schemas.microsoft.com/office/drawing/2014/chart" uri="{C3380CC4-5D6E-409C-BE32-E72D297353CC}">
                  <c16:uniqueId val="{00000000-60B1-41B4-92FA-801E09609039}"/>
                </c:ext>
              </c:extLst>
            </c:dLbl>
            <c:dLbl>
              <c:idx val="1"/>
              <c:layout>
                <c:manualLayout>
                  <c:x val="-7.7450098809860313E-3"/>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60B1-41B4-92FA-801E09609039}"/>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Visa izlase, n=323</c:v>
                </c:pt>
                <c:pt idx="1">
                  <c:v>Plānveida pārbaudes , n=203</c:v>
                </c:pt>
                <c:pt idx="2">
                  <c:v>Zvejas kontrole, n=55</c:v>
                </c:pt>
                <c:pt idx="3">
                  <c:v>Pārbaudes radiācijas drošībā, n=65</c:v>
                </c:pt>
              </c:strCache>
            </c:strRef>
          </c:cat>
          <c:val>
            <c:numRef>
              <c:f>Sheet1!$E$2:$E$5</c:f>
              <c:numCache>
                <c:formatCode>0</c:formatCode>
                <c:ptCount val="4"/>
                <c:pt idx="0">
                  <c:v>2.196438543153187</c:v>
                </c:pt>
                <c:pt idx="1">
                  <c:v>2.9556650246305303</c:v>
                </c:pt>
                <c:pt idx="3">
                  <c:v>3.0769230769230731</c:v>
                </c:pt>
              </c:numCache>
            </c:numRef>
          </c:val>
          <c:extLst>
            <c:ext xmlns:c16="http://schemas.microsoft.com/office/drawing/2014/chart" uri="{C3380CC4-5D6E-409C-BE32-E72D297353CC}">
              <c16:uniqueId val="{00000003-9480-4CFC-92EF-A4612A96E5F1}"/>
            </c:ext>
          </c:extLst>
        </c:ser>
        <c:ser>
          <c:idx val="4"/>
          <c:order val="4"/>
          <c:tx>
            <c:strRef>
              <c:f>Sheet1!$F$1</c:f>
              <c:strCache>
                <c:ptCount val="1"/>
                <c:pt idx="0">
                  <c:v>Pilnīgi neapmierināts</c:v>
                </c:pt>
              </c:strCache>
            </c:strRef>
          </c:tx>
          <c:spPr>
            <a:solidFill>
              <a:schemeClr val="accent5"/>
            </a:solidFill>
            <a:ln>
              <a:noFill/>
            </a:ln>
            <a:effectLst/>
          </c:spPr>
          <c:invertIfNegative val="0"/>
          <c:dLbls>
            <c:dLbl>
              <c:idx val="0"/>
              <c:layout>
                <c:manualLayout>
                  <c:x val="1.6300094942437399E-3"/>
                  <c:y val="1.8815504129373415E-3"/>
                </c:manualLayout>
              </c:layout>
              <c:tx>
                <c:rich>
                  <a:bodyPr/>
                  <a:lstStyle/>
                  <a:p>
                    <a:fld id="{4BF6CF23-D790-4A5C-BDED-BDBE91B3A95C}" type="VALUE">
                      <a:rPr lang="en-US" sz="1200">
                        <a:solidFill>
                          <a:schemeClr val="bg1"/>
                        </a:solidFill>
                      </a:rPr>
                      <a:pPr/>
                      <a:t>[VĒRTĪBA]</a:t>
                    </a:fld>
                    <a:endParaRPr lang="en-GB"/>
                  </a:p>
                </c:rich>
              </c:tx>
              <c:showLegendKey val="0"/>
              <c:showVal val="1"/>
              <c:showCatName val="0"/>
              <c:showSerName val="0"/>
              <c:showPercent val="0"/>
              <c:showBubbleSize val="0"/>
              <c:extLst>
                <c:ext xmlns:c15="http://schemas.microsoft.com/office/drawing/2012/chart" uri="{CE6537A1-D6FC-4f65-9D91-7224C49458BB}">
                  <c15:layout>
                    <c:manualLayout>
                      <c:w val="2.6668650690195233E-2"/>
                      <c:h val="0.1002156180676215"/>
                    </c:manualLayout>
                  </c15:layout>
                  <c15:dlblFieldTable/>
                  <c15:showDataLabelsRange val="0"/>
                </c:ext>
                <c:ext xmlns:c16="http://schemas.microsoft.com/office/drawing/2014/chart" uri="{C3380CC4-5D6E-409C-BE32-E72D297353CC}">
                  <c16:uniqueId val="{00000004-9480-4CFC-92EF-A4612A96E5F1}"/>
                </c:ext>
              </c:extLst>
            </c:dLbl>
            <c:dLbl>
              <c:idx val="1"/>
              <c:layout>
                <c:manualLayout>
                  <c:x val="-1.5277601289623992E-16"/>
                  <c:y val="8.0658512225511517E-7"/>
                </c:manualLayout>
              </c:layout>
              <c:tx>
                <c:rich>
                  <a:bodyPr/>
                  <a:lstStyle/>
                  <a:p>
                    <a:fld id="{24BCE490-AC51-48C3-8825-67A161DFF470}" type="VALUE">
                      <a:rPr lang="en-US">
                        <a:solidFill>
                          <a:schemeClr val="bg1"/>
                        </a:solidFill>
                      </a:rPr>
                      <a:pPr/>
                      <a:t>[VĒRTĪBA]</a:t>
                    </a:fld>
                    <a:endParaRPr lang="en-GB"/>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5-9480-4CFC-92EF-A4612A96E5F1}"/>
                </c:ext>
              </c:extLst>
            </c:dLbl>
            <c:dLbl>
              <c:idx val="2"/>
              <c:layout>
                <c:manualLayout>
                  <c:x val="2.8758177109267555E-3"/>
                  <c:y val="8.8829195662505004E-7"/>
                </c:manualLayout>
              </c:layout>
              <c:tx>
                <c:rich>
                  <a:bodyPr/>
                  <a:lstStyle/>
                  <a:p>
                    <a:fld id="{96CB6FE0-6B28-4AE3-BD9C-7C82138C60E2}" type="VALUE">
                      <a:rPr lang="en-US" sz="1200">
                        <a:solidFill>
                          <a:schemeClr val="bg1"/>
                        </a:solidFill>
                      </a:rPr>
                      <a:pPr/>
                      <a:t>[VĒRTĪBA]</a:t>
                    </a:fld>
                    <a:endParaRPr lang="en-GB"/>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6-9480-4CFC-92EF-A4612A96E5F1}"/>
                </c:ext>
              </c:extLst>
            </c:dLbl>
            <c:numFmt formatCode="0\%" sourceLinked="0"/>
            <c:spPr>
              <a:noFill/>
              <a:ln>
                <a:noFill/>
              </a:ln>
              <a:effectLst/>
            </c:spPr>
            <c:txPr>
              <a:bodyPr/>
              <a:lstStyle/>
              <a:p>
                <a:pPr>
                  <a:defRPr sz="1200" b="0">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Visa izlase, n=323</c:v>
                </c:pt>
                <c:pt idx="1">
                  <c:v>Plānveida pārbaudes , n=203</c:v>
                </c:pt>
                <c:pt idx="2">
                  <c:v>Zvejas kontrole, n=55</c:v>
                </c:pt>
                <c:pt idx="3">
                  <c:v>Pārbaudes radiācijas drošībā, n=65</c:v>
                </c:pt>
              </c:strCache>
            </c:strRef>
          </c:cat>
          <c:val>
            <c:numRef>
              <c:f>Sheet1!$F$2:$F$5</c:f>
              <c:numCache>
                <c:formatCode>0</c:formatCode>
                <c:ptCount val="4"/>
                <c:pt idx="0">
                  <c:v>1.8117515666687305</c:v>
                </c:pt>
                <c:pt idx="1">
                  <c:v>1.9704433497536866</c:v>
                </c:pt>
                <c:pt idx="2">
                  <c:v>1.8181818181818181</c:v>
                </c:pt>
              </c:numCache>
            </c:numRef>
          </c:val>
          <c:extLst>
            <c:ext xmlns:c16="http://schemas.microsoft.com/office/drawing/2014/chart" uri="{C3380CC4-5D6E-409C-BE32-E72D297353CC}">
              <c16:uniqueId val="{00000008-9480-4CFC-92EF-A4612A96E5F1}"/>
            </c:ext>
          </c:extLst>
        </c:ser>
        <c:ser>
          <c:idx val="5"/>
          <c:order val="5"/>
          <c:tx>
            <c:strRef>
              <c:f>Sheet1!$G$1</c:f>
              <c:strCache>
                <c:ptCount val="1"/>
                <c:pt idx="0">
                  <c:v>Nevaru novērtēt</c:v>
                </c:pt>
              </c:strCache>
            </c:strRef>
          </c:tx>
          <c:spPr>
            <a:solidFill>
              <a:schemeClr val="bg1">
                <a:lumMod val="65000"/>
              </a:schemeClr>
            </a:solidFill>
          </c:spPr>
          <c:invertIfNegative val="0"/>
          <c:dLbls>
            <c:dLbl>
              <c:idx val="0"/>
              <c:layout>
                <c:manualLayout>
                  <c:x val="6.4541749008216924E-3"/>
                  <c:y val="1.4804865947244672E-7"/>
                </c:manualLayout>
              </c:layout>
              <c:numFmt formatCode="0\%" sourceLinked="0"/>
              <c:spPr>
                <a:noFill/>
                <a:ln>
                  <a:noFill/>
                </a:ln>
                <a:effectLst/>
              </c:spPr>
              <c:txPr>
                <a:bodyPr wrap="square" lIns="38100" tIns="19050" rIns="38100" bIns="19050" anchor="ctr">
                  <a:noAutofit/>
                </a:bodyPr>
                <a:lstStyle/>
                <a:p>
                  <a:pPr>
                    <a:defRPr sz="1200">
                      <a:solidFill>
                        <a:schemeClr val="tx1"/>
                      </a:solidFill>
                    </a:defRPr>
                  </a:pPr>
                  <a:endParaRPr lang="en-US"/>
                </a:p>
              </c:txPr>
              <c:showLegendKey val="0"/>
              <c:showVal val="1"/>
              <c:showCatName val="0"/>
              <c:showSerName val="0"/>
              <c:showPercent val="0"/>
              <c:showBubbleSize val="0"/>
              <c:extLst>
                <c:ext xmlns:c15="http://schemas.microsoft.com/office/drawing/2012/chart" uri="{CE6537A1-D6FC-4f65-9D91-7224C49458BB}">
                  <c15:layout>
                    <c:manualLayout>
                      <c:w val="2.6668650690195233E-2"/>
                      <c:h val="9.6455182117616944E-2"/>
                    </c:manualLayout>
                  </c15:layout>
                </c:ext>
                <c:ext xmlns:c16="http://schemas.microsoft.com/office/drawing/2014/chart" uri="{C3380CC4-5D6E-409C-BE32-E72D297353CC}">
                  <c16:uniqueId val="{00000002-60B1-41B4-92FA-801E09609039}"/>
                </c:ext>
              </c:extLst>
            </c:dLbl>
            <c:dLbl>
              <c:idx val="1"/>
              <c:layout>
                <c:manualLayout>
                  <c:x val="1.0326679841314709E-2"/>
                  <c:y val="5.9219463779599365E-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60B1-41B4-92FA-801E09609039}"/>
                </c:ext>
              </c:extLst>
            </c:dLbl>
            <c:dLbl>
              <c:idx val="3"/>
              <c:layout>
                <c:manualLayout>
                  <c:x val="6.4541749008215034E-3"/>
                  <c:y val="2.9609731889799683E-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60B1-41B4-92FA-801E09609039}"/>
                </c:ext>
              </c:extLst>
            </c:dLbl>
            <c:numFmt formatCode="0\%" sourceLinked="0"/>
            <c:spPr>
              <a:noFill/>
              <a:ln>
                <a:noFill/>
              </a:ln>
              <a:effectLst/>
            </c:spPr>
            <c:txPr>
              <a:bodyPr wrap="square" lIns="38100" tIns="19050" rIns="38100" bIns="19050" anchor="ctr">
                <a:spAutoFit/>
              </a:bodyPr>
              <a:lstStyle/>
              <a:p>
                <a:pPr>
                  <a:defRPr sz="1200">
                    <a:solidFill>
                      <a:schemeClr val="tx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Visa izlase, n=323</c:v>
                </c:pt>
                <c:pt idx="1">
                  <c:v>Plānveida pārbaudes , n=203</c:v>
                </c:pt>
                <c:pt idx="2">
                  <c:v>Zvejas kontrole, n=55</c:v>
                </c:pt>
                <c:pt idx="3">
                  <c:v>Pārbaudes radiācijas drošībā, n=65</c:v>
                </c:pt>
              </c:strCache>
            </c:strRef>
          </c:cat>
          <c:val>
            <c:numRef>
              <c:f>Sheet1!$G$2:$G$5</c:f>
              <c:numCache>
                <c:formatCode>0</c:formatCode>
                <c:ptCount val="4"/>
                <c:pt idx="0">
                  <c:v>2.5128746044549173</c:v>
                </c:pt>
                <c:pt idx="1">
                  <c:v>1.4778325123152651</c:v>
                </c:pt>
                <c:pt idx="2">
                  <c:v>5.4545454545454541</c:v>
                </c:pt>
                <c:pt idx="3">
                  <c:v>1.5384615384615365</c:v>
                </c:pt>
              </c:numCache>
            </c:numRef>
          </c:val>
          <c:extLst>
            <c:ext xmlns:c16="http://schemas.microsoft.com/office/drawing/2014/chart" uri="{C3380CC4-5D6E-409C-BE32-E72D297353CC}">
              <c16:uniqueId val="{00000009-9480-4CFC-92EF-A4612A96E5F1}"/>
            </c:ext>
          </c:extLst>
        </c:ser>
        <c:dLbls>
          <c:showLegendKey val="0"/>
          <c:showVal val="0"/>
          <c:showCatName val="0"/>
          <c:showSerName val="0"/>
          <c:showPercent val="0"/>
          <c:showBubbleSize val="0"/>
        </c:dLbls>
        <c:gapWidth val="41"/>
        <c:overlap val="100"/>
        <c:axId val="-1577565376"/>
        <c:axId val="-1577172560"/>
      </c:barChart>
      <c:catAx>
        <c:axId val="-1577565376"/>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lgn="r">
              <a:defRPr sz="1300" b="0" i="0" u="none" strike="noStrike" kern="1200" baseline="0">
                <a:solidFill>
                  <a:schemeClr val="tx1"/>
                </a:solidFill>
                <a:latin typeface="+mn-lt"/>
                <a:ea typeface="+mn-ea"/>
                <a:cs typeface="+mn-cs"/>
              </a:defRPr>
            </a:pPr>
            <a:endParaRPr lang="en-US"/>
          </a:p>
        </c:txPr>
        <c:crossAx val="-1577172560"/>
        <c:crosses val="autoZero"/>
        <c:auto val="1"/>
        <c:lblAlgn val="ctr"/>
        <c:lblOffset val="100"/>
        <c:noMultiLvlLbl val="0"/>
      </c:catAx>
      <c:valAx>
        <c:axId val="-1577172560"/>
        <c:scaling>
          <c:orientation val="minMax"/>
        </c:scaling>
        <c:delete val="1"/>
        <c:axPos val="t"/>
        <c:numFmt formatCode="0%" sourceLinked="1"/>
        <c:majorTickMark val="none"/>
        <c:minorTickMark val="none"/>
        <c:tickLblPos val="nextTo"/>
        <c:crossAx val="-1577565376"/>
        <c:crosses val="autoZero"/>
        <c:crossBetween val="between"/>
      </c:valAx>
      <c:spPr>
        <a:noFill/>
        <a:ln>
          <a:noFill/>
        </a:ln>
        <a:effectLst/>
      </c:spPr>
    </c:plotArea>
    <c:legend>
      <c:legendPos val="t"/>
      <c:layout>
        <c:manualLayout>
          <c:xMode val="edge"/>
          <c:yMode val="edge"/>
          <c:x val="0.16428192527122529"/>
          <c:y val="2.9323402119584712E-2"/>
          <c:w val="0.83571807472877468"/>
          <c:h val="6.7999637576881669E-2"/>
        </c:manualLayout>
      </c:layout>
      <c:overlay val="0"/>
      <c:spPr>
        <a:noFill/>
        <a:ln>
          <a:noFill/>
        </a:ln>
        <a:effectLst/>
      </c:spPr>
      <c:txPr>
        <a:bodyPr rot="0" spcFirstLastPara="1" vertOverflow="ellipsis" vert="horz" wrap="square" anchor="ctr" anchorCtr="1"/>
        <a:lstStyle/>
        <a:p>
          <a:pPr>
            <a:defRPr sz="13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lv-LV"/>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7160415031975808"/>
          <c:y val="9.5395118068569221E-2"/>
          <c:w val="0.60903332417551981"/>
          <c:h val="0.83732337578121374"/>
        </c:manualLayout>
      </c:layout>
      <c:barChart>
        <c:barDir val="bar"/>
        <c:grouping val="percentStacked"/>
        <c:varyColors val="0"/>
        <c:ser>
          <c:idx val="0"/>
          <c:order val="0"/>
          <c:tx>
            <c:strRef>
              <c:f>Sheet1!$B$1</c:f>
              <c:strCache>
                <c:ptCount val="1"/>
                <c:pt idx="0">
                  <c:v>Pilnīgi apmierināts</c:v>
                </c:pt>
              </c:strCache>
            </c:strRef>
          </c:tx>
          <c:spPr>
            <a:solidFill>
              <a:schemeClr val="accent1"/>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Visa izlase, n=323</c:v>
                </c:pt>
                <c:pt idx="1">
                  <c:v>Plānveida pārbaudes , n=203</c:v>
                </c:pt>
                <c:pt idx="2">
                  <c:v>Zvejas kontrole, n=55</c:v>
                </c:pt>
                <c:pt idx="3">
                  <c:v>Pārbaudes radiācijas drošībā, n=65</c:v>
                </c:pt>
              </c:strCache>
            </c:strRef>
          </c:cat>
          <c:val>
            <c:numRef>
              <c:f>Sheet1!$B$2:$B$5</c:f>
              <c:numCache>
                <c:formatCode>0</c:formatCode>
                <c:ptCount val="4"/>
                <c:pt idx="0">
                  <c:v>44.443755041260637</c:v>
                </c:pt>
                <c:pt idx="1">
                  <c:v>48.76847290640368</c:v>
                </c:pt>
                <c:pt idx="2">
                  <c:v>30.909090909090903</c:v>
                </c:pt>
                <c:pt idx="3">
                  <c:v>53.846153846153797</c:v>
                </c:pt>
              </c:numCache>
            </c:numRef>
          </c:val>
          <c:extLst>
            <c:ext xmlns:c16="http://schemas.microsoft.com/office/drawing/2014/chart" uri="{C3380CC4-5D6E-409C-BE32-E72D297353CC}">
              <c16:uniqueId val="{00000000-9480-4CFC-92EF-A4612A96E5F1}"/>
            </c:ext>
          </c:extLst>
        </c:ser>
        <c:ser>
          <c:idx val="1"/>
          <c:order val="1"/>
          <c:tx>
            <c:strRef>
              <c:f>Sheet1!$C$1</c:f>
              <c:strCache>
                <c:ptCount val="1"/>
                <c:pt idx="0">
                  <c:v>Ļoti apmierināts</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Visa izlase, n=323</c:v>
                </c:pt>
                <c:pt idx="1">
                  <c:v>Plānveida pārbaudes , n=203</c:v>
                </c:pt>
                <c:pt idx="2">
                  <c:v>Zvejas kontrole, n=55</c:v>
                </c:pt>
                <c:pt idx="3">
                  <c:v>Pārbaudes radiācijas drošībā, n=65</c:v>
                </c:pt>
              </c:strCache>
            </c:strRef>
          </c:cat>
          <c:val>
            <c:numRef>
              <c:f>Sheet1!$C$2:$C$5</c:f>
              <c:numCache>
                <c:formatCode>0</c:formatCode>
                <c:ptCount val="4"/>
                <c:pt idx="0">
                  <c:v>20.258112551963702</c:v>
                </c:pt>
                <c:pt idx="1">
                  <c:v>23.152709359605794</c:v>
                </c:pt>
                <c:pt idx="2">
                  <c:v>12.727272727272725</c:v>
                </c:pt>
                <c:pt idx="3">
                  <c:v>19.999999999999968</c:v>
                </c:pt>
              </c:numCache>
            </c:numRef>
          </c:val>
          <c:extLst>
            <c:ext xmlns:c16="http://schemas.microsoft.com/office/drawing/2014/chart" uri="{C3380CC4-5D6E-409C-BE32-E72D297353CC}">
              <c16:uniqueId val="{00000001-9480-4CFC-92EF-A4612A96E5F1}"/>
            </c:ext>
          </c:extLst>
        </c:ser>
        <c:ser>
          <c:idx val="2"/>
          <c:order val="2"/>
          <c:tx>
            <c:strRef>
              <c:f>Sheet1!$D$1</c:f>
              <c:strCache>
                <c:ptCount val="1"/>
                <c:pt idx="0">
                  <c:v>Apmierināts</c:v>
                </c:pt>
              </c:strCache>
            </c:strRef>
          </c:tx>
          <c:spPr>
            <a:solidFill>
              <a:schemeClr val="accent3"/>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Visa izlase, n=323</c:v>
                </c:pt>
                <c:pt idx="1">
                  <c:v>Plānveida pārbaudes , n=203</c:v>
                </c:pt>
                <c:pt idx="2">
                  <c:v>Zvejas kontrole, n=55</c:v>
                </c:pt>
                <c:pt idx="3">
                  <c:v>Pārbaudes radiācijas drošībā, n=65</c:v>
                </c:pt>
              </c:strCache>
            </c:strRef>
          </c:cat>
          <c:val>
            <c:numRef>
              <c:f>Sheet1!$D$2:$D$5</c:f>
              <c:numCache>
                <c:formatCode>0</c:formatCode>
                <c:ptCount val="4"/>
                <c:pt idx="0">
                  <c:v>28.777067692498502</c:v>
                </c:pt>
                <c:pt idx="1">
                  <c:v>21.67487684729053</c:v>
                </c:pt>
                <c:pt idx="2">
                  <c:v>49.090909090909101</c:v>
                </c:pt>
                <c:pt idx="3">
                  <c:v>21.538461538461508</c:v>
                </c:pt>
              </c:numCache>
            </c:numRef>
          </c:val>
          <c:extLst>
            <c:ext xmlns:c16="http://schemas.microsoft.com/office/drawing/2014/chart" uri="{C3380CC4-5D6E-409C-BE32-E72D297353CC}">
              <c16:uniqueId val="{00000002-9480-4CFC-92EF-A4612A96E5F1}"/>
            </c:ext>
          </c:extLst>
        </c:ser>
        <c:ser>
          <c:idx val="3"/>
          <c:order val="3"/>
          <c:tx>
            <c:strRef>
              <c:f>Sheet1!$E$1</c:f>
              <c:strCache>
                <c:ptCount val="1"/>
                <c:pt idx="0">
                  <c:v>Drīzāk neapmierināts</c:v>
                </c:pt>
              </c:strCache>
            </c:strRef>
          </c:tx>
          <c:spPr>
            <a:solidFill>
              <a:schemeClr val="accent4"/>
            </a:solidFill>
            <a:ln>
              <a:noFill/>
            </a:ln>
            <a:effectLst/>
          </c:spPr>
          <c:invertIfNegative val="0"/>
          <c:dLbls>
            <c:dLbl>
              <c:idx val="1"/>
              <c:layout>
                <c:manualLayout>
                  <c:x val="-6.4541240805468829E-3"/>
                  <c:y val="0"/>
                </c:manualLayout>
              </c:layout>
              <c:numFmt formatCode="0\%" sourceLinked="0"/>
              <c:spPr>
                <a:noFill/>
                <a:ln>
                  <a:noFill/>
                </a:ln>
                <a:effectLst/>
              </c:spPr>
              <c:txPr>
                <a:bodyPr rot="0" spcFirstLastPara="1" vertOverflow="ellipsis" vert="horz" wrap="square" lIns="38100" tIns="19050" rIns="38100" bIns="19050" anchor="ctr" anchorCtr="1">
                  <a:noAutofit/>
                </a:bodyPr>
                <a:lstStyle/>
                <a:p>
                  <a:pPr>
                    <a:defRPr sz="1197"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layout>
                    <c:manualLayout>
                      <c:w val="2.6617017290988657E-2"/>
                      <c:h val="6.9981713029584863E-2"/>
                    </c:manualLayout>
                  </c15:layout>
                </c:ext>
                <c:ext xmlns:c16="http://schemas.microsoft.com/office/drawing/2014/chart" uri="{C3380CC4-5D6E-409C-BE32-E72D297353CC}">
                  <c16:uniqueId val="{00000000-C374-4782-A61A-5CC58728C794}"/>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Visa izlase, n=323</c:v>
                </c:pt>
                <c:pt idx="1">
                  <c:v>Plānveida pārbaudes , n=203</c:v>
                </c:pt>
                <c:pt idx="2">
                  <c:v>Zvejas kontrole, n=55</c:v>
                </c:pt>
                <c:pt idx="3">
                  <c:v>Pārbaudes radiācijas drošībā, n=65</c:v>
                </c:pt>
              </c:strCache>
            </c:strRef>
          </c:cat>
          <c:val>
            <c:numRef>
              <c:f>Sheet1!$E$2:$E$5</c:f>
              <c:numCache>
                <c:formatCode>0</c:formatCode>
                <c:ptCount val="4"/>
                <c:pt idx="0">
                  <c:v>1.4332692188372491</c:v>
                </c:pt>
                <c:pt idx="1">
                  <c:v>1.9704433497536866</c:v>
                </c:pt>
                <c:pt idx="3">
                  <c:v>1.5384615384615365</c:v>
                </c:pt>
              </c:numCache>
            </c:numRef>
          </c:val>
          <c:extLst>
            <c:ext xmlns:c16="http://schemas.microsoft.com/office/drawing/2014/chart" uri="{C3380CC4-5D6E-409C-BE32-E72D297353CC}">
              <c16:uniqueId val="{00000003-9480-4CFC-92EF-A4612A96E5F1}"/>
            </c:ext>
          </c:extLst>
        </c:ser>
        <c:ser>
          <c:idx val="4"/>
          <c:order val="4"/>
          <c:tx>
            <c:strRef>
              <c:f>Sheet1!$F$1</c:f>
              <c:strCache>
                <c:ptCount val="1"/>
                <c:pt idx="0">
                  <c:v>Pilnīgi neapmierināts</c:v>
                </c:pt>
              </c:strCache>
            </c:strRef>
          </c:tx>
          <c:spPr>
            <a:solidFill>
              <a:schemeClr val="accent5"/>
            </a:solidFill>
            <a:ln>
              <a:noFill/>
            </a:ln>
            <a:effectLst/>
          </c:spPr>
          <c:invertIfNegative val="0"/>
          <c:dLbls>
            <c:dLbl>
              <c:idx val="0"/>
              <c:layout>
                <c:manualLayout>
                  <c:x val="9.3750193752297709E-3"/>
                  <c:y val="-1.878441391088892E-3"/>
                </c:manualLayout>
              </c:layout>
              <c:tx>
                <c:rich>
                  <a:bodyPr/>
                  <a:lstStyle/>
                  <a:p>
                    <a:fld id="{4BF6CF23-D790-4A5C-BDED-BDBE91B3A95C}" type="VALUE">
                      <a:rPr lang="en-US" sz="1200">
                        <a:solidFill>
                          <a:schemeClr val="bg1"/>
                        </a:solidFill>
                      </a:rPr>
                      <a:pPr/>
                      <a:t>[VĒRTĪBA]</a:t>
                    </a:fld>
                    <a:endParaRPr lang="en-GB"/>
                  </a:p>
                </c:rich>
              </c:tx>
              <c:showLegendKey val="0"/>
              <c:showVal val="1"/>
              <c:showCatName val="0"/>
              <c:showSerName val="0"/>
              <c:showPercent val="0"/>
              <c:showBubbleSize val="0"/>
              <c:extLst>
                <c:ext xmlns:c15="http://schemas.microsoft.com/office/drawing/2012/chart" uri="{CE6537A1-D6FC-4f65-9D91-7224C49458BB}">
                  <c15:layout>
                    <c:manualLayout>
                      <c:w val="2.6668650690195233E-2"/>
                      <c:h val="9.2694746167612405E-2"/>
                    </c:manualLayout>
                  </c15:layout>
                  <c15:dlblFieldTable/>
                  <c15:showDataLabelsRange val="0"/>
                </c:ext>
                <c:ext xmlns:c16="http://schemas.microsoft.com/office/drawing/2014/chart" uri="{C3380CC4-5D6E-409C-BE32-E72D297353CC}">
                  <c16:uniqueId val="{00000004-9480-4CFC-92EF-A4612A96E5F1}"/>
                </c:ext>
              </c:extLst>
            </c:dLbl>
            <c:dLbl>
              <c:idx val="1"/>
              <c:layout>
                <c:manualLayout>
                  <c:x val="-1.5277601289623992E-16"/>
                  <c:y val="8.0658512225511517E-7"/>
                </c:manualLayout>
              </c:layout>
              <c:tx>
                <c:rich>
                  <a:bodyPr/>
                  <a:lstStyle/>
                  <a:p>
                    <a:fld id="{24BCE490-AC51-48C3-8825-67A161DFF470}" type="VALUE">
                      <a:rPr lang="en-US">
                        <a:solidFill>
                          <a:schemeClr val="bg1"/>
                        </a:solidFill>
                      </a:rPr>
                      <a:pPr/>
                      <a:t>[VĒRTĪBA]</a:t>
                    </a:fld>
                    <a:endParaRPr lang="en-GB"/>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5-9480-4CFC-92EF-A4612A96E5F1}"/>
                </c:ext>
              </c:extLst>
            </c:dLbl>
            <c:dLbl>
              <c:idx val="2"/>
              <c:layout>
                <c:manualLayout>
                  <c:x val="-9.9668722956626011E-4"/>
                  <c:y val="4.0329256122145648E-7"/>
                </c:manualLayout>
              </c:layout>
              <c:tx>
                <c:rich>
                  <a:bodyPr/>
                  <a:lstStyle/>
                  <a:p>
                    <a:fld id="{96CB6FE0-6B28-4AE3-BD9C-7C82138C60E2}" type="VALUE">
                      <a:rPr lang="en-US" sz="1200">
                        <a:solidFill>
                          <a:schemeClr val="bg1"/>
                        </a:solidFill>
                      </a:rPr>
                      <a:pPr/>
                      <a:t>[VĒRTĪBA]</a:t>
                    </a:fld>
                    <a:endParaRPr lang="en-GB"/>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6-9480-4CFC-92EF-A4612A96E5F1}"/>
                </c:ext>
              </c:extLst>
            </c:dLbl>
            <c:numFmt formatCode="0\%" sourceLinked="0"/>
            <c:spPr>
              <a:noFill/>
              <a:ln>
                <a:noFill/>
              </a:ln>
              <a:effectLst/>
            </c:spPr>
            <c:txPr>
              <a:bodyPr/>
              <a:lstStyle/>
              <a:p>
                <a:pPr>
                  <a:defRPr sz="1200" b="0">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Visa izlase, n=323</c:v>
                </c:pt>
                <c:pt idx="1">
                  <c:v>Plānveida pārbaudes , n=203</c:v>
                </c:pt>
                <c:pt idx="2">
                  <c:v>Zvejas kontrole, n=55</c:v>
                </c:pt>
                <c:pt idx="3">
                  <c:v>Pārbaudes radiācijas drošībā, n=65</c:v>
                </c:pt>
              </c:strCache>
            </c:strRef>
          </c:cat>
          <c:val>
            <c:numRef>
              <c:f>Sheet1!$F$2:$F$5</c:f>
              <c:numCache>
                <c:formatCode>0</c:formatCode>
                <c:ptCount val="4"/>
                <c:pt idx="0">
                  <c:v>1.8117515666687305</c:v>
                </c:pt>
                <c:pt idx="1">
                  <c:v>1.9704433497536866</c:v>
                </c:pt>
                <c:pt idx="2">
                  <c:v>1.8181818181818181</c:v>
                </c:pt>
              </c:numCache>
            </c:numRef>
          </c:val>
          <c:extLst>
            <c:ext xmlns:c16="http://schemas.microsoft.com/office/drawing/2014/chart" uri="{C3380CC4-5D6E-409C-BE32-E72D297353CC}">
              <c16:uniqueId val="{00000008-9480-4CFC-92EF-A4612A96E5F1}"/>
            </c:ext>
          </c:extLst>
        </c:ser>
        <c:ser>
          <c:idx val="5"/>
          <c:order val="5"/>
          <c:tx>
            <c:strRef>
              <c:f>Sheet1!$G$1</c:f>
              <c:strCache>
                <c:ptCount val="1"/>
                <c:pt idx="0">
                  <c:v>Nevaru novērtēt</c:v>
                </c:pt>
              </c:strCache>
            </c:strRef>
          </c:tx>
          <c:spPr>
            <a:solidFill>
              <a:schemeClr val="bg1">
                <a:lumMod val="65000"/>
              </a:schemeClr>
            </a:solidFill>
          </c:spPr>
          <c:invertIfNegative val="0"/>
          <c:dLbls>
            <c:dLbl>
              <c:idx val="0"/>
              <c:layout>
                <c:manualLayout>
                  <c:x val="1.2908349801643385E-2"/>
                  <c:y val="1.4804865947244672E-7"/>
                </c:manualLayout>
              </c:layout>
              <c:numFmt formatCode="0\%" sourceLinked="0"/>
              <c:spPr>
                <a:noFill/>
                <a:ln>
                  <a:noFill/>
                </a:ln>
                <a:effectLst/>
              </c:spPr>
              <c:txPr>
                <a:bodyPr wrap="square" lIns="38100" tIns="19050" rIns="38100" bIns="19050" anchor="ctr">
                  <a:noAutofit/>
                </a:bodyPr>
                <a:lstStyle/>
                <a:p>
                  <a:pPr>
                    <a:defRPr sz="1200">
                      <a:solidFill>
                        <a:schemeClr val="tx1"/>
                      </a:solidFill>
                    </a:defRPr>
                  </a:pPr>
                  <a:endParaRPr lang="en-US"/>
                </a:p>
              </c:txPr>
              <c:showLegendKey val="0"/>
              <c:showVal val="1"/>
              <c:showCatName val="0"/>
              <c:showSerName val="0"/>
              <c:showPercent val="0"/>
              <c:showBubbleSize val="0"/>
              <c:extLst>
                <c:ext xmlns:c15="http://schemas.microsoft.com/office/drawing/2012/chart" uri="{CE6537A1-D6FC-4f65-9D91-7224C49458BB}">
                  <c15:layout>
                    <c:manualLayout>
                      <c:w val="2.6668650690195233E-2"/>
                      <c:h val="9.6455182117616944E-2"/>
                    </c:manualLayout>
                  </c15:layout>
                </c:ext>
                <c:ext xmlns:c16="http://schemas.microsoft.com/office/drawing/2014/chart" uri="{C3380CC4-5D6E-409C-BE32-E72D297353CC}">
                  <c16:uniqueId val="{00000001-C374-4782-A61A-5CC58728C794}"/>
                </c:ext>
              </c:extLst>
            </c:dLbl>
            <c:dLbl>
              <c:idx val="1"/>
              <c:layout>
                <c:manualLayout>
                  <c:x val="1.0326679841314709E-2"/>
                  <c:y val="-3.7604359500045597E-3"/>
                </c:manualLayout>
              </c:layout>
              <c:numFmt formatCode="0\%" sourceLinked="0"/>
              <c:spPr>
                <a:noFill/>
                <a:ln>
                  <a:noFill/>
                </a:ln>
                <a:effectLst/>
              </c:spPr>
              <c:txPr>
                <a:bodyPr wrap="square" lIns="38100" tIns="19050" rIns="38100" bIns="19050" anchor="ctr">
                  <a:spAutoFit/>
                </a:bodyPr>
                <a:lstStyle/>
                <a:p>
                  <a:pPr>
                    <a:defRPr sz="1200">
                      <a:solidFill>
                        <a:schemeClr val="tx1"/>
                      </a:solidFill>
                    </a:defRPr>
                  </a:pPr>
                  <a:endParaRPr lang="en-US"/>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C374-4782-A61A-5CC58728C794}"/>
                </c:ext>
              </c:extLst>
            </c:dLbl>
            <c:numFmt formatCode="0\%" sourceLinked="0"/>
            <c:spPr>
              <a:noFill/>
              <a:ln>
                <a:noFill/>
              </a:ln>
              <a:effectLst/>
            </c:spPr>
            <c:txPr>
              <a:bodyPr wrap="square" lIns="38100" tIns="19050" rIns="38100" bIns="19050" anchor="ctr">
                <a:spAutoFit/>
              </a:bodyPr>
              <a:lstStyle/>
              <a:p>
                <a:pPr>
                  <a:defRPr sz="1200">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Visa izlase, n=323</c:v>
                </c:pt>
                <c:pt idx="1">
                  <c:v>Plānveida pārbaudes , n=203</c:v>
                </c:pt>
                <c:pt idx="2">
                  <c:v>Zvejas kontrole, n=55</c:v>
                </c:pt>
                <c:pt idx="3">
                  <c:v>Pārbaudes radiācijas drošībā, n=65</c:v>
                </c:pt>
              </c:strCache>
            </c:strRef>
          </c:cat>
          <c:val>
            <c:numRef>
              <c:f>Sheet1!$G$2:$G$5</c:f>
              <c:numCache>
                <c:formatCode>0</c:formatCode>
                <c:ptCount val="4"/>
                <c:pt idx="0">
                  <c:v>3.2760439287708549</c:v>
                </c:pt>
                <c:pt idx="1">
                  <c:v>2.4630541871921086</c:v>
                </c:pt>
                <c:pt idx="2">
                  <c:v>5.4545454545454541</c:v>
                </c:pt>
                <c:pt idx="3">
                  <c:v>3.0769230769230731</c:v>
                </c:pt>
              </c:numCache>
            </c:numRef>
          </c:val>
          <c:extLst>
            <c:ext xmlns:c16="http://schemas.microsoft.com/office/drawing/2014/chart" uri="{C3380CC4-5D6E-409C-BE32-E72D297353CC}">
              <c16:uniqueId val="{00000009-9480-4CFC-92EF-A4612A96E5F1}"/>
            </c:ext>
          </c:extLst>
        </c:ser>
        <c:dLbls>
          <c:showLegendKey val="0"/>
          <c:showVal val="0"/>
          <c:showCatName val="0"/>
          <c:showSerName val="0"/>
          <c:showPercent val="0"/>
          <c:showBubbleSize val="0"/>
        </c:dLbls>
        <c:gapWidth val="41"/>
        <c:overlap val="100"/>
        <c:axId val="-1577176368"/>
        <c:axId val="-1577179632"/>
      </c:barChart>
      <c:catAx>
        <c:axId val="-1577176368"/>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lgn="r">
              <a:defRPr sz="1300" b="0" i="0" u="none" strike="noStrike" kern="1200" baseline="0">
                <a:solidFill>
                  <a:schemeClr val="tx1"/>
                </a:solidFill>
                <a:latin typeface="+mn-lt"/>
                <a:ea typeface="+mn-ea"/>
                <a:cs typeface="+mn-cs"/>
              </a:defRPr>
            </a:pPr>
            <a:endParaRPr lang="en-US"/>
          </a:p>
        </c:txPr>
        <c:crossAx val="-1577179632"/>
        <c:crosses val="autoZero"/>
        <c:auto val="1"/>
        <c:lblAlgn val="ctr"/>
        <c:lblOffset val="100"/>
        <c:noMultiLvlLbl val="0"/>
      </c:catAx>
      <c:valAx>
        <c:axId val="-1577179632"/>
        <c:scaling>
          <c:orientation val="minMax"/>
        </c:scaling>
        <c:delete val="1"/>
        <c:axPos val="t"/>
        <c:numFmt formatCode="0%" sourceLinked="1"/>
        <c:majorTickMark val="none"/>
        <c:minorTickMark val="none"/>
        <c:tickLblPos val="nextTo"/>
        <c:crossAx val="-1577176368"/>
        <c:crosses val="autoZero"/>
        <c:crossBetween val="between"/>
      </c:valAx>
      <c:spPr>
        <a:noFill/>
        <a:ln>
          <a:noFill/>
        </a:ln>
        <a:effectLst/>
      </c:spPr>
    </c:plotArea>
    <c:legend>
      <c:legendPos val="t"/>
      <c:layout>
        <c:manualLayout>
          <c:xMode val="edge"/>
          <c:yMode val="edge"/>
          <c:x val="0.1681544302117183"/>
          <c:y val="2.9323402119584712E-2"/>
          <c:w val="0.83184556978828172"/>
          <c:h val="6.7999637576881669E-2"/>
        </c:manualLayout>
      </c:layout>
      <c:overlay val="0"/>
      <c:spPr>
        <a:noFill/>
        <a:ln>
          <a:noFill/>
        </a:ln>
        <a:effectLst/>
      </c:spPr>
      <c:txPr>
        <a:bodyPr rot="0" spcFirstLastPara="1" vertOverflow="ellipsis" vert="horz" wrap="square" anchor="ctr" anchorCtr="1"/>
        <a:lstStyle/>
        <a:p>
          <a:pPr>
            <a:defRPr sz="13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lv-LV"/>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7160415031975808"/>
          <c:y val="9.5395118068569221E-2"/>
          <c:w val="0.60903332417551981"/>
          <c:h val="0.83732337578121374"/>
        </c:manualLayout>
      </c:layout>
      <c:barChart>
        <c:barDir val="bar"/>
        <c:grouping val="percentStacked"/>
        <c:varyColors val="0"/>
        <c:ser>
          <c:idx val="0"/>
          <c:order val="0"/>
          <c:tx>
            <c:strRef>
              <c:f>Sheet1!$B$1</c:f>
              <c:strCache>
                <c:ptCount val="1"/>
                <c:pt idx="0">
                  <c:v>Pilnīgi apmierināts</c:v>
                </c:pt>
              </c:strCache>
            </c:strRef>
          </c:tx>
          <c:spPr>
            <a:solidFill>
              <a:schemeClr val="accent1"/>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Visa izlase, n=323</c:v>
                </c:pt>
                <c:pt idx="1">
                  <c:v>Plānveida pārbaudes , n=203</c:v>
                </c:pt>
                <c:pt idx="2">
                  <c:v>Zvejas kontrole, n=55</c:v>
                </c:pt>
                <c:pt idx="3">
                  <c:v>Pārbaudes radiācijas drošībā, n=65</c:v>
                </c:pt>
              </c:strCache>
            </c:strRef>
          </c:cat>
          <c:val>
            <c:numRef>
              <c:f>Sheet1!$B$2:$B$5</c:f>
              <c:numCache>
                <c:formatCode>0</c:formatCode>
                <c:ptCount val="4"/>
                <c:pt idx="0">
                  <c:v>44.294843953589243</c:v>
                </c:pt>
                <c:pt idx="1">
                  <c:v>48.27586206896526</c:v>
                </c:pt>
                <c:pt idx="2">
                  <c:v>30.909090909090903</c:v>
                </c:pt>
                <c:pt idx="3">
                  <c:v>56.923076923076877</c:v>
                </c:pt>
              </c:numCache>
            </c:numRef>
          </c:val>
          <c:extLst>
            <c:ext xmlns:c16="http://schemas.microsoft.com/office/drawing/2014/chart" uri="{C3380CC4-5D6E-409C-BE32-E72D297353CC}">
              <c16:uniqueId val="{00000000-9480-4CFC-92EF-A4612A96E5F1}"/>
            </c:ext>
          </c:extLst>
        </c:ser>
        <c:ser>
          <c:idx val="1"/>
          <c:order val="1"/>
          <c:tx>
            <c:strRef>
              <c:f>Sheet1!$C$1</c:f>
              <c:strCache>
                <c:ptCount val="1"/>
                <c:pt idx="0">
                  <c:v>Ļoti apmierināts</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Visa izlase, n=323</c:v>
                </c:pt>
                <c:pt idx="1">
                  <c:v>Plānveida pārbaudes , n=203</c:v>
                </c:pt>
                <c:pt idx="2">
                  <c:v>Zvejas kontrole, n=55</c:v>
                </c:pt>
                <c:pt idx="3">
                  <c:v>Pārbaudes radiācijas drošībā, n=65</c:v>
                </c:pt>
              </c:strCache>
            </c:strRef>
          </c:cat>
          <c:val>
            <c:numRef>
              <c:f>Sheet1!$C$2:$C$5</c:f>
              <c:numCache>
                <c:formatCode>0</c:formatCode>
                <c:ptCount val="4"/>
                <c:pt idx="0">
                  <c:v>19.842402432214367</c:v>
                </c:pt>
                <c:pt idx="1">
                  <c:v>23.645320197044214</c:v>
                </c:pt>
                <c:pt idx="2">
                  <c:v>10.909090909090907</c:v>
                </c:pt>
                <c:pt idx="3">
                  <c:v>15.384615384615362</c:v>
                </c:pt>
              </c:numCache>
            </c:numRef>
          </c:val>
          <c:extLst>
            <c:ext xmlns:c16="http://schemas.microsoft.com/office/drawing/2014/chart" uri="{C3380CC4-5D6E-409C-BE32-E72D297353CC}">
              <c16:uniqueId val="{00000001-9480-4CFC-92EF-A4612A96E5F1}"/>
            </c:ext>
          </c:extLst>
        </c:ser>
        <c:ser>
          <c:idx val="2"/>
          <c:order val="2"/>
          <c:tx>
            <c:strRef>
              <c:f>Sheet1!$D$1</c:f>
              <c:strCache>
                <c:ptCount val="1"/>
                <c:pt idx="0">
                  <c:v>Apmierināts</c:v>
                </c:pt>
              </c:strCache>
            </c:strRef>
          </c:tx>
          <c:spPr>
            <a:solidFill>
              <a:schemeClr val="accent3"/>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Visa izlase, n=323</c:v>
                </c:pt>
                <c:pt idx="1">
                  <c:v>Plānveida pārbaudes , n=203</c:v>
                </c:pt>
                <c:pt idx="2">
                  <c:v>Zvejas kontrole, n=55</c:v>
                </c:pt>
                <c:pt idx="3">
                  <c:v>Pārbaudes radiācijas drošībā, n=65</c:v>
                </c:pt>
              </c:strCache>
            </c:strRef>
          </c:cat>
          <c:val>
            <c:numRef>
              <c:f>Sheet1!$D$2:$D$5</c:f>
              <c:numCache>
                <c:formatCode>0</c:formatCode>
                <c:ptCount val="4"/>
                <c:pt idx="0">
                  <c:v>26.909474467953</c:v>
                </c:pt>
                <c:pt idx="1">
                  <c:v>19.211822660098427</c:v>
                </c:pt>
                <c:pt idx="2">
                  <c:v>47.27272727272728</c:v>
                </c:pt>
                <c:pt idx="3">
                  <c:v>26.153846153846114</c:v>
                </c:pt>
              </c:numCache>
            </c:numRef>
          </c:val>
          <c:extLst>
            <c:ext xmlns:c16="http://schemas.microsoft.com/office/drawing/2014/chart" uri="{C3380CC4-5D6E-409C-BE32-E72D297353CC}">
              <c16:uniqueId val="{00000002-9480-4CFC-92EF-A4612A96E5F1}"/>
            </c:ext>
          </c:extLst>
        </c:ser>
        <c:ser>
          <c:idx val="3"/>
          <c:order val="3"/>
          <c:tx>
            <c:strRef>
              <c:f>Sheet1!$E$1</c:f>
              <c:strCache>
                <c:ptCount val="1"/>
                <c:pt idx="0">
                  <c:v>Drīzāk neapmierināts</c:v>
                </c:pt>
              </c:strCache>
            </c:strRef>
          </c:tx>
          <c:spPr>
            <a:solidFill>
              <a:schemeClr val="accent4"/>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Visa izlase, n=323</c:v>
                </c:pt>
                <c:pt idx="1">
                  <c:v>Plānveida pārbaudes , n=203</c:v>
                </c:pt>
                <c:pt idx="2">
                  <c:v>Zvejas kontrole, n=55</c:v>
                </c:pt>
                <c:pt idx="3">
                  <c:v>Pārbaudes radiācijas drošībā, n=65</c:v>
                </c:pt>
              </c:strCache>
            </c:strRef>
          </c:cat>
          <c:val>
            <c:numRef>
              <c:f>Sheet1!$E$2:$E$5</c:f>
              <c:numCache>
                <c:formatCode>0</c:formatCode>
                <c:ptCount val="4"/>
                <c:pt idx="0">
                  <c:v>2.6183532915554939</c:v>
                </c:pt>
                <c:pt idx="1">
                  <c:v>2.4630541871921086</c:v>
                </c:pt>
                <c:pt idx="2">
                  <c:v>3.6363636363636362</c:v>
                </c:pt>
              </c:numCache>
            </c:numRef>
          </c:val>
          <c:extLst>
            <c:ext xmlns:c16="http://schemas.microsoft.com/office/drawing/2014/chart" uri="{C3380CC4-5D6E-409C-BE32-E72D297353CC}">
              <c16:uniqueId val="{00000003-9480-4CFC-92EF-A4612A96E5F1}"/>
            </c:ext>
          </c:extLst>
        </c:ser>
        <c:ser>
          <c:idx val="4"/>
          <c:order val="4"/>
          <c:tx>
            <c:strRef>
              <c:f>Sheet1!$F$1</c:f>
              <c:strCache>
                <c:ptCount val="1"/>
                <c:pt idx="0">
                  <c:v>Pilnīgi neapmierināts</c:v>
                </c:pt>
              </c:strCache>
            </c:strRef>
          </c:tx>
          <c:spPr>
            <a:solidFill>
              <a:schemeClr val="accent5"/>
            </a:solidFill>
            <a:ln>
              <a:noFill/>
            </a:ln>
            <a:effectLst/>
          </c:spPr>
          <c:invertIfNegative val="0"/>
          <c:dLbls>
            <c:dLbl>
              <c:idx val="0"/>
              <c:layout>
                <c:manualLayout>
                  <c:x val="8.084184395065433E-3"/>
                  <c:y val="3.7620644852584886E-3"/>
                </c:manualLayout>
              </c:layout>
              <c:tx>
                <c:rich>
                  <a:bodyPr/>
                  <a:lstStyle/>
                  <a:p>
                    <a:fld id="{4BF6CF23-D790-4A5C-BDED-BDBE91B3A95C}" type="VALUE">
                      <a:rPr lang="en-US" sz="1200">
                        <a:solidFill>
                          <a:schemeClr val="bg1"/>
                        </a:solidFill>
                      </a:rPr>
                      <a:pPr/>
                      <a:t>[VĒRTĪBA]</a:t>
                    </a:fld>
                    <a:endParaRPr lang="en-GB"/>
                  </a:p>
                </c:rich>
              </c:tx>
              <c:showLegendKey val="0"/>
              <c:showVal val="1"/>
              <c:showCatName val="0"/>
              <c:showSerName val="0"/>
              <c:showPercent val="0"/>
              <c:showBubbleSize val="0"/>
              <c:extLst>
                <c:ext xmlns:c15="http://schemas.microsoft.com/office/drawing/2012/chart" uri="{CE6537A1-D6FC-4f65-9D91-7224C49458BB}">
                  <c15:layout>
                    <c:manualLayout>
                      <c:w val="2.6668650690195233E-2"/>
                      <c:h val="0.10397605401762607"/>
                    </c:manualLayout>
                  </c15:layout>
                  <c15:dlblFieldTable/>
                  <c15:showDataLabelsRange val="0"/>
                </c:ext>
                <c:ext xmlns:c16="http://schemas.microsoft.com/office/drawing/2014/chart" uri="{C3380CC4-5D6E-409C-BE32-E72D297353CC}">
                  <c16:uniqueId val="{00000004-9480-4CFC-92EF-A4612A96E5F1}"/>
                </c:ext>
              </c:extLst>
            </c:dLbl>
            <c:dLbl>
              <c:idx val="1"/>
              <c:layout>
                <c:manualLayout>
                  <c:x val="5.1633399206571645E-3"/>
                  <c:y val="-3.7592515607289679E-3"/>
                </c:manualLayout>
              </c:layout>
              <c:tx>
                <c:rich>
                  <a:bodyPr/>
                  <a:lstStyle/>
                  <a:p>
                    <a:fld id="{24BCE490-AC51-48C3-8825-67A161DFF470}" type="VALUE">
                      <a:rPr lang="en-US">
                        <a:solidFill>
                          <a:schemeClr val="bg1"/>
                        </a:solidFill>
                      </a:rPr>
                      <a:pPr/>
                      <a:t>[VĒRTĪBA]</a:t>
                    </a:fld>
                    <a:endParaRPr lang="en-GB"/>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5-9480-4CFC-92EF-A4612A96E5F1}"/>
                </c:ext>
              </c:extLst>
            </c:dLbl>
            <c:dLbl>
              <c:idx val="2"/>
              <c:layout>
                <c:manualLayout>
                  <c:x val="-9.9668722956626011E-4"/>
                  <c:y val="4.0329256122145648E-7"/>
                </c:manualLayout>
              </c:layout>
              <c:tx>
                <c:rich>
                  <a:bodyPr/>
                  <a:lstStyle/>
                  <a:p>
                    <a:fld id="{96CB6FE0-6B28-4AE3-BD9C-7C82138C60E2}" type="VALUE">
                      <a:rPr lang="en-US" sz="1200">
                        <a:solidFill>
                          <a:schemeClr val="bg1"/>
                        </a:solidFill>
                      </a:rPr>
                      <a:pPr/>
                      <a:t>[VĒRTĪBA]</a:t>
                    </a:fld>
                    <a:endParaRPr lang="en-GB"/>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6-9480-4CFC-92EF-A4612A96E5F1}"/>
                </c:ext>
              </c:extLst>
            </c:dLbl>
            <c:numFmt formatCode="0\%" sourceLinked="0"/>
            <c:spPr>
              <a:noFill/>
              <a:ln>
                <a:noFill/>
              </a:ln>
              <a:effectLst/>
            </c:spPr>
            <c:txPr>
              <a:bodyPr/>
              <a:lstStyle/>
              <a:p>
                <a:pPr>
                  <a:defRPr sz="1200" b="0">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Visa izlase, n=323</c:v>
                </c:pt>
                <c:pt idx="1">
                  <c:v>Plānveida pārbaudes , n=203</c:v>
                </c:pt>
                <c:pt idx="2">
                  <c:v>Zvejas kontrole, n=55</c:v>
                </c:pt>
                <c:pt idx="3">
                  <c:v>Pārbaudes radiācijas drošībā, n=65</c:v>
                </c:pt>
              </c:strCache>
            </c:strRef>
          </c:cat>
          <c:val>
            <c:numRef>
              <c:f>Sheet1!$F$2:$F$5</c:f>
              <c:numCache>
                <c:formatCode>0</c:formatCode>
                <c:ptCount val="4"/>
                <c:pt idx="0">
                  <c:v>1.6752497363032783</c:v>
                </c:pt>
                <c:pt idx="1">
                  <c:v>2.4630541871921086</c:v>
                </c:pt>
              </c:numCache>
            </c:numRef>
          </c:val>
          <c:extLst>
            <c:ext xmlns:c16="http://schemas.microsoft.com/office/drawing/2014/chart" uri="{C3380CC4-5D6E-409C-BE32-E72D297353CC}">
              <c16:uniqueId val="{00000008-9480-4CFC-92EF-A4612A96E5F1}"/>
            </c:ext>
          </c:extLst>
        </c:ser>
        <c:ser>
          <c:idx val="5"/>
          <c:order val="5"/>
          <c:tx>
            <c:strRef>
              <c:f>Sheet1!$G$1</c:f>
              <c:strCache>
                <c:ptCount val="1"/>
                <c:pt idx="0">
                  <c:v>Nevaru novērtēt</c:v>
                </c:pt>
              </c:strCache>
            </c:strRef>
          </c:tx>
          <c:spPr>
            <a:solidFill>
              <a:schemeClr val="bg1">
                <a:lumMod val="65000"/>
              </a:schemeClr>
            </a:solidFill>
          </c:spPr>
          <c:invertIfNegative val="0"/>
          <c:dLbls>
            <c:dLbl>
              <c:idx val="0"/>
              <c:layout>
                <c:manualLayout>
                  <c:x val="1.032667984131452E-2"/>
                  <c:y val="3.7608800959828895E-3"/>
                </c:manualLayout>
              </c:layout>
              <c:numFmt formatCode="0\%" sourceLinked="0"/>
              <c:spPr>
                <a:noFill/>
                <a:ln>
                  <a:noFill/>
                </a:ln>
                <a:effectLst/>
              </c:spPr>
              <c:txPr>
                <a:bodyPr wrap="square" lIns="38100" tIns="19050" rIns="38100" bIns="19050" anchor="ctr">
                  <a:noAutofit/>
                </a:bodyPr>
                <a:lstStyle/>
                <a:p>
                  <a:pPr>
                    <a:defRPr sz="1200">
                      <a:solidFill>
                        <a:schemeClr val="tx1"/>
                      </a:solidFill>
                    </a:defRPr>
                  </a:pPr>
                  <a:endParaRPr lang="en-US"/>
                </a:p>
              </c:txPr>
              <c:showLegendKey val="0"/>
              <c:showVal val="1"/>
              <c:showCatName val="0"/>
              <c:showSerName val="0"/>
              <c:showPercent val="0"/>
              <c:showBubbleSize val="0"/>
              <c:extLst>
                <c:ext xmlns:c15="http://schemas.microsoft.com/office/drawing/2012/chart" uri="{CE6537A1-D6FC-4f65-9D91-7224C49458BB}">
                  <c15:layout>
                    <c:manualLayout>
                      <c:w val="2.6668650690195233E-2"/>
                      <c:h val="0.10397605401762607"/>
                    </c:manualLayout>
                  </c15:layout>
                </c:ext>
                <c:ext xmlns:c16="http://schemas.microsoft.com/office/drawing/2014/chart" uri="{C3380CC4-5D6E-409C-BE32-E72D297353CC}">
                  <c16:uniqueId val="{00000000-E285-4982-804B-CEFF990B714C}"/>
                </c:ext>
              </c:extLst>
            </c:dLbl>
            <c:dLbl>
              <c:idx val="1"/>
              <c:layout>
                <c:manualLayout>
                  <c:x val="5.1633399206573545E-3"/>
                  <c:y val="-3.7601398526856621E-3"/>
                </c:manualLayout>
              </c:layout>
              <c:numFmt formatCode="0\%" sourceLinked="0"/>
              <c:spPr>
                <a:noFill/>
                <a:ln>
                  <a:noFill/>
                </a:ln>
                <a:effectLst/>
              </c:spPr>
              <c:txPr>
                <a:bodyPr wrap="square" lIns="38100" tIns="19050" rIns="38100" bIns="19050" anchor="ctr">
                  <a:spAutoFit/>
                </a:bodyPr>
                <a:lstStyle/>
                <a:p>
                  <a:pPr>
                    <a:defRPr sz="1200">
                      <a:solidFill>
                        <a:schemeClr val="tx1"/>
                      </a:solidFill>
                    </a:defRPr>
                  </a:pPr>
                  <a:endParaRPr lang="en-US"/>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E285-4982-804B-CEFF990B714C}"/>
                </c:ext>
              </c:extLst>
            </c:dLbl>
            <c:dLbl>
              <c:idx val="3"/>
              <c:layout>
                <c:manualLayout>
                  <c:x val="5.1633399206573545E-3"/>
                  <c:y val="3.7604359500046976E-3"/>
                </c:manualLayout>
              </c:layout>
              <c:numFmt formatCode="0\%" sourceLinked="0"/>
              <c:spPr>
                <a:noFill/>
                <a:ln>
                  <a:noFill/>
                </a:ln>
                <a:effectLst/>
              </c:spPr>
              <c:txPr>
                <a:bodyPr wrap="square" lIns="38100" tIns="19050" rIns="38100" bIns="19050" anchor="ctr">
                  <a:spAutoFit/>
                </a:bodyPr>
                <a:lstStyle/>
                <a:p>
                  <a:pPr>
                    <a:defRPr sz="1200">
                      <a:solidFill>
                        <a:schemeClr val="tx1"/>
                      </a:solidFill>
                    </a:defRPr>
                  </a:pPr>
                  <a:endParaRPr lang="en-US"/>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E285-4982-804B-CEFF990B714C}"/>
                </c:ext>
              </c:extLst>
            </c:dLbl>
            <c:numFmt formatCode="0\%" sourceLinked="0"/>
            <c:spPr>
              <a:noFill/>
              <a:ln>
                <a:noFill/>
              </a:ln>
              <a:effectLst/>
            </c:spPr>
            <c:txPr>
              <a:bodyPr wrap="square" lIns="38100" tIns="19050" rIns="38100" bIns="19050" anchor="ctr">
                <a:spAutoFit/>
              </a:bodyPr>
              <a:lstStyle/>
              <a:p>
                <a:pPr>
                  <a:defRPr sz="1200">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Visa izlase, n=323</c:v>
                </c:pt>
                <c:pt idx="1">
                  <c:v>Plānveida pārbaudes , n=203</c:v>
                </c:pt>
                <c:pt idx="2">
                  <c:v>Zvejas kontrole, n=55</c:v>
                </c:pt>
                <c:pt idx="3">
                  <c:v>Pārbaudes radiācijas drošībā, n=65</c:v>
                </c:pt>
              </c:strCache>
            </c:strRef>
          </c:cat>
          <c:val>
            <c:numRef>
              <c:f>Sheet1!$G$2:$G$5</c:f>
              <c:numCache>
                <c:formatCode>0</c:formatCode>
                <c:ptCount val="4"/>
                <c:pt idx="0">
                  <c:v>4.6596761183843034</c:v>
                </c:pt>
                <c:pt idx="1">
                  <c:v>3.9408866995073732</c:v>
                </c:pt>
                <c:pt idx="2">
                  <c:v>7.2727272727272725</c:v>
                </c:pt>
                <c:pt idx="3">
                  <c:v>1.5384615384615365</c:v>
                </c:pt>
              </c:numCache>
            </c:numRef>
          </c:val>
          <c:extLst>
            <c:ext xmlns:c16="http://schemas.microsoft.com/office/drawing/2014/chart" uri="{C3380CC4-5D6E-409C-BE32-E72D297353CC}">
              <c16:uniqueId val="{00000009-9480-4CFC-92EF-A4612A96E5F1}"/>
            </c:ext>
          </c:extLst>
        </c:ser>
        <c:dLbls>
          <c:showLegendKey val="0"/>
          <c:showVal val="0"/>
          <c:showCatName val="0"/>
          <c:showSerName val="0"/>
          <c:showPercent val="0"/>
          <c:showBubbleSize val="0"/>
        </c:dLbls>
        <c:gapWidth val="41"/>
        <c:overlap val="100"/>
        <c:axId val="-1577183440"/>
        <c:axId val="-1577183984"/>
      </c:barChart>
      <c:catAx>
        <c:axId val="-1577183440"/>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lgn="r">
              <a:defRPr sz="1300" b="0" i="0" u="none" strike="noStrike" kern="1200" baseline="0">
                <a:solidFill>
                  <a:schemeClr val="tx1"/>
                </a:solidFill>
                <a:latin typeface="+mn-lt"/>
                <a:ea typeface="+mn-ea"/>
                <a:cs typeface="+mn-cs"/>
              </a:defRPr>
            </a:pPr>
            <a:endParaRPr lang="en-US"/>
          </a:p>
        </c:txPr>
        <c:crossAx val="-1577183984"/>
        <c:crosses val="autoZero"/>
        <c:auto val="1"/>
        <c:lblAlgn val="ctr"/>
        <c:lblOffset val="100"/>
        <c:noMultiLvlLbl val="0"/>
      </c:catAx>
      <c:valAx>
        <c:axId val="-1577183984"/>
        <c:scaling>
          <c:orientation val="minMax"/>
        </c:scaling>
        <c:delete val="1"/>
        <c:axPos val="t"/>
        <c:numFmt formatCode="0%" sourceLinked="1"/>
        <c:majorTickMark val="none"/>
        <c:minorTickMark val="none"/>
        <c:tickLblPos val="nextTo"/>
        <c:crossAx val="-1577183440"/>
        <c:crosses val="autoZero"/>
        <c:crossBetween val="between"/>
      </c:valAx>
      <c:spPr>
        <a:noFill/>
        <a:ln>
          <a:noFill/>
        </a:ln>
        <a:effectLst/>
      </c:spPr>
    </c:plotArea>
    <c:legend>
      <c:legendPos val="t"/>
      <c:layout>
        <c:manualLayout>
          <c:xMode val="edge"/>
          <c:yMode val="edge"/>
          <c:x val="0.1617002553108966"/>
          <c:y val="2.9323402119584712E-2"/>
          <c:w val="0.8382997446891034"/>
          <c:h val="6.7999637576881669E-2"/>
        </c:manualLayout>
      </c:layout>
      <c:overlay val="0"/>
      <c:spPr>
        <a:noFill/>
        <a:ln>
          <a:noFill/>
        </a:ln>
        <a:effectLst/>
      </c:spPr>
      <c:txPr>
        <a:bodyPr rot="0" spcFirstLastPara="1" vertOverflow="ellipsis" vert="horz" wrap="square" anchor="ctr" anchorCtr="1"/>
        <a:lstStyle/>
        <a:p>
          <a:pPr>
            <a:defRPr sz="13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lv-LV"/>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7160415031975808"/>
          <c:y val="9.5395118068569221E-2"/>
          <c:w val="0.60903332417551981"/>
          <c:h val="0.83732337578121374"/>
        </c:manualLayout>
      </c:layout>
      <c:barChart>
        <c:barDir val="bar"/>
        <c:grouping val="percentStacked"/>
        <c:varyColors val="0"/>
        <c:ser>
          <c:idx val="0"/>
          <c:order val="0"/>
          <c:tx>
            <c:strRef>
              <c:f>Sheet1!$B$1</c:f>
              <c:strCache>
                <c:ptCount val="1"/>
                <c:pt idx="0">
                  <c:v>Pilnībā piekrītu</c:v>
                </c:pt>
              </c:strCache>
            </c:strRef>
          </c:tx>
          <c:spPr>
            <a:solidFill>
              <a:schemeClr val="accent1"/>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Visa izlase, n=323</c:v>
                </c:pt>
                <c:pt idx="1">
                  <c:v>Plānveida pārbaudes , n=203</c:v>
                </c:pt>
                <c:pt idx="2">
                  <c:v>Zvejas kontrole, n=55</c:v>
                </c:pt>
                <c:pt idx="3">
                  <c:v>Pārbaudes radiācijas drošībā, n=65</c:v>
                </c:pt>
              </c:strCache>
            </c:strRef>
          </c:cat>
          <c:val>
            <c:numRef>
              <c:f>Sheet1!$B$2:$B$5</c:f>
              <c:numCache>
                <c:formatCode>0</c:formatCode>
                <c:ptCount val="4"/>
                <c:pt idx="0">
                  <c:v>58.267667680089382</c:v>
                </c:pt>
                <c:pt idx="1">
                  <c:v>65.517241379310079</c:v>
                </c:pt>
                <c:pt idx="2">
                  <c:v>34.54545454545454</c:v>
                </c:pt>
                <c:pt idx="3">
                  <c:v>78.461538461538439</c:v>
                </c:pt>
              </c:numCache>
            </c:numRef>
          </c:val>
          <c:extLst>
            <c:ext xmlns:c16="http://schemas.microsoft.com/office/drawing/2014/chart" uri="{C3380CC4-5D6E-409C-BE32-E72D297353CC}">
              <c16:uniqueId val="{00000000-9480-4CFC-92EF-A4612A96E5F1}"/>
            </c:ext>
          </c:extLst>
        </c:ser>
        <c:ser>
          <c:idx val="1"/>
          <c:order val="1"/>
          <c:tx>
            <c:strRef>
              <c:f>Sheet1!$C$1</c:f>
              <c:strCache>
                <c:ptCount val="1"/>
                <c:pt idx="0">
                  <c:v>Lielā mērā  piekrītu</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Visa izlase, n=323</c:v>
                </c:pt>
                <c:pt idx="1">
                  <c:v>Plānveida pārbaudes , n=203</c:v>
                </c:pt>
                <c:pt idx="2">
                  <c:v>Zvejas kontrole, n=55</c:v>
                </c:pt>
                <c:pt idx="3">
                  <c:v>Pārbaudes radiācijas drošībā, n=65</c:v>
                </c:pt>
              </c:strCache>
            </c:strRef>
          </c:cat>
          <c:val>
            <c:numRef>
              <c:f>Sheet1!$C$2:$C$5</c:f>
              <c:numCache>
                <c:formatCode>0</c:formatCode>
                <c:ptCount val="4"/>
                <c:pt idx="0">
                  <c:v>14.494012533349837</c:v>
                </c:pt>
                <c:pt idx="1">
                  <c:v>16.748768472906324</c:v>
                </c:pt>
                <c:pt idx="2">
                  <c:v>9.0909090909090899</c:v>
                </c:pt>
                <c:pt idx="3">
                  <c:v>12.307692307692292</c:v>
                </c:pt>
              </c:numCache>
            </c:numRef>
          </c:val>
          <c:extLst>
            <c:ext xmlns:c16="http://schemas.microsoft.com/office/drawing/2014/chart" uri="{C3380CC4-5D6E-409C-BE32-E72D297353CC}">
              <c16:uniqueId val="{00000001-9480-4CFC-92EF-A4612A96E5F1}"/>
            </c:ext>
          </c:extLst>
        </c:ser>
        <c:ser>
          <c:idx val="2"/>
          <c:order val="2"/>
          <c:tx>
            <c:strRef>
              <c:f>Sheet1!$D$1</c:f>
              <c:strCache>
                <c:ptCount val="1"/>
                <c:pt idx="0">
                  <c:v>Drīzāk piekrītu</c:v>
                </c:pt>
              </c:strCache>
            </c:strRef>
          </c:tx>
          <c:spPr>
            <a:solidFill>
              <a:schemeClr val="accent3"/>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Visa izlase, n=323</c:v>
                </c:pt>
                <c:pt idx="1">
                  <c:v>Plānveida pārbaudes , n=203</c:v>
                </c:pt>
                <c:pt idx="2">
                  <c:v>Zvejas kontrole, n=55</c:v>
                </c:pt>
                <c:pt idx="3">
                  <c:v>Pārbaudes radiācijas drošībā, n=65</c:v>
                </c:pt>
              </c:strCache>
            </c:strRef>
          </c:cat>
          <c:val>
            <c:numRef>
              <c:f>Sheet1!$D$2:$D$5</c:f>
              <c:numCache>
                <c:formatCode>0</c:formatCode>
                <c:ptCount val="4"/>
                <c:pt idx="0">
                  <c:v>11.286219519761712</c:v>
                </c:pt>
                <c:pt idx="1">
                  <c:v>11.330049261083692</c:v>
                </c:pt>
                <c:pt idx="2">
                  <c:v>12.727272727272725</c:v>
                </c:pt>
                <c:pt idx="3">
                  <c:v>4.6153846153846088</c:v>
                </c:pt>
              </c:numCache>
            </c:numRef>
          </c:val>
          <c:extLst>
            <c:ext xmlns:c16="http://schemas.microsoft.com/office/drawing/2014/chart" uri="{C3380CC4-5D6E-409C-BE32-E72D297353CC}">
              <c16:uniqueId val="{00000002-9480-4CFC-92EF-A4612A96E5F1}"/>
            </c:ext>
          </c:extLst>
        </c:ser>
        <c:ser>
          <c:idx val="3"/>
          <c:order val="3"/>
          <c:tx>
            <c:strRef>
              <c:f>Sheet1!$E$1</c:f>
              <c:strCache>
                <c:ptCount val="1"/>
                <c:pt idx="0">
                  <c:v>Drīzāk nepiekrītu</c:v>
                </c:pt>
              </c:strCache>
            </c:strRef>
          </c:tx>
          <c:spPr>
            <a:solidFill>
              <a:schemeClr val="accent4"/>
            </a:solidFill>
            <a:ln>
              <a:noFill/>
            </a:ln>
            <a:effectLst/>
          </c:spPr>
          <c:invertIfNegative val="0"/>
          <c:dLbls>
            <c:dLbl>
              <c:idx val="1"/>
              <c:layout>
                <c:manualLayout>
                  <c:x val="7.0995923909036723E-3"/>
                  <c:y val="3.7604655597364499E-2"/>
                </c:manualLayout>
              </c:layout>
              <c:numFmt formatCode="0.0\%" sourceLinked="0"/>
              <c:spPr>
                <a:noFill/>
                <a:ln>
                  <a:noFill/>
                </a:ln>
                <a:effectLst/>
              </c:spPr>
              <c:txPr>
                <a:bodyPr rot="0" spcFirstLastPara="1" vertOverflow="ellipsis" vert="horz" wrap="square" lIns="38100" tIns="19050" rIns="38100" bIns="19050" anchor="ctr" anchorCtr="1">
                  <a:noAutofit/>
                </a:bodyPr>
                <a:lstStyle/>
                <a:p>
                  <a:pPr>
                    <a:defRPr sz="1197"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layout>
                    <c:manualLayout>
                      <c:w val="5.171725266000942E-2"/>
                      <c:h val="7.9796450859096757E-2"/>
                    </c:manualLayout>
                  </c15:layout>
                </c:ext>
                <c:ext xmlns:c16="http://schemas.microsoft.com/office/drawing/2014/chart" uri="{C3380CC4-5D6E-409C-BE32-E72D297353CC}">
                  <c16:uniqueId val="{00000000-94F1-46D2-B25F-811E615FB6AD}"/>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Visa izlase, n=323</c:v>
                </c:pt>
                <c:pt idx="1">
                  <c:v>Plānveida pārbaudes , n=203</c:v>
                </c:pt>
                <c:pt idx="2">
                  <c:v>Zvejas kontrole, n=55</c:v>
                </c:pt>
                <c:pt idx="3">
                  <c:v>Pārbaudes radiācijas drošībā, n=65</c:v>
                </c:pt>
              </c:strCache>
            </c:strRef>
          </c:cat>
          <c:val>
            <c:numRef>
              <c:f>Sheet1!$E$2:$E$5</c:f>
              <c:numCache>
                <c:formatCode>0.0</c:formatCode>
                <c:ptCount val="4"/>
                <c:pt idx="0" formatCode="0">
                  <c:v>1.7497052801389796</c:v>
                </c:pt>
                <c:pt idx="1">
                  <c:v>0.49261083743842166</c:v>
                </c:pt>
                <c:pt idx="2" formatCode="0">
                  <c:v>5.4545454545454541</c:v>
                </c:pt>
              </c:numCache>
            </c:numRef>
          </c:val>
          <c:extLst>
            <c:ext xmlns:c16="http://schemas.microsoft.com/office/drawing/2014/chart" uri="{C3380CC4-5D6E-409C-BE32-E72D297353CC}">
              <c16:uniqueId val="{00000003-9480-4CFC-92EF-A4612A96E5F1}"/>
            </c:ext>
          </c:extLst>
        </c:ser>
        <c:ser>
          <c:idx val="4"/>
          <c:order val="4"/>
          <c:tx>
            <c:strRef>
              <c:f>Sheet1!$F$1</c:f>
              <c:strCache>
                <c:ptCount val="1"/>
                <c:pt idx="0">
                  <c:v>Pilnībā nepiekrītu</c:v>
                </c:pt>
              </c:strCache>
            </c:strRef>
          </c:tx>
          <c:spPr>
            <a:solidFill>
              <a:schemeClr val="accent5"/>
            </a:solidFill>
            <a:ln>
              <a:noFill/>
            </a:ln>
            <a:effectLst/>
          </c:spPr>
          <c:invertIfNegative val="0"/>
          <c:dLbls>
            <c:dLbl>
              <c:idx val="0"/>
              <c:layout>
                <c:manualLayout>
                  <c:x val="1.0665854355394109E-2"/>
                  <c:y val="3.7620644852584817E-3"/>
                </c:manualLayout>
              </c:layout>
              <c:tx>
                <c:rich>
                  <a:bodyPr/>
                  <a:lstStyle/>
                  <a:p>
                    <a:fld id="{4BF6CF23-D790-4A5C-BDED-BDBE91B3A95C}" type="VALUE">
                      <a:rPr lang="en-US" sz="1200">
                        <a:solidFill>
                          <a:schemeClr val="bg1"/>
                        </a:solidFill>
                      </a:rPr>
                      <a:pPr/>
                      <a:t>[VĒRTĪBA]</a:t>
                    </a:fld>
                    <a:endParaRPr lang="en-GB"/>
                  </a:p>
                </c:rich>
              </c:tx>
              <c:showLegendKey val="0"/>
              <c:showVal val="1"/>
              <c:showCatName val="0"/>
              <c:showSerName val="0"/>
              <c:showPercent val="0"/>
              <c:showBubbleSize val="0"/>
              <c:extLst>
                <c:ext xmlns:c15="http://schemas.microsoft.com/office/drawing/2012/chart" uri="{CE6537A1-D6FC-4f65-9D91-7224C49458BB}">
                  <c15:layout>
                    <c:manualLayout>
                      <c:w val="2.6668650690195233E-2"/>
                      <c:h val="0.10397605401762607"/>
                    </c:manualLayout>
                  </c15:layout>
                  <c15:dlblFieldTable/>
                  <c15:showDataLabelsRange val="0"/>
                </c:ext>
                <c:ext xmlns:c16="http://schemas.microsoft.com/office/drawing/2014/chart" uri="{C3380CC4-5D6E-409C-BE32-E72D297353CC}">
                  <c16:uniqueId val="{00000004-9480-4CFC-92EF-A4612A96E5F1}"/>
                </c:ext>
              </c:extLst>
            </c:dLbl>
            <c:dLbl>
              <c:idx val="1"/>
              <c:layout>
                <c:manualLayout>
                  <c:x val="-1.5277601289623992E-16"/>
                  <c:y val="8.0658512225511517E-7"/>
                </c:manualLayout>
              </c:layout>
              <c:tx>
                <c:rich>
                  <a:bodyPr/>
                  <a:lstStyle/>
                  <a:p>
                    <a:fld id="{24BCE490-AC51-48C3-8825-67A161DFF470}" type="VALUE">
                      <a:rPr lang="en-US">
                        <a:solidFill>
                          <a:schemeClr val="bg1"/>
                        </a:solidFill>
                      </a:rPr>
                      <a:pPr/>
                      <a:t>[VĒRTĪBA]</a:t>
                    </a:fld>
                    <a:endParaRPr lang="en-GB"/>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5-9480-4CFC-92EF-A4612A96E5F1}"/>
                </c:ext>
              </c:extLst>
            </c:dLbl>
            <c:dLbl>
              <c:idx val="2"/>
              <c:layout>
                <c:manualLayout>
                  <c:x val="-9.9668722956626011E-4"/>
                  <c:y val="4.0329256122145648E-7"/>
                </c:manualLayout>
              </c:layout>
              <c:tx>
                <c:rich>
                  <a:bodyPr/>
                  <a:lstStyle/>
                  <a:p>
                    <a:fld id="{96CB6FE0-6B28-4AE3-BD9C-7C82138C60E2}" type="VALUE">
                      <a:rPr lang="en-US" sz="1200">
                        <a:solidFill>
                          <a:schemeClr val="bg1"/>
                        </a:solidFill>
                      </a:rPr>
                      <a:pPr/>
                      <a:t>[VĒRTĪBA]</a:t>
                    </a:fld>
                    <a:endParaRPr lang="en-GB"/>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6-9480-4CFC-92EF-A4612A96E5F1}"/>
                </c:ext>
              </c:extLst>
            </c:dLbl>
            <c:numFmt formatCode="0\%" sourceLinked="0"/>
            <c:spPr>
              <a:noFill/>
              <a:ln>
                <a:noFill/>
              </a:ln>
              <a:effectLst/>
            </c:spPr>
            <c:txPr>
              <a:bodyPr/>
              <a:lstStyle/>
              <a:p>
                <a:pPr>
                  <a:defRPr sz="1200" b="0">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Visa izlase, n=323</c:v>
                </c:pt>
                <c:pt idx="1">
                  <c:v>Plānveida pārbaudes , n=203</c:v>
                </c:pt>
                <c:pt idx="2">
                  <c:v>Zvejas kontrole, n=55</c:v>
                </c:pt>
                <c:pt idx="3">
                  <c:v>Pārbaudes radiācijas drošībā, n=65</c:v>
                </c:pt>
              </c:strCache>
            </c:strRef>
          </c:cat>
          <c:val>
            <c:numRef>
              <c:f>Sheet1!$F$2:$F$5</c:f>
              <c:numCache>
                <c:formatCode>0</c:formatCode>
                <c:ptCount val="4"/>
                <c:pt idx="0">
                  <c:v>1.3401997890426227</c:v>
                </c:pt>
                <c:pt idx="1">
                  <c:v>1.9704433497536866</c:v>
                </c:pt>
              </c:numCache>
            </c:numRef>
          </c:val>
          <c:extLst>
            <c:ext xmlns:c16="http://schemas.microsoft.com/office/drawing/2014/chart" uri="{C3380CC4-5D6E-409C-BE32-E72D297353CC}">
              <c16:uniqueId val="{00000008-9480-4CFC-92EF-A4612A96E5F1}"/>
            </c:ext>
          </c:extLst>
        </c:ser>
        <c:ser>
          <c:idx val="5"/>
          <c:order val="5"/>
          <c:tx>
            <c:strRef>
              <c:f>Sheet1!$G$1</c:f>
              <c:strCache>
                <c:ptCount val="1"/>
                <c:pt idx="0">
                  <c:v>Nevaru novērtēt</c:v>
                </c:pt>
              </c:strCache>
            </c:strRef>
          </c:tx>
          <c:spPr>
            <a:solidFill>
              <a:schemeClr val="bg1">
                <a:lumMod val="65000"/>
              </a:schemeClr>
            </a:solidFill>
          </c:spPr>
          <c:invertIfNegative val="0"/>
          <c:dLbls>
            <c:dLbl>
              <c:idx val="1"/>
              <c:layout>
                <c:manualLayout>
                  <c:x val="3.8725049404930156E-3"/>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94F1-46D2-B25F-811E615FB6AD}"/>
                </c:ext>
              </c:extLst>
            </c:dLbl>
            <c:numFmt formatCode="0\%" sourceLinked="0"/>
            <c:spPr>
              <a:noFill/>
              <a:ln>
                <a:noFill/>
              </a:ln>
              <a:effectLst/>
            </c:spPr>
            <c:txPr>
              <a:bodyPr wrap="square" lIns="38100" tIns="19050" rIns="38100" bIns="19050" anchor="ctr">
                <a:spAutoFit/>
              </a:bodyPr>
              <a:lstStyle/>
              <a:p>
                <a:pPr>
                  <a:defRPr sz="1200">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Visa izlase, n=323</c:v>
                </c:pt>
                <c:pt idx="1">
                  <c:v>Plānveida pārbaudes , n=203</c:v>
                </c:pt>
                <c:pt idx="2">
                  <c:v>Zvejas kontrole, n=55</c:v>
                </c:pt>
                <c:pt idx="3">
                  <c:v>Pārbaudes radiācijas drošībā, n=65</c:v>
                </c:pt>
              </c:strCache>
            </c:strRef>
          </c:cat>
          <c:val>
            <c:numRef>
              <c:f>Sheet1!$G$2:$G$5</c:f>
              <c:numCache>
                <c:formatCode>0</c:formatCode>
                <c:ptCount val="4"/>
                <c:pt idx="0">
                  <c:v>12.862195197617392</c:v>
                </c:pt>
                <c:pt idx="1">
                  <c:v>3.9408866995073732</c:v>
                </c:pt>
                <c:pt idx="2">
                  <c:v>38.181818181818173</c:v>
                </c:pt>
                <c:pt idx="3">
                  <c:v>4.6153846153846088</c:v>
                </c:pt>
              </c:numCache>
            </c:numRef>
          </c:val>
          <c:extLst>
            <c:ext xmlns:c16="http://schemas.microsoft.com/office/drawing/2014/chart" uri="{C3380CC4-5D6E-409C-BE32-E72D297353CC}">
              <c16:uniqueId val="{00000009-9480-4CFC-92EF-A4612A96E5F1}"/>
            </c:ext>
          </c:extLst>
        </c:ser>
        <c:dLbls>
          <c:showLegendKey val="0"/>
          <c:showVal val="0"/>
          <c:showCatName val="0"/>
          <c:showSerName val="0"/>
          <c:showPercent val="0"/>
          <c:showBubbleSize val="0"/>
        </c:dLbls>
        <c:gapWidth val="41"/>
        <c:overlap val="100"/>
        <c:axId val="-1577178544"/>
        <c:axId val="-1577182896"/>
      </c:barChart>
      <c:catAx>
        <c:axId val="-1577178544"/>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lgn="r">
              <a:defRPr sz="1300" b="0" i="0" u="none" strike="noStrike" kern="1200" baseline="0">
                <a:solidFill>
                  <a:schemeClr val="tx1"/>
                </a:solidFill>
                <a:latin typeface="+mn-lt"/>
                <a:ea typeface="+mn-ea"/>
                <a:cs typeface="+mn-cs"/>
              </a:defRPr>
            </a:pPr>
            <a:endParaRPr lang="en-US"/>
          </a:p>
        </c:txPr>
        <c:crossAx val="-1577182896"/>
        <c:crosses val="autoZero"/>
        <c:auto val="1"/>
        <c:lblAlgn val="ctr"/>
        <c:lblOffset val="100"/>
        <c:noMultiLvlLbl val="0"/>
      </c:catAx>
      <c:valAx>
        <c:axId val="-1577182896"/>
        <c:scaling>
          <c:orientation val="minMax"/>
        </c:scaling>
        <c:delete val="1"/>
        <c:axPos val="t"/>
        <c:numFmt formatCode="0%" sourceLinked="1"/>
        <c:majorTickMark val="none"/>
        <c:minorTickMark val="none"/>
        <c:tickLblPos val="nextTo"/>
        <c:crossAx val="-1577178544"/>
        <c:crosses val="autoZero"/>
        <c:crossBetween val="between"/>
      </c:valAx>
      <c:spPr>
        <a:noFill/>
        <a:ln>
          <a:noFill/>
        </a:ln>
        <a:effectLst/>
      </c:spPr>
    </c:plotArea>
    <c:legend>
      <c:legendPos val="t"/>
      <c:layout>
        <c:manualLayout>
          <c:xMode val="edge"/>
          <c:yMode val="edge"/>
          <c:x val="0.1681544302117183"/>
          <c:y val="2.9323402119584712E-2"/>
          <c:w val="0.83184556978828172"/>
          <c:h val="4.323991011337501E-2"/>
        </c:manualLayout>
      </c:layout>
      <c:overlay val="0"/>
      <c:spPr>
        <a:noFill/>
        <a:ln>
          <a:noFill/>
        </a:ln>
        <a:effectLst/>
      </c:spPr>
      <c:txPr>
        <a:bodyPr rot="0" spcFirstLastPara="1" vertOverflow="ellipsis" vert="horz" wrap="square" anchor="ctr" anchorCtr="1"/>
        <a:lstStyle/>
        <a:p>
          <a:pPr>
            <a:defRPr sz="13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lv-LV"/>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7160415031975808"/>
          <c:y val="9.5395118068569221E-2"/>
          <c:w val="0.60903332417551981"/>
          <c:h val="0.83732337578121374"/>
        </c:manualLayout>
      </c:layout>
      <c:barChart>
        <c:barDir val="bar"/>
        <c:grouping val="percentStacked"/>
        <c:varyColors val="0"/>
        <c:ser>
          <c:idx val="0"/>
          <c:order val="0"/>
          <c:tx>
            <c:strRef>
              <c:f>Sheet1!$B$1</c:f>
              <c:strCache>
                <c:ptCount val="1"/>
                <c:pt idx="0">
                  <c:v>Pilnībā piekrītu</c:v>
                </c:pt>
              </c:strCache>
            </c:strRef>
          </c:tx>
          <c:spPr>
            <a:solidFill>
              <a:schemeClr val="accent1"/>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Visa izlase, n=323</c:v>
                </c:pt>
                <c:pt idx="1">
                  <c:v>Plānveida pārbaudes , n=203</c:v>
                </c:pt>
                <c:pt idx="2">
                  <c:v>Zvejas kontrole, n=55</c:v>
                </c:pt>
                <c:pt idx="3">
                  <c:v>Pārbaudes radiācijas drošībā, n=65</c:v>
                </c:pt>
              </c:strCache>
            </c:strRef>
          </c:cat>
          <c:val>
            <c:numRef>
              <c:f>Sheet1!$B$2:$B$5</c:f>
              <c:numCache>
                <c:formatCode>0</c:formatCode>
                <c:ptCount val="4"/>
                <c:pt idx="0">
                  <c:v>53.490103617298487</c:v>
                </c:pt>
                <c:pt idx="1">
                  <c:v>63.054187192117951</c:v>
                </c:pt>
                <c:pt idx="2">
                  <c:v>25.45454545454545</c:v>
                </c:pt>
                <c:pt idx="3">
                  <c:v>66.153846153846118</c:v>
                </c:pt>
              </c:numCache>
            </c:numRef>
          </c:val>
          <c:extLst>
            <c:ext xmlns:c16="http://schemas.microsoft.com/office/drawing/2014/chart" uri="{C3380CC4-5D6E-409C-BE32-E72D297353CC}">
              <c16:uniqueId val="{00000000-9480-4CFC-92EF-A4612A96E5F1}"/>
            </c:ext>
          </c:extLst>
        </c:ser>
        <c:ser>
          <c:idx val="1"/>
          <c:order val="1"/>
          <c:tx>
            <c:strRef>
              <c:f>Sheet1!$C$1</c:f>
              <c:strCache>
                <c:ptCount val="1"/>
                <c:pt idx="0">
                  <c:v>Lielā mērā  piekrītu</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Visa izlase, n=323</c:v>
                </c:pt>
                <c:pt idx="1">
                  <c:v>Plānveida pārbaudes , n=203</c:v>
                </c:pt>
                <c:pt idx="2">
                  <c:v>Zvejas kontrole, n=55</c:v>
                </c:pt>
                <c:pt idx="3">
                  <c:v>Pārbaudes radiācijas drošībā, n=65</c:v>
                </c:pt>
              </c:strCache>
            </c:strRef>
          </c:cat>
          <c:val>
            <c:numRef>
              <c:f>Sheet1!$C$2:$C$5</c:f>
              <c:numCache>
                <c:formatCode>0</c:formatCode>
                <c:ptCount val="4"/>
                <c:pt idx="0">
                  <c:v>18.706955388719923</c:v>
                </c:pt>
                <c:pt idx="1">
                  <c:v>19.211822660098427</c:v>
                </c:pt>
                <c:pt idx="2">
                  <c:v>16.36363636363636</c:v>
                </c:pt>
                <c:pt idx="3">
                  <c:v>23.076923076923045</c:v>
                </c:pt>
              </c:numCache>
            </c:numRef>
          </c:val>
          <c:extLst>
            <c:ext xmlns:c16="http://schemas.microsoft.com/office/drawing/2014/chart" uri="{C3380CC4-5D6E-409C-BE32-E72D297353CC}">
              <c16:uniqueId val="{00000001-9480-4CFC-92EF-A4612A96E5F1}"/>
            </c:ext>
          </c:extLst>
        </c:ser>
        <c:ser>
          <c:idx val="2"/>
          <c:order val="2"/>
          <c:tx>
            <c:strRef>
              <c:f>Sheet1!$D$1</c:f>
              <c:strCache>
                <c:ptCount val="1"/>
                <c:pt idx="0">
                  <c:v>Drīzāk piekrītu</c:v>
                </c:pt>
              </c:strCache>
            </c:strRef>
          </c:tx>
          <c:spPr>
            <a:solidFill>
              <a:schemeClr val="accent3"/>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Visa izlase, n=323</c:v>
                </c:pt>
                <c:pt idx="1">
                  <c:v>Plānveida pārbaudes , n=203</c:v>
                </c:pt>
                <c:pt idx="2">
                  <c:v>Zvejas kontrole, n=55</c:v>
                </c:pt>
                <c:pt idx="3">
                  <c:v>Pārbaudes radiācijas drošībā, n=65</c:v>
                </c:pt>
              </c:strCache>
            </c:strRef>
          </c:cat>
          <c:val>
            <c:numRef>
              <c:f>Sheet1!$D$2:$D$5</c:f>
              <c:numCache>
                <c:formatCode>0</c:formatCode>
                <c:ptCount val="4"/>
                <c:pt idx="0">
                  <c:v>11.044239002295685</c:v>
                </c:pt>
                <c:pt idx="1">
                  <c:v>10.837438423645272</c:v>
                </c:pt>
                <c:pt idx="2">
                  <c:v>12.727272727272725</c:v>
                </c:pt>
                <c:pt idx="3">
                  <c:v>6.1538461538461462</c:v>
                </c:pt>
              </c:numCache>
            </c:numRef>
          </c:val>
          <c:extLst>
            <c:ext xmlns:c16="http://schemas.microsoft.com/office/drawing/2014/chart" uri="{C3380CC4-5D6E-409C-BE32-E72D297353CC}">
              <c16:uniqueId val="{00000002-9480-4CFC-92EF-A4612A96E5F1}"/>
            </c:ext>
          </c:extLst>
        </c:ser>
        <c:ser>
          <c:idx val="3"/>
          <c:order val="3"/>
          <c:tx>
            <c:strRef>
              <c:f>Sheet1!$E$1</c:f>
              <c:strCache>
                <c:ptCount val="1"/>
                <c:pt idx="0">
                  <c:v>Drīzāk nepiekrītu</c:v>
                </c:pt>
              </c:strCache>
            </c:strRef>
          </c:tx>
          <c:spPr>
            <a:solidFill>
              <a:schemeClr val="accent4"/>
            </a:solidFill>
            <a:ln>
              <a:noFill/>
            </a:ln>
            <a:effectLst/>
          </c:spPr>
          <c:invertIfNegative val="0"/>
          <c:dLbls>
            <c:dLbl>
              <c:idx val="1"/>
              <c:layout>
                <c:manualLayout>
                  <c:x val="-2.5816699603286772E-3"/>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B80B-4F20-9FBB-71151FA91320}"/>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Visa izlase, n=323</c:v>
                </c:pt>
                <c:pt idx="1">
                  <c:v>Plānveida pārbaudes , n=203</c:v>
                </c:pt>
                <c:pt idx="2">
                  <c:v>Zvejas kontrole, n=55</c:v>
                </c:pt>
                <c:pt idx="3">
                  <c:v>Pārbaudes radiācijas drošībā, n=65</c:v>
                </c:pt>
              </c:strCache>
            </c:strRef>
          </c:cat>
          <c:val>
            <c:numRef>
              <c:f>Sheet1!$E$2:$E$5</c:f>
              <c:numCache>
                <c:formatCode>0</c:formatCode>
                <c:ptCount val="4"/>
                <c:pt idx="0">
                  <c:v>2.0847552273996355</c:v>
                </c:pt>
                <c:pt idx="1">
                  <c:v>0.98522167487684331</c:v>
                </c:pt>
                <c:pt idx="2">
                  <c:v>5.4545454545454541</c:v>
                </c:pt>
              </c:numCache>
            </c:numRef>
          </c:val>
          <c:extLst>
            <c:ext xmlns:c16="http://schemas.microsoft.com/office/drawing/2014/chart" uri="{C3380CC4-5D6E-409C-BE32-E72D297353CC}">
              <c16:uniqueId val="{00000003-9480-4CFC-92EF-A4612A96E5F1}"/>
            </c:ext>
          </c:extLst>
        </c:ser>
        <c:ser>
          <c:idx val="4"/>
          <c:order val="4"/>
          <c:tx>
            <c:strRef>
              <c:f>Sheet1!$F$1</c:f>
              <c:strCache>
                <c:ptCount val="1"/>
                <c:pt idx="0">
                  <c:v>Pilnībā nepiekrītu</c:v>
                </c:pt>
              </c:strCache>
            </c:strRef>
          </c:tx>
          <c:spPr>
            <a:solidFill>
              <a:schemeClr val="accent5"/>
            </a:solidFill>
            <a:ln>
              <a:noFill/>
            </a:ln>
            <a:effectLst/>
          </c:spPr>
          <c:invertIfNegative val="0"/>
          <c:dLbls>
            <c:dLbl>
              <c:idx val="0"/>
              <c:layout>
                <c:manualLayout>
                  <c:x val="8.084184395065433E-3"/>
                  <c:y val="3.7617683879396253E-3"/>
                </c:manualLayout>
              </c:layout>
              <c:tx>
                <c:rich>
                  <a:bodyPr/>
                  <a:lstStyle/>
                  <a:p>
                    <a:fld id="{4BF6CF23-D790-4A5C-BDED-BDBE91B3A95C}" type="VALUE">
                      <a:rPr lang="en-US" sz="1200">
                        <a:solidFill>
                          <a:schemeClr val="bg1"/>
                        </a:solidFill>
                      </a:rPr>
                      <a:pPr/>
                      <a:t>[VĒRTĪBA]</a:t>
                    </a:fld>
                    <a:endParaRPr lang="en-GB"/>
                  </a:p>
                </c:rich>
              </c:tx>
              <c:showLegendKey val="0"/>
              <c:showVal val="1"/>
              <c:showCatName val="0"/>
              <c:showSerName val="0"/>
              <c:showPercent val="0"/>
              <c:showBubbleSize val="0"/>
              <c:extLst>
                <c:ext xmlns:c15="http://schemas.microsoft.com/office/drawing/2012/chart" uri="{CE6537A1-D6FC-4f65-9D91-7224C49458BB}">
                  <c15:layout>
                    <c:manualLayout>
                      <c:w val="3.699533053150994E-2"/>
                      <c:h val="0.10397605401762607"/>
                    </c:manualLayout>
                  </c15:layout>
                  <c15:dlblFieldTable/>
                  <c15:showDataLabelsRange val="0"/>
                </c:ext>
                <c:ext xmlns:c16="http://schemas.microsoft.com/office/drawing/2014/chart" uri="{C3380CC4-5D6E-409C-BE32-E72D297353CC}">
                  <c16:uniqueId val="{00000004-9480-4CFC-92EF-A4612A96E5F1}"/>
                </c:ext>
              </c:extLst>
            </c:dLbl>
            <c:dLbl>
              <c:idx val="1"/>
              <c:layout>
                <c:manualLayout>
                  <c:x val="5.1633399206571645E-3"/>
                  <c:y val="2.072681232285978E-6"/>
                </c:manualLayout>
              </c:layout>
              <c:tx>
                <c:rich>
                  <a:bodyPr/>
                  <a:lstStyle/>
                  <a:p>
                    <a:fld id="{24BCE490-AC51-48C3-8825-67A161DFF470}" type="VALUE">
                      <a:rPr lang="en-US">
                        <a:solidFill>
                          <a:schemeClr val="bg1"/>
                        </a:solidFill>
                      </a:rPr>
                      <a:pPr/>
                      <a:t>[VĒRTĪBA]</a:t>
                    </a:fld>
                    <a:endParaRPr lang="en-GB"/>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5-9480-4CFC-92EF-A4612A96E5F1}"/>
                </c:ext>
              </c:extLst>
            </c:dLbl>
            <c:dLbl>
              <c:idx val="2"/>
              <c:layout>
                <c:manualLayout>
                  <c:x val="-9.9668722956626011E-4"/>
                  <c:y val="4.0329256122145648E-7"/>
                </c:manualLayout>
              </c:layout>
              <c:tx>
                <c:rich>
                  <a:bodyPr/>
                  <a:lstStyle/>
                  <a:p>
                    <a:fld id="{96CB6FE0-6B28-4AE3-BD9C-7C82138C60E2}" type="VALUE">
                      <a:rPr lang="en-US" sz="1200">
                        <a:solidFill>
                          <a:schemeClr val="bg1"/>
                        </a:solidFill>
                      </a:rPr>
                      <a:pPr/>
                      <a:t>[VĒRTĪBA]</a:t>
                    </a:fld>
                    <a:endParaRPr lang="en-GB"/>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6-9480-4CFC-92EF-A4612A96E5F1}"/>
                </c:ext>
              </c:extLst>
            </c:dLbl>
            <c:numFmt formatCode="0\%" sourceLinked="0"/>
            <c:spPr>
              <a:noFill/>
              <a:ln>
                <a:noFill/>
              </a:ln>
              <a:effectLst/>
            </c:spPr>
            <c:txPr>
              <a:bodyPr/>
              <a:lstStyle/>
              <a:p>
                <a:pPr>
                  <a:defRPr sz="1200" b="0">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Visa izlase, n=323</c:v>
                </c:pt>
                <c:pt idx="1">
                  <c:v>Plānveida pārbaudes , n=203</c:v>
                </c:pt>
                <c:pt idx="2">
                  <c:v>Zvejas kontrole, n=55</c:v>
                </c:pt>
                <c:pt idx="3">
                  <c:v>Pārbaudes radiācijas drošībā, n=65</c:v>
                </c:pt>
              </c:strCache>
            </c:strRef>
          </c:cat>
          <c:val>
            <c:numRef>
              <c:f>Sheet1!$F$2:$F$5</c:f>
              <c:numCache>
                <c:formatCode>0</c:formatCode>
                <c:ptCount val="4"/>
                <c:pt idx="0">
                  <c:v>1.6752497363032783</c:v>
                </c:pt>
                <c:pt idx="1">
                  <c:v>2.4630541871921086</c:v>
                </c:pt>
              </c:numCache>
            </c:numRef>
          </c:val>
          <c:extLst>
            <c:ext xmlns:c16="http://schemas.microsoft.com/office/drawing/2014/chart" uri="{C3380CC4-5D6E-409C-BE32-E72D297353CC}">
              <c16:uniqueId val="{00000008-9480-4CFC-92EF-A4612A96E5F1}"/>
            </c:ext>
          </c:extLst>
        </c:ser>
        <c:ser>
          <c:idx val="5"/>
          <c:order val="5"/>
          <c:tx>
            <c:strRef>
              <c:f>Sheet1!$G$1</c:f>
              <c:strCache>
                <c:ptCount val="1"/>
                <c:pt idx="0">
                  <c:v>Nevaru novērtēt</c:v>
                </c:pt>
              </c:strCache>
            </c:strRef>
          </c:tx>
          <c:spPr>
            <a:solidFill>
              <a:schemeClr val="bg1">
                <a:lumMod val="65000"/>
              </a:schemeClr>
            </a:solidFill>
          </c:spPr>
          <c:invertIfNegative val="0"/>
          <c:dLbls>
            <c:dLbl>
              <c:idx val="1"/>
              <c:layout>
                <c:manualLayout>
                  <c:x val="7.7450098809860313E-3"/>
                  <c:y val="2.9609731889799683E-7"/>
                </c:manualLayout>
              </c:layout>
              <c:numFmt formatCode="0\%" sourceLinked="0"/>
              <c:spPr>
                <a:noFill/>
                <a:ln>
                  <a:noFill/>
                </a:ln>
                <a:effectLst/>
              </c:spPr>
              <c:txPr>
                <a:bodyPr wrap="square" lIns="38100" tIns="19050" rIns="38100" bIns="19050" anchor="ctr">
                  <a:spAutoFit/>
                </a:bodyPr>
                <a:lstStyle/>
                <a:p>
                  <a:pPr>
                    <a:defRPr sz="1200">
                      <a:solidFill>
                        <a:schemeClr val="tx1"/>
                      </a:solidFill>
                    </a:defRPr>
                  </a:pPr>
                  <a:endParaRPr lang="en-US"/>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B80B-4F20-9FBB-71151FA91320}"/>
                </c:ext>
              </c:extLst>
            </c:dLbl>
            <c:numFmt formatCode="0\%" sourceLinked="0"/>
            <c:spPr>
              <a:noFill/>
              <a:ln>
                <a:noFill/>
              </a:ln>
              <a:effectLst/>
            </c:spPr>
            <c:txPr>
              <a:bodyPr wrap="square" lIns="38100" tIns="19050" rIns="38100" bIns="19050" anchor="ctr">
                <a:spAutoFit/>
              </a:bodyPr>
              <a:lstStyle/>
              <a:p>
                <a:pPr>
                  <a:defRPr sz="1200">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Visa izlase, n=323</c:v>
                </c:pt>
                <c:pt idx="1">
                  <c:v>Plānveida pārbaudes , n=203</c:v>
                </c:pt>
                <c:pt idx="2">
                  <c:v>Zvejas kontrole, n=55</c:v>
                </c:pt>
                <c:pt idx="3">
                  <c:v>Pārbaudes radiācijas drošībā, n=65</c:v>
                </c:pt>
              </c:strCache>
            </c:strRef>
          </c:cat>
          <c:val>
            <c:numRef>
              <c:f>Sheet1!$G$2:$G$5</c:f>
              <c:numCache>
                <c:formatCode>0</c:formatCode>
                <c:ptCount val="4"/>
                <c:pt idx="0">
                  <c:v>12.998697027982844</c:v>
                </c:pt>
                <c:pt idx="1">
                  <c:v>3.4482758620689515</c:v>
                </c:pt>
                <c:pt idx="2">
                  <c:v>39.999999999999993</c:v>
                </c:pt>
                <c:pt idx="3">
                  <c:v>4.6153846153846088</c:v>
                </c:pt>
              </c:numCache>
            </c:numRef>
          </c:val>
          <c:extLst>
            <c:ext xmlns:c16="http://schemas.microsoft.com/office/drawing/2014/chart" uri="{C3380CC4-5D6E-409C-BE32-E72D297353CC}">
              <c16:uniqueId val="{00000009-9480-4CFC-92EF-A4612A96E5F1}"/>
            </c:ext>
          </c:extLst>
        </c:ser>
        <c:dLbls>
          <c:showLegendKey val="0"/>
          <c:showVal val="0"/>
          <c:showCatName val="0"/>
          <c:showSerName val="0"/>
          <c:showPercent val="0"/>
          <c:showBubbleSize val="0"/>
        </c:dLbls>
        <c:gapWidth val="41"/>
        <c:overlap val="100"/>
        <c:axId val="-1577179088"/>
        <c:axId val="-1577181264"/>
      </c:barChart>
      <c:catAx>
        <c:axId val="-1577179088"/>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lgn="r">
              <a:defRPr sz="1300" b="0" i="0" u="none" strike="noStrike" kern="1200" baseline="0">
                <a:solidFill>
                  <a:schemeClr val="tx1"/>
                </a:solidFill>
                <a:latin typeface="+mn-lt"/>
                <a:ea typeface="+mn-ea"/>
                <a:cs typeface="+mn-cs"/>
              </a:defRPr>
            </a:pPr>
            <a:endParaRPr lang="en-US"/>
          </a:p>
        </c:txPr>
        <c:crossAx val="-1577181264"/>
        <c:crosses val="autoZero"/>
        <c:auto val="1"/>
        <c:lblAlgn val="ctr"/>
        <c:lblOffset val="100"/>
        <c:noMultiLvlLbl val="0"/>
      </c:catAx>
      <c:valAx>
        <c:axId val="-1577181264"/>
        <c:scaling>
          <c:orientation val="minMax"/>
        </c:scaling>
        <c:delete val="1"/>
        <c:axPos val="t"/>
        <c:numFmt formatCode="0%" sourceLinked="1"/>
        <c:majorTickMark val="none"/>
        <c:minorTickMark val="none"/>
        <c:tickLblPos val="nextTo"/>
        <c:crossAx val="-1577179088"/>
        <c:crosses val="autoZero"/>
        <c:crossBetween val="between"/>
      </c:valAx>
      <c:spPr>
        <a:noFill/>
        <a:ln>
          <a:noFill/>
        </a:ln>
        <a:effectLst/>
      </c:spPr>
    </c:plotArea>
    <c:legend>
      <c:legendPos val="t"/>
      <c:layout>
        <c:manualLayout>
          <c:xMode val="edge"/>
          <c:yMode val="edge"/>
          <c:x val="0.18235361499352604"/>
          <c:y val="2.9323402119584712E-2"/>
          <c:w val="0.81764638500647391"/>
          <c:h val="4.323991011337501E-2"/>
        </c:manualLayout>
      </c:layout>
      <c:overlay val="0"/>
      <c:spPr>
        <a:noFill/>
        <a:ln>
          <a:noFill/>
        </a:ln>
        <a:effectLst/>
      </c:spPr>
      <c:txPr>
        <a:bodyPr rot="0" spcFirstLastPara="1" vertOverflow="ellipsis" vert="horz" wrap="square" anchor="ctr" anchorCtr="1"/>
        <a:lstStyle/>
        <a:p>
          <a:pPr>
            <a:defRPr sz="13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lv-LV"/>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7160415031975808"/>
          <c:y val="9.5395118068569221E-2"/>
          <c:w val="0.60903332417551981"/>
          <c:h val="0.83732337578121374"/>
        </c:manualLayout>
      </c:layout>
      <c:barChart>
        <c:barDir val="bar"/>
        <c:grouping val="percentStacked"/>
        <c:varyColors val="0"/>
        <c:ser>
          <c:idx val="0"/>
          <c:order val="0"/>
          <c:tx>
            <c:strRef>
              <c:f>Sheet1!$B$1</c:f>
              <c:strCache>
                <c:ptCount val="1"/>
                <c:pt idx="0">
                  <c:v>Pilnībā piekrītu</c:v>
                </c:pt>
              </c:strCache>
            </c:strRef>
          </c:tx>
          <c:spPr>
            <a:solidFill>
              <a:schemeClr val="accent1"/>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Visa izlase, n=323</c:v>
                </c:pt>
                <c:pt idx="1">
                  <c:v>Plānveida pārbaudes , n=203</c:v>
                </c:pt>
                <c:pt idx="2">
                  <c:v>Zvejas kontrole, n=55</c:v>
                </c:pt>
                <c:pt idx="3">
                  <c:v>Pārbaudes radiācijas drošībā, n=65</c:v>
                </c:pt>
              </c:strCache>
            </c:strRef>
          </c:cat>
          <c:val>
            <c:numRef>
              <c:f>Sheet1!$B$2:$B$5</c:f>
              <c:numCache>
                <c:formatCode>0</c:formatCode>
                <c:ptCount val="4"/>
                <c:pt idx="0">
                  <c:v>54.160203511819809</c:v>
                </c:pt>
                <c:pt idx="1">
                  <c:v>64.039408866994805</c:v>
                </c:pt>
                <c:pt idx="2">
                  <c:v>25.45454545454545</c:v>
                </c:pt>
                <c:pt idx="3">
                  <c:v>66.153846153846118</c:v>
                </c:pt>
              </c:numCache>
            </c:numRef>
          </c:val>
          <c:extLst>
            <c:ext xmlns:c16="http://schemas.microsoft.com/office/drawing/2014/chart" uri="{C3380CC4-5D6E-409C-BE32-E72D297353CC}">
              <c16:uniqueId val="{00000000-9480-4CFC-92EF-A4612A96E5F1}"/>
            </c:ext>
          </c:extLst>
        </c:ser>
        <c:ser>
          <c:idx val="1"/>
          <c:order val="1"/>
          <c:tx>
            <c:strRef>
              <c:f>Sheet1!$C$1</c:f>
              <c:strCache>
                <c:ptCount val="1"/>
                <c:pt idx="0">
                  <c:v>Lielā mērā  piekrītu</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Visa izlase, n=323</c:v>
                </c:pt>
                <c:pt idx="1">
                  <c:v>Plānveida pārbaudes , n=203</c:v>
                </c:pt>
                <c:pt idx="2">
                  <c:v>Zvejas kontrole, n=55</c:v>
                </c:pt>
                <c:pt idx="3">
                  <c:v>Pārbaudes radiācijas drošībā, n=65</c:v>
                </c:pt>
              </c:strCache>
            </c:strRef>
          </c:cat>
          <c:val>
            <c:numRef>
              <c:f>Sheet1!$C$2:$C$5</c:f>
              <c:numCache>
                <c:formatCode>0</c:formatCode>
                <c:ptCount val="4"/>
                <c:pt idx="0">
                  <c:v>17.956195321709941</c:v>
                </c:pt>
                <c:pt idx="1">
                  <c:v>19.211822660098427</c:v>
                </c:pt>
                <c:pt idx="2">
                  <c:v>14.545454545454541</c:v>
                </c:pt>
                <c:pt idx="3">
                  <c:v>18.461538461538435</c:v>
                </c:pt>
              </c:numCache>
            </c:numRef>
          </c:val>
          <c:extLst>
            <c:ext xmlns:c16="http://schemas.microsoft.com/office/drawing/2014/chart" uri="{C3380CC4-5D6E-409C-BE32-E72D297353CC}">
              <c16:uniqueId val="{00000001-9480-4CFC-92EF-A4612A96E5F1}"/>
            </c:ext>
          </c:extLst>
        </c:ser>
        <c:ser>
          <c:idx val="2"/>
          <c:order val="2"/>
          <c:tx>
            <c:strRef>
              <c:f>Sheet1!$D$1</c:f>
              <c:strCache>
                <c:ptCount val="1"/>
                <c:pt idx="0">
                  <c:v>Drīzāk piekrītu</c:v>
                </c:pt>
              </c:strCache>
            </c:strRef>
          </c:tx>
          <c:spPr>
            <a:solidFill>
              <a:schemeClr val="accent3"/>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Visa izlase, n=323</c:v>
                </c:pt>
                <c:pt idx="1">
                  <c:v>Plānveida pārbaudes , n=203</c:v>
                </c:pt>
                <c:pt idx="2">
                  <c:v>Zvejas kontrole, n=55</c:v>
                </c:pt>
                <c:pt idx="3">
                  <c:v>Pārbaudes radiācijas drošībā, n=65</c:v>
                </c:pt>
              </c:strCache>
            </c:strRef>
          </c:cat>
          <c:val>
            <c:numRef>
              <c:f>Sheet1!$D$2:$D$5</c:f>
              <c:numCache>
                <c:formatCode>0</c:formatCode>
                <c:ptCount val="4"/>
                <c:pt idx="0">
                  <c:v>10.833281628094529</c:v>
                </c:pt>
                <c:pt idx="1">
                  <c:v>8.866995073891589</c:v>
                </c:pt>
                <c:pt idx="2">
                  <c:v>16.36363636363636</c:v>
                </c:pt>
                <c:pt idx="3">
                  <c:v>9.2307692307692193</c:v>
                </c:pt>
              </c:numCache>
            </c:numRef>
          </c:val>
          <c:extLst>
            <c:ext xmlns:c16="http://schemas.microsoft.com/office/drawing/2014/chart" uri="{C3380CC4-5D6E-409C-BE32-E72D297353CC}">
              <c16:uniqueId val="{00000002-9480-4CFC-92EF-A4612A96E5F1}"/>
            </c:ext>
          </c:extLst>
        </c:ser>
        <c:ser>
          <c:idx val="3"/>
          <c:order val="3"/>
          <c:tx>
            <c:strRef>
              <c:f>Sheet1!$E$1</c:f>
              <c:strCache>
                <c:ptCount val="1"/>
                <c:pt idx="0">
                  <c:v>Drīzāk nepiekrītu</c:v>
                </c:pt>
              </c:strCache>
            </c:strRef>
          </c:tx>
          <c:spPr>
            <a:solidFill>
              <a:schemeClr val="accent4"/>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Visa izlase, n=323</c:v>
                </c:pt>
                <c:pt idx="1">
                  <c:v>Plānveida pārbaudes , n=203</c:v>
                </c:pt>
                <c:pt idx="2">
                  <c:v>Zvejas kontrole, n=55</c:v>
                </c:pt>
                <c:pt idx="3">
                  <c:v>Pārbaudes radiācijas drošībā, n=65</c:v>
                </c:pt>
              </c:strCache>
            </c:strRef>
          </c:cat>
          <c:val>
            <c:numRef>
              <c:f>Sheet1!$E$2:$E$5</c:f>
              <c:numCache>
                <c:formatCode>0</c:formatCode>
                <c:ptCount val="4"/>
                <c:pt idx="0">
                  <c:v>3.5180244462368848</c:v>
                </c:pt>
                <c:pt idx="1">
                  <c:v>2.9556650246305303</c:v>
                </c:pt>
                <c:pt idx="2">
                  <c:v>5.4545454545454541</c:v>
                </c:pt>
                <c:pt idx="3">
                  <c:v>1.5384615384615365</c:v>
                </c:pt>
              </c:numCache>
            </c:numRef>
          </c:val>
          <c:extLst>
            <c:ext xmlns:c16="http://schemas.microsoft.com/office/drawing/2014/chart" uri="{C3380CC4-5D6E-409C-BE32-E72D297353CC}">
              <c16:uniqueId val="{00000003-9480-4CFC-92EF-A4612A96E5F1}"/>
            </c:ext>
          </c:extLst>
        </c:ser>
        <c:ser>
          <c:idx val="4"/>
          <c:order val="4"/>
          <c:tx>
            <c:strRef>
              <c:f>Sheet1!$F$1</c:f>
              <c:strCache>
                <c:ptCount val="1"/>
                <c:pt idx="0">
                  <c:v>Pilnībā nepiekrītu</c:v>
                </c:pt>
              </c:strCache>
            </c:strRef>
          </c:tx>
          <c:spPr>
            <a:solidFill>
              <a:schemeClr val="accent5"/>
            </a:solidFill>
            <a:ln>
              <a:noFill/>
            </a:ln>
            <a:effectLst/>
          </c:spPr>
          <c:invertIfNegative val="0"/>
          <c:dLbls>
            <c:dLbl>
              <c:idx val="0"/>
              <c:layout>
                <c:manualLayout>
                  <c:x val="5.5025144347367553E-3"/>
                  <c:y val="-3.7589554634100721E-3"/>
                </c:manualLayout>
              </c:layout>
              <c:tx>
                <c:rich>
                  <a:bodyPr/>
                  <a:lstStyle/>
                  <a:p>
                    <a:fld id="{4BF6CF23-D790-4A5C-BDED-BDBE91B3A95C}" type="VALUE">
                      <a:rPr lang="en-US" sz="1200">
                        <a:solidFill>
                          <a:schemeClr val="bg1"/>
                        </a:solidFill>
                      </a:rPr>
                      <a:pPr/>
                      <a:t>[VĒRTĪBA]</a:t>
                    </a:fld>
                    <a:endParaRPr lang="en-GB"/>
                  </a:p>
                </c:rich>
              </c:tx>
              <c:showLegendKey val="0"/>
              <c:showVal val="1"/>
              <c:showCatName val="0"/>
              <c:showSerName val="0"/>
              <c:showPercent val="0"/>
              <c:showBubbleSize val="0"/>
              <c:extLst>
                <c:ext xmlns:c15="http://schemas.microsoft.com/office/drawing/2012/chart" uri="{CE6537A1-D6FC-4f65-9D91-7224C49458BB}">
                  <c15:layout>
                    <c:manualLayout>
                      <c:w val="2.6668650690195233E-2"/>
                      <c:h val="8.8934310217607837E-2"/>
                    </c:manualLayout>
                  </c15:layout>
                  <c15:dlblFieldTable/>
                  <c15:showDataLabelsRange val="0"/>
                </c:ext>
                <c:ext xmlns:c16="http://schemas.microsoft.com/office/drawing/2014/chart" uri="{C3380CC4-5D6E-409C-BE32-E72D297353CC}">
                  <c16:uniqueId val="{00000004-9480-4CFC-92EF-A4612A96E5F1}"/>
                </c:ext>
              </c:extLst>
            </c:dLbl>
            <c:dLbl>
              <c:idx val="1"/>
              <c:layout>
                <c:manualLayout>
                  <c:x val="3.8725049404930156E-3"/>
                  <c:y val="1.1843892755919873E-6"/>
                </c:manualLayout>
              </c:layout>
              <c:tx>
                <c:rich>
                  <a:bodyPr/>
                  <a:lstStyle/>
                  <a:p>
                    <a:fld id="{24BCE490-AC51-48C3-8825-67A161DFF470}" type="VALUE">
                      <a:rPr lang="en-US">
                        <a:solidFill>
                          <a:schemeClr val="bg1"/>
                        </a:solidFill>
                      </a:rPr>
                      <a:pPr/>
                      <a:t>[VĒRTĪBA]</a:t>
                    </a:fld>
                    <a:endParaRPr lang="en-GB"/>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5-9480-4CFC-92EF-A4612A96E5F1}"/>
                </c:ext>
              </c:extLst>
            </c:dLbl>
            <c:dLbl>
              <c:idx val="2"/>
              <c:layout>
                <c:manualLayout>
                  <c:x val="-9.9668722956626011E-4"/>
                  <c:y val="4.0329256122145648E-7"/>
                </c:manualLayout>
              </c:layout>
              <c:tx>
                <c:rich>
                  <a:bodyPr/>
                  <a:lstStyle/>
                  <a:p>
                    <a:fld id="{96CB6FE0-6B28-4AE3-BD9C-7C82138C60E2}" type="VALUE">
                      <a:rPr lang="en-US" sz="1200">
                        <a:solidFill>
                          <a:schemeClr val="bg1"/>
                        </a:solidFill>
                      </a:rPr>
                      <a:pPr/>
                      <a:t>[VĒRTĪBA]</a:t>
                    </a:fld>
                    <a:endParaRPr lang="en-GB"/>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6-9480-4CFC-92EF-A4612A96E5F1}"/>
                </c:ext>
              </c:extLst>
            </c:dLbl>
            <c:numFmt formatCode="0\%" sourceLinked="0"/>
            <c:spPr>
              <a:noFill/>
              <a:ln>
                <a:noFill/>
              </a:ln>
              <a:effectLst/>
            </c:spPr>
            <c:txPr>
              <a:bodyPr/>
              <a:lstStyle/>
              <a:p>
                <a:pPr>
                  <a:defRPr sz="1200" b="0">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Visa izlase, n=323</c:v>
                </c:pt>
                <c:pt idx="1">
                  <c:v>Plānveida pārbaudes , n=203</c:v>
                </c:pt>
                <c:pt idx="2">
                  <c:v>Zvejas kontrole, n=55</c:v>
                </c:pt>
                <c:pt idx="3">
                  <c:v>Pārbaudes radiācijas drošībā, n=65</c:v>
                </c:pt>
              </c:strCache>
            </c:strRef>
          </c:cat>
          <c:val>
            <c:numRef>
              <c:f>Sheet1!$F$2:$F$5</c:f>
              <c:numCache>
                <c:formatCode>0</c:formatCode>
                <c:ptCount val="4"/>
                <c:pt idx="0">
                  <c:v>1.6752497363032783</c:v>
                </c:pt>
                <c:pt idx="1">
                  <c:v>2.4630541871921086</c:v>
                </c:pt>
              </c:numCache>
            </c:numRef>
          </c:val>
          <c:extLst>
            <c:ext xmlns:c16="http://schemas.microsoft.com/office/drawing/2014/chart" uri="{C3380CC4-5D6E-409C-BE32-E72D297353CC}">
              <c16:uniqueId val="{00000008-9480-4CFC-92EF-A4612A96E5F1}"/>
            </c:ext>
          </c:extLst>
        </c:ser>
        <c:ser>
          <c:idx val="5"/>
          <c:order val="5"/>
          <c:tx>
            <c:strRef>
              <c:f>Sheet1!$G$1</c:f>
              <c:strCache>
                <c:ptCount val="1"/>
                <c:pt idx="0">
                  <c:v>Nevaru novērtēt</c:v>
                </c:pt>
              </c:strCache>
            </c:strRef>
          </c:tx>
          <c:spPr>
            <a:solidFill>
              <a:schemeClr val="bg1">
                <a:lumMod val="65000"/>
              </a:schemeClr>
            </a:solidFill>
          </c:spPr>
          <c:invertIfNegative val="0"/>
          <c:dLbls>
            <c:dLbl>
              <c:idx val="1"/>
              <c:layout>
                <c:manualLayout>
                  <c:x val="1.0326679841314709E-2"/>
                  <c:y val="0"/>
                </c:manualLayout>
              </c:layout>
              <c:numFmt formatCode="0\%" sourceLinked="0"/>
              <c:spPr>
                <a:noFill/>
                <a:ln>
                  <a:noFill/>
                </a:ln>
                <a:effectLst/>
              </c:spPr>
              <c:txPr>
                <a:bodyPr wrap="square" lIns="38100" tIns="19050" rIns="38100" bIns="19050" anchor="ctr">
                  <a:spAutoFit/>
                </a:bodyPr>
                <a:lstStyle/>
                <a:p>
                  <a:pPr>
                    <a:defRPr sz="1200">
                      <a:solidFill>
                        <a:schemeClr val="tx1"/>
                      </a:solidFill>
                    </a:defRPr>
                  </a:pPr>
                  <a:endParaRPr lang="en-US"/>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F2D3-4CBB-82BE-5BFDC3093903}"/>
                </c:ext>
              </c:extLst>
            </c:dLbl>
            <c:numFmt formatCode="0\%" sourceLinked="0"/>
            <c:spPr>
              <a:noFill/>
              <a:ln>
                <a:noFill/>
              </a:ln>
              <a:effectLst/>
            </c:spPr>
            <c:txPr>
              <a:bodyPr wrap="square" lIns="38100" tIns="19050" rIns="38100" bIns="19050" anchor="ctr">
                <a:spAutoFit/>
              </a:bodyPr>
              <a:lstStyle/>
              <a:p>
                <a:pPr>
                  <a:defRPr sz="1200">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Visa izlase, n=323</c:v>
                </c:pt>
                <c:pt idx="1">
                  <c:v>Plānveida pārbaudes , n=203</c:v>
                </c:pt>
                <c:pt idx="2">
                  <c:v>Zvejas kontrole, n=55</c:v>
                </c:pt>
                <c:pt idx="3">
                  <c:v>Pārbaudes radiācijas drošībā, n=65</c:v>
                </c:pt>
              </c:strCache>
            </c:strRef>
          </c:cat>
          <c:val>
            <c:numRef>
              <c:f>Sheet1!$G$2:$G$5</c:f>
              <c:numCache>
                <c:formatCode>0</c:formatCode>
                <c:ptCount val="4"/>
                <c:pt idx="0">
                  <c:v>11.857045355835426</c:v>
                </c:pt>
                <c:pt idx="1">
                  <c:v>2.4630541871921086</c:v>
                </c:pt>
                <c:pt idx="2">
                  <c:v>38.181818181818173</c:v>
                </c:pt>
                <c:pt idx="3">
                  <c:v>4.6153846153846088</c:v>
                </c:pt>
              </c:numCache>
            </c:numRef>
          </c:val>
          <c:extLst>
            <c:ext xmlns:c16="http://schemas.microsoft.com/office/drawing/2014/chart" uri="{C3380CC4-5D6E-409C-BE32-E72D297353CC}">
              <c16:uniqueId val="{00000009-9480-4CFC-92EF-A4612A96E5F1}"/>
            </c:ext>
          </c:extLst>
        </c:ser>
        <c:dLbls>
          <c:showLegendKey val="0"/>
          <c:showVal val="0"/>
          <c:showCatName val="0"/>
          <c:showSerName val="0"/>
          <c:showPercent val="0"/>
          <c:showBubbleSize val="0"/>
        </c:dLbls>
        <c:gapWidth val="41"/>
        <c:overlap val="100"/>
        <c:axId val="-1577180720"/>
        <c:axId val="-1577180176"/>
      </c:barChart>
      <c:catAx>
        <c:axId val="-1577180720"/>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lgn="r">
              <a:defRPr sz="1300" b="0" i="0" u="none" strike="noStrike" kern="1200" baseline="0">
                <a:solidFill>
                  <a:schemeClr val="tx1"/>
                </a:solidFill>
                <a:latin typeface="+mn-lt"/>
                <a:ea typeface="+mn-ea"/>
                <a:cs typeface="+mn-cs"/>
              </a:defRPr>
            </a:pPr>
            <a:endParaRPr lang="en-US"/>
          </a:p>
        </c:txPr>
        <c:crossAx val="-1577180176"/>
        <c:crosses val="autoZero"/>
        <c:auto val="1"/>
        <c:lblAlgn val="ctr"/>
        <c:lblOffset val="100"/>
        <c:noMultiLvlLbl val="0"/>
      </c:catAx>
      <c:valAx>
        <c:axId val="-1577180176"/>
        <c:scaling>
          <c:orientation val="minMax"/>
        </c:scaling>
        <c:delete val="1"/>
        <c:axPos val="t"/>
        <c:numFmt formatCode="0%" sourceLinked="1"/>
        <c:majorTickMark val="none"/>
        <c:minorTickMark val="none"/>
        <c:tickLblPos val="nextTo"/>
        <c:crossAx val="-1577180720"/>
        <c:crosses val="autoZero"/>
        <c:crossBetween val="between"/>
      </c:valAx>
      <c:spPr>
        <a:noFill/>
        <a:ln>
          <a:noFill/>
        </a:ln>
        <a:effectLst/>
      </c:spPr>
    </c:plotArea>
    <c:legend>
      <c:legendPos val="t"/>
      <c:layout>
        <c:manualLayout>
          <c:xMode val="edge"/>
          <c:yMode val="edge"/>
          <c:x val="0.17719027507286866"/>
          <c:y val="2.9323402119584712E-2"/>
          <c:w val="0.82280972492713145"/>
          <c:h val="4.323991011337501E-2"/>
        </c:manualLayout>
      </c:layout>
      <c:overlay val="0"/>
      <c:spPr>
        <a:noFill/>
        <a:ln>
          <a:noFill/>
        </a:ln>
        <a:effectLst/>
      </c:spPr>
      <c:txPr>
        <a:bodyPr rot="0" spcFirstLastPara="1" vertOverflow="ellipsis" vert="horz" wrap="square" anchor="ctr" anchorCtr="1"/>
        <a:lstStyle/>
        <a:p>
          <a:pPr>
            <a:defRPr sz="13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lv-LV"/>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7160415031975808"/>
          <c:y val="9.5395118068569221E-2"/>
          <c:w val="0.60903332417551981"/>
          <c:h val="0.83732337578121374"/>
        </c:manualLayout>
      </c:layout>
      <c:barChart>
        <c:barDir val="bar"/>
        <c:grouping val="percentStacked"/>
        <c:varyColors val="0"/>
        <c:ser>
          <c:idx val="0"/>
          <c:order val="0"/>
          <c:tx>
            <c:strRef>
              <c:f>Sheet1!$B$1</c:f>
              <c:strCache>
                <c:ptCount val="1"/>
                <c:pt idx="0">
                  <c:v>Ļoti lielā mērā veicinājuši</c:v>
                </c:pt>
              </c:strCache>
            </c:strRef>
          </c:tx>
          <c:spPr>
            <a:solidFill>
              <a:schemeClr val="accent1"/>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Visa izlase, n=323</c:v>
                </c:pt>
                <c:pt idx="1">
                  <c:v>Plānveida pārbaudes , n=203</c:v>
                </c:pt>
                <c:pt idx="2">
                  <c:v>Zvejas kontrole, n=55</c:v>
                </c:pt>
                <c:pt idx="3">
                  <c:v>Pārbaudes radiācijas drošībā, n=65</c:v>
                </c:pt>
              </c:strCache>
            </c:strRef>
          </c:cat>
          <c:val>
            <c:numRef>
              <c:f>Sheet1!$B$2:$B$5</c:f>
              <c:numCache>
                <c:formatCode>0</c:formatCode>
                <c:ptCount val="4"/>
                <c:pt idx="0">
                  <c:v>5.4538685859651164</c:v>
                </c:pt>
                <c:pt idx="1">
                  <c:v>3.4482758620689515</c:v>
                </c:pt>
                <c:pt idx="2">
                  <c:v>10.909090909090907</c:v>
                </c:pt>
                <c:pt idx="3">
                  <c:v>4.6153846153846088</c:v>
                </c:pt>
              </c:numCache>
            </c:numRef>
          </c:val>
          <c:extLst>
            <c:ext xmlns:c16="http://schemas.microsoft.com/office/drawing/2014/chart" uri="{C3380CC4-5D6E-409C-BE32-E72D297353CC}">
              <c16:uniqueId val="{00000000-9480-4CFC-92EF-A4612A96E5F1}"/>
            </c:ext>
          </c:extLst>
        </c:ser>
        <c:ser>
          <c:idx val="1"/>
          <c:order val="1"/>
          <c:tx>
            <c:strRef>
              <c:f>Sheet1!$C$1</c:f>
              <c:strCache>
                <c:ptCount val="1"/>
                <c:pt idx="0">
                  <c:v>Lielā mērā veicinājuši</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Visa izlase, n=323</c:v>
                </c:pt>
                <c:pt idx="1">
                  <c:v>Plānveida pārbaudes , n=203</c:v>
                </c:pt>
                <c:pt idx="2">
                  <c:v>Zvejas kontrole, n=55</c:v>
                </c:pt>
                <c:pt idx="3">
                  <c:v>Pārbaudes radiācijas drošībā, n=65</c:v>
                </c:pt>
              </c:strCache>
            </c:strRef>
          </c:cat>
          <c:val>
            <c:numRef>
              <c:f>Sheet1!$C$2:$C$5</c:f>
              <c:numCache>
                <c:formatCode>0</c:formatCode>
                <c:ptCount val="4"/>
                <c:pt idx="0">
                  <c:v>21.747223428677721</c:v>
                </c:pt>
                <c:pt idx="1">
                  <c:v>21.18226600985211</c:v>
                </c:pt>
                <c:pt idx="2">
                  <c:v>23.636363636363633</c:v>
                </c:pt>
                <c:pt idx="3">
                  <c:v>19.999999999999968</c:v>
                </c:pt>
              </c:numCache>
            </c:numRef>
          </c:val>
          <c:extLst>
            <c:ext xmlns:c16="http://schemas.microsoft.com/office/drawing/2014/chart" uri="{C3380CC4-5D6E-409C-BE32-E72D297353CC}">
              <c16:uniqueId val="{00000001-9480-4CFC-92EF-A4612A96E5F1}"/>
            </c:ext>
          </c:extLst>
        </c:ser>
        <c:ser>
          <c:idx val="2"/>
          <c:order val="2"/>
          <c:tx>
            <c:strRef>
              <c:f>Sheet1!$D$1</c:f>
              <c:strCache>
                <c:ptCount val="1"/>
                <c:pt idx="0">
                  <c:v>Nedaudz veicinājuši</c:v>
                </c:pt>
              </c:strCache>
            </c:strRef>
          </c:tx>
          <c:spPr>
            <a:solidFill>
              <a:schemeClr val="accent3"/>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Visa izlase, n=323</c:v>
                </c:pt>
                <c:pt idx="1">
                  <c:v>Plānveida pārbaudes , n=203</c:v>
                </c:pt>
                <c:pt idx="2">
                  <c:v>Zvejas kontrole, n=55</c:v>
                </c:pt>
                <c:pt idx="3">
                  <c:v>Pārbaudes radiācijas drošībā, n=65</c:v>
                </c:pt>
              </c:strCache>
            </c:strRef>
          </c:cat>
          <c:val>
            <c:numRef>
              <c:f>Sheet1!$D$2:$D$5</c:f>
              <c:numCache>
                <c:formatCode>0</c:formatCode>
                <c:ptCount val="4"/>
                <c:pt idx="0">
                  <c:v>50.282310603710307</c:v>
                </c:pt>
                <c:pt idx="1">
                  <c:v>52.216748768472627</c:v>
                </c:pt>
                <c:pt idx="2">
                  <c:v>45.45454545454546</c:v>
                </c:pt>
                <c:pt idx="3">
                  <c:v>49.230769230769177</c:v>
                </c:pt>
              </c:numCache>
            </c:numRef>
          </c:val>
          <c:extLst>
            <c:ext xmlns:c16="http://schemas.microsoft.com/office/drawing/2014/chart" uri="{C3380CC4-5D6E-409C-BE32-E72D297353CC}">
              <c16:uniqueId val="{00000002-9480-4CFC-92EF-A4612A96E5F1}"/>
            </c:ext>
          </c:extLst>
        </c:ser>
        <c:ser>
          <c:idx val="3"/>
          <c:order val="3"/>
          <c:tx>
            <c:strRef>
              <c:f>Sheet1!$E$1</c:f>
              <c:strCache>
                <c:ptCount val="1"/>
                <c:pt idx="0">
                  <c:v>Nemaz nav veicinājuši</c:v>
                </c:pt>
              </c:strCache>
            </c:strRef>
          </c:tx>
          <c:spPr>
            <a:solidFill>
              <a:schemeClr val="accent4"/>
            </a:solidFill>
            <a:ln>
              <a:noFill/>
            </a:ln>
            <a:effectLst/>
          </c:spPr>
          <c:invertIfNegative val="0"/>
          <c:dLbls>
            <c:dLbl>
              <c:idx val="1"/>
              <c:numFmt formatCode="0\%" sourceLinked="0"/>
              <c:spPr>
                <a:noFill/>
                <a:ln>
                  <a:noFill/>
                </a:ln>
                <a:effectLst/>
              </c:spPr>
              <c:txPr>
                <a:bodyPr rot="0" spcFirstLastPara="1" vertOverflow="ellipsis" vert="horz" wrap="square" lIns="38100" tIns="19050" rIns="38100" bIns="19050" anchor="ctr" anchorCtr="1">
                  <a:noAutofit/>
                </a:bodyPr>
                <a:lstStyle/>
                <a:p>
                  <a:pPr>
                    <a:defRPr sz="1197"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E4C0-4F27-B7BC-E141E2087B90}"/>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Visa izlase, n=323</c:v>
                </c:pt>
                <c:pt idx="1">
                  <c:v>Plānveida pārbaudes , n=203</c:v>
                </c:pt>
                <c:pt idx="2">
                  <c:v>Zvejas kontrole, n=55</c:v>
                </c:pt>
                <c:pt idx="3">
                  <c:v>Pārbaudes radiācijas drošībā, n=65</c:v>
                </c:pt>
              </c:strCache>
            </c:strRef>
          </c:cat>
          <c:val>
            <c:numRef>
              <c:f>Sheet1!$E$2:$E$5</c:f>
              <c:numCache>
                <c:formatCode>0</c:formatCode>
                <c:ptCount val="4"/>
                <c:pt idx="0">
                  <c:v>22.516597381646626</c:v>
                </c:pt>
                <c:pt idx="1">
                  <c:v>23.152709359605794</c:v>
                </c:pt>
                <c:pt idx="2">
                  <c:v>19.999999999999996</c:v>
                </c:pt>
                <c:pt idx="3">
                  <c:v>26.153846153846114</c:v>
                </c:pt>
              </c:numCache>
            </c:numRef>
          </c:val>
          <c:extLst>
            <c:ext xmlns:c16="http://schemas.microsoft.com/office/drawing/2014/chart" uri="{C3380CC4-5D6E-409C-BE32-E72D297353CC}">
              <c16:uniqueId val="{00000003-9480-4CFC-92EF-A4612A96E5F1}"/>
            </c:ext>
          </c:extLst>
        </c:ser>
        <c:dLbls>
          <c:showLegendKey val="0"/>
          <c:showVal val="0"/>
          <c:showCatName val="0"/>
          <c:showSerName val="0"/>
          <c:showPercent val="0"/>
          <c:showBubbleSize val="0"/>
        </c:dLbls>
        <c:gapWidth val="41"/>
        <c:overlap val="100"/>
        <c:axId val="-1577177456"/>
        <c:axId val="-1577186160"/>
      </c:barChart>
      <c:catAx>
        <c:axId val="-1577177456"/>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lgn="r">
              <a:defRPr sz="1300" b="0" i="0" u="none" strike="noStrike" kern="1200" baseline="0">
                <a:solidFill>
                  <a:schemeClr val="tx1"/>
                </a:solidFill>
                <a:latin typeface="+mn-lt"/>
                <a:ea typeface="+mn-ea"/>
                <a:cs typeface="+mn-cs"/>
              </a:defRPr>
            </a:pPr>
            <a:endParaRPr lang="en-US"/>
          </a:p>
        </c:txPr>
        <c:crossAx val="-1577186160"/>
        <c:crosses val="autoZero"/>
        <c:auto val="1"/>
        <c:lblAlgn val="ctr"/>
        <c:lblOffset val="100"/>
        <c:noMultiLvlLbl val="0"/>
      </c:catAx>
      <c:valAx>
        <c:axId val="-1577186160"/>
        <c:scaling>
          <c:orientation val="minMax"/>
        </c:scaling>
        <c:delete val="1"/>
        <c:axPos val="t"/>
        <c:numFmt formatCode="0%" sourceLinked="1"/>
        <c:majorTickMark val="none"/>
        <c:minorTickMark val="none"/>
        <c:tickLblPos val="nextTo"/>
        <c:crossAx val="-1577177456"/>
        <c:crosses val="autoZero"/>
        <c:crossBetween val="between"/>
      </c:valAx>
      <c:spPr>
        <a:noFill/>
        <a:ln>
          <a:noFill/>
        </a:ln>
        <a:effectLst/>
      </c:spPr>
    </c:plotArea>
    <c:legend>
      <c:legendPos val="t"/>
      <c:layout>
        <c:manualLayout>
          <c:xMode val="edge"/>
          <c:yMode val="edge"/>
          <c:x val="0.2055886446364841"/>
          <c:y val="2.9323402119584712E-2"/>
          <c:w val="0.79441135536351581"/>
          <c:h val="4.323991011337501E-2"/>
        </c:manualLayout>
      </c:layout>
      <c:overlay val="0"/>
      <c:spPr>
        <a:noFill/>
        <a:ln>
          <a:noFill/>
        </a:ln>
        <a:effectLst/>
      </c:spPr>
      <c:txPr>
        <a:bodyPr rot="0" spcFirstLastPara="1" vertOverflow="ellipsis" vert="horz" wrap="square" anchor="ctr" anchorCtr="1"/>
        <a:lstStyle/>
        <a:p>
          <a:pPr>
            <a:defRPr sz="13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lv-LV"/>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266676535245315E-2"/>
          <c:y val="0"/>
          <c:w val="0.73711579122715876"/>
          <c:h val="0.87604182498959937"/>
        </c:manualLayout>
      </c:layout>
      <c:barChart>
        <c:barDir val="col"/>
        <c:grouping val="stacked"/>
        <c:varyColors val="0"/>
        <c:ser>
          <c:idx val="0"/>
          <c:order val="0"/>
          <c:tx>
            <c:strRef>
              <c:f>Sheet1!$B$1</c:f>
              <c:strCache>
                <c:ptCount val="1"/>
                <c:pt idx="0">
                  <c:v>Teicami īstenota</c:v>
                </c:pt>
              </c:strCache>
            </c:strRef>
          </c:tx>
          <c:spPr>
            <a:solidFill>
              <a:schemeClr val="accent1"/>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Visa izlase, n=323</c:v>
                </c:pt>
                <c:pt idx="1">
                  <c:v>Plānveida pārbaudes , n=203</c:v>
                </c:pt>
                <c:pt idx="2">
                  <c:v>Zvejas kontrole, n=55</c:v>
                </c:pt>
                <c:pt idx="3">
                  <c:v>Pārbaudes radiācijas drošībā, n=65</c:v>
                </c:pt>
              </c:strCache>
            </c:strRef>
          </c:cat>
          <c:val>
            <c:numRef>
              <c:f>Sheet1!$B$2:$B$5</c:f>
              <c:numCache>
                <c:formatCode>0</c:formatCode>
                <c:ptCount val="4"/>
                <c:pt idx="0">
                  <c:v>21.436991996028961</c:v>
                </c:pt>
                <c:pt idx="1">
                  <c:v>23.645320197044214</c:v>
                </c:pt>
                <c:pt idx="2">
                  <c:v>14.545454545454541</c:v>
                </c:pt>
                <c:pt idx="3">
                  <c:v>26.153846153846114</c:v>
                </c:pt>
              </c:numCache>
            </c:numRef>
          </c:val>
          <c:extLst>
            <c:ext xmlns:c16="http://schemas.microsoft.com/office/drawing/2014/chart" uri="{C3380CC4-5D6E-409C-BE32-E72D297353CC}">
              <c16:uniqueId val="{00000000-5030-40B3-B03A-F2D6AD04A0EA}"/>
            </c:ext>
          </c:extLst>
        </c:ser>
        <c:ser>
          <c:idx val="1"/>
          <c:order val="1"/>
          <c:tx>
            <c:strRef>
              <c:f>Sheet1!$C$1</c:f>
              <c:strCache>
                <c:ptCount val="1"/>
                <c:pt idx="0">
                  <c:v>Ļoti labi īstenota</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Visa izlase, n=323</c:v>
                </c:pt>
                <c:pt idx="1">
                  <c:v>Plānveida pārbaudes , n=203</c:v>
                </c:pt>
                <c:pt idx="2">
                  <c:v>Zvejas kontrole, n=55</c:v>
                </c:pt>
                <c:pt idx="3">
                  <c:v>Pārbaudes radiācijas drošībā, n=65</c:v>
                </c:pt>
              </c:strCache>
            </c:strRef>
          </c:cat>
          <c:val>
            <c:numRef>
              <c:f>Sheet1!$C$2:$C$5</c:f>
              <c:numCache>
                <c:formatCode>0</c:formatCode>
                <c:ptCount val="4"/>
                <c:pt idx="0">
                  <c:v>35.850344356890098</c:v>
                </c:pt>
                <c:pt idx="1">
                  <c:v>37.93103448275842</c:v>
                </c:pt>
                <c:pt idx="2">
                  <c:v>27.272727272727266</c:v>
                </c:pt>
                <c:pt idx="3">
                  <c:v>49.230769230769177</c:v>
                </c:pt>
              </c:numCache>
            </c:numRef>
          </c:val>
          <c:extLst>
            <c:ext xmlns:c16="http://schemas.microsoft.com/office/drawing/2014/chart" uri="{C3380CC4-5D6E-409C-BE32-E72D297353CC}">
              <c16:uniqueId val="{00000001-5030-40B3-B03A-F2D6AD04A0EA}"/>
            </c:ext>
          </c:extLst>
        </c:ser>
        <c:ser>
          <c:idx val="2"/>
          <c:order val="2"/>
          <c:tx>
            <c:strRef>
              <c:f>Sheet1!$D$1</c:f>
              <c:strCache>
                <c:ptCount val="1"/>
                <c:pt idx="0">
                  <c:v>Labi īstenota</c:v>
                </c:pt>
              </c:strCache>
            </c:strRef>
          </c:tx>
          <c:spPr>
            <a:solidFill>
              <a:schemeClr val="accent3"/>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Visa izlase, n=323</c:v>
                </c:pt>
                <c:pt idx="1">
                  <c:v>Plānveida pārbaudes , n=203</c:v>
                </c:pt>
                <c:pt idx="2">
                  <c:v>Zvejas kontrole, n=55</c:v>
                </c:pt>
                <c:pt idx="3">
                  <c:v>Pārbaudes radiācijas drošībā, n=65</c:v>
                </c:pt>
              </c:strCache>
            </c:strRef>
          </c:cat>
          <c:val>
            <c:numRef>
              <c:f>Sheet1!$D$2:$D$5</c:f>
              <c:numCache>
                <c:formatCode>0</c:formatCode>
                <c:ptCount val="4"/>
                <c:pt idx="0">
                  <c:v>37.748960724700488</c:v>
                </c:pt>
                <c:pt idx="1">
                  <c:v>32.512315270935787</c:v>
                </c:pt>
                <c:pt idx="2">
                  <c:v>54.545454545454568</c:v>
                </c:pt>
                <c:pt idx="3">
                  <c:v>24.615384615384578</c:v>
                </c:pt>
              </c:numCache>
            </c:numRef>
          </c:val>
          <c:extLst>
            <c:ext xmlns:c16="http://schemas.microsoft.com/office/drawing/2014/chart" uri="{C3380CC4-5D6E-409C-BE32-E72D297353CC}">
              <c16:uniqueId val="{00000002-5030-40B3-B03A-F2D6AD04A0EA}"/>
            </c:ext>
          </c:extLst>
        </c:ser>
        <c:ser>
          <c:idx val="3"/>
          <c:order val="3"/>
          <c:tx>
            <c:strRef>
              <c:f>Sheet1!$E$1</c:f>
              <c:strCache>
                <c:ptCount val="1"/>
                <c:pt idx="0">
                  <c:v>Vāji īstenota</c:v>
                </c:pt>
              </c:strCache>
            </c:strRef>
          </c:tx>
          <c:spPr>
            <a:solidFill>
              <a:schemeClr val="accent4"/>
            </a:solidFill>
            <a:ln>
              <a:noFill/>
            </a:ln>
            <a:effectLst/>
          </c:spPr>
          <c:invertIfNegative val="0"/>
          <c:dLbls>
            <c:dLbl>
              <c:idx val="0"/>
              <c:layout>
                <c:manualLayout>
                  <c:x val="-9.8440040935111727E-3"/>
                  <c:y val="2.09485715071168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5030-40B3-B03A-F2D6AD04A0EA}"/>
                </c:ext>
              </c:extLst>
            </c:dLbl>
            <c:dLbl>
              <c:idx val="1"/>
              <c:layout>
                <c:manualLayout>
                  <c:x val="-1.5469093924200946E-2"/>
                  <c:y val="2.4440045909706328E-2"/>
                </c:manualLayout>
              </c:layout>
              <c:numFmt formatCode="0\%" sourceLinked="0"/>
              <c:spPr>
                <a:noFill/>
                <a:ln>
                  <a:noFill/>
                </a:ln>
                <a:effectLst/>
              </c:spPr>
              <c:txPr>
                <a:bodyPr rot="0" spcFirstLastPara="1" vertOverflow="ellipsis" vert="horz" wrap="square" lIns="38100" tIns="19050" rIns="38100" bIns="19050" anchor="ctr" anchorCtr="1">
                  <a:noAutofit/>
                </a:bodyPr>
                <a:lstStyle/>
                <a:p>
                  <a:pPr>
                    <a:defRPr sz="14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layout>
                    <c:manualLayout>
                      <c:w val="3.2492189574479906E-2"/>
                      <c:h val="6.3158285396177391E-2"/>
                    </c:manualLayout>
                  </c15:layout>
                </c:ext>
                <c:ext xmlns:c16="http://schemas.microsoft.com/office/drawing/2014/chart" uri="{C3380CC4-5D6E-409C-BE32-E72D297353CC}">
                  <c16:uniqueId val="{00000004-5030-40B3-B03A-F2D6AD04A0EA}"/>
                </c:ext>
              </c:extLst>
            </c:dLbl>
            <c:dLbl>
              <c:idx val="2"/>
              <c:layout>
                <c:manualLayout>
                  <c:x val="-1.2656576691657224E-2"/>
                  <c:y val="6.9832237136004073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030-40B3-B03A-F2D6AD04A0EA}"/>
                </c:ext>
              </c:extLst>
            </c:dLbl>
            <c:dLbl>
              <c:idx val="3"/>
              <c:layout>
                <c:manualLayout>
                  <c:x val="-7.0314314953651754E-3"/>
                  <c:y val="-1.4428057049673747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5030-40B3-B03A-F2D6AD04A0EA}"/>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Visa izlase, n=323</c:v>
                </c:pt>
                <c:pt idx="1">
                  <c:v>Plānveida pārbaudes , n=203</c:v>
                </c:pt>
                <c:pt idx="2">
                  <c:v>Zvejas kontrole, n=55</c:v>
                </c:pt>
                <c:pt idx="3">
                  <c:v>Pārbaudes radiācijas drošībā, n=65</c:v>
                </c:pt>
              </c:strCache>
            </c:strRef>
          </c:cat>
          <c:val>
            <c:numRef>
              <c:f>Sheet1!$E$2:$E$5</c:f>
              <c:numCache>
                <c:formatCode>0</c:formatCode>
                <c:ptCount val="4"/>
                <c:pt idx="0">
                  <c:v>2.8169014084506974</c:v>
                </c:pt>
                <c:pt idx="1">
                  <c:v>3.4482758620689515</c:v>
                </c:pt>
                <c:pt idx="2">
                  <c:v>1.8181818181818181</c:v>
                </c:pt>
              </c:numCache>
            </c:numRef>
          </c:val>
          <c:extLst>
            <c:ext xmlns:c16="http://schemas.microsoft.com/office/drawing/2014/chart" uri="{C3380CC4-5D6E-409C-BE32-E72D297353CC}">
              <c16:uniqueId val="{00000007-5030-40B3-B03A-F2D6AD04A0EA}"/>
            </c:ext>
          </c:extLst>
        </c:ser>
        <c:ser>
          <c:idx val="4"/>
          <c:order val="4"/>
          <c:tx>
            <c:strRef>
              <c:f>Sheet1!$F$1</c:f>
              <c:strCache>
                <c:ptCount val="1"/>
                <c:pt idx="0">
                  <c:v>Ļoti vāji īstenota</c:v>
                </c:pt>
              </c:strCache>
            </c:strRef>
          </c:tx>
          <c:spPr>
            <a:solidFill>
              <a:schemeClr val="accent5"/>
            </a:solidFill>
            <a:ln>
              <a:noFill/>
            </a:ln>
            <a:effectLst/>
          </c:spPr>
          <c:invertIfNegative val="0"/>
          <c:dLbls>
            <c:dLbl>
              <c:idx val="0"/>
              <c:layout>
                <c:manualLayout>
                  <c:x val="8.437717794438148E-3"/>
                  <c:y val="6.9826738967581426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030-40B3-B03A-F2D6AD04A0EA}"/>
                </c:ext>
              </c:extLst>
            </c:dLbl>
            <c:dLbl>
              <c:idx val="1"/>
              <c:layout>
                <c:manualLayout>
                  <c:x val="5.6251451962921247E-3"/>
                  <c:y val="6.9826738967581426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5030-40B3-B03A-F2D6AD04A0EA}"/>
                </c:ext>
              </c:extLst>
            </c:dLbl>
            <c:dLbl>
              <c:idx val="2"/>
              <c:layout>
                <c:manualLayout>
                  <c:x val="1.6875435588876296E-2"/>
                  <c:y val="6.9829488051794024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5030-40B3-B03A-F2D6AD04A0EA}"/>
                </c:ext>
              </c:extLst>
            </c:dLbl>
            <c:dLbl>
              <c:idx val="3"/>
              <c:layout>
                <c:manualLayout>
                  <c:x val="0"/>
                  <c:y val="1.442873869016417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5030-40B3-B03A-F2D6AD04A0EA}"/>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Visa izlase, n=323</c:v>
                </c:pt>
                <c:pt idx="1">
                  <c:v>Plānveida pārbaudes , n=203</c:v>
                </c:pt>
                <c:pt idx="2">
                  <c:v>Zvejas kontrole, n=55</c:v>
                </c:pt>
                <c:pt idx="3">
                  <c:v>Pārbaudes radiācijas drošībā, n=65</c:v>
                </c:pt>
              </c:strCache>
            </c:strRef>
          </c:cat>
          <c:val>
            <c:numRef>
              <c:f>Sheet1!$F$2:$F$5</c:f>
              <c:numCache>
                <c:formatCode>0</c:formatCode>
                <c:ptCount val="4"/>
                <c:pt idx="0">
                  <c:v>2.1468015139293861</c:v>
                </c:pt>
                <c:pt idx="1">
                  <c:v>2.4630541871921086</c:v>
                </c:pt>
                <c:pt idx="2">
                  <c:v>1.8181818181818181</c:v>
                </c:pt>
              </c:numCache>
            </c:numRef>
          </c:val>
          <c:extLst>
            <c:ext xmlns:c16="http://schemas.microsoft.com/office/drawing/2014/chart" uri="{C3380CC4-5D6E-409C-BE32-E72D297353CC}">
              <c16:uniqueId val="{0000000C-5030-40B3-B03A-F2D6AD04A0EA}"/>
            </c:ext>
          </c:extLst>
        </c:ser>
        <c:dLbls>
          <c:showLegendKey val="0"/>
          <c:showVal val="0"/>
          <c:showCatName val="0"/>
          <c:showSerName val="0"/>
          <c:showPercent val="0"/>
          <c:showBubbleSize val="0"/>
        </c:dLbls>
        <c:gapWidth val="53"/>
        <c:overlap val="100"/>
        <c:axId val="-34850368"/>
        <c:axId val="-34840032"/>
      </c:barChart>
      <c:catAx>
        <c:axId val="-3485036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34840032"/>
        <c:crosses val="max"/>
        <c:auto val="1"/>
        <c:lblAlgn val="ctr"/>
        <c:lblOffset val="100"/>
        <c:noMultiLvlLbl val="0"/>
      </c:catAx>
      <c:valAx>
        <c:axId val="-34840032"/>
        <c:scaling>
          <c:orientation val="maxMin"/>
          <c:max val="100"/>
        </c:scaling>
        <c:delete val="1"/>
        <c:axPos val="l"/>
        <c:numFmt formatCode="0" sourceLinked="1"/>
        <c:majorTickMark val="out"/>
        <c:minorTickMark val="none"/>
        <c:tickLblPos val="nextTo"/>
        <c:crossAx val="-34850368"/>
        <c:crosses val="autoZero"/>
        <c:crossBetween val="between"/>
      </c:valAx>
      <c:spPr>
        <a:noFill/>
        <a:ln>
          <a:noFill/>
        </a:ln>
        <a:effectLst/>
      </c:spPr>
    </c:plotArea>
    <c:legend>
      <c:legendPos val="b"/>
      <c:layout>
        <c:manualLayout>
          <c:xMode val="edge"/>
          <c:yMode val="edge"/>
          <c:x val="0.77148053446768428"/>
          <c:y val="2.8179170711413117E-3"/>
          <c:w val="0.19462227260738102"/>
          <c:h val="0.87650689224795453"/>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lv-LV"/>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Column1</c:v>
                </c:pt>
              </c:strCache>
            </c:strRef>
          </c:tx>
          <c:spPr>
            <a:gradFill flip="none" rotWithShape="1">
              <a:gsLst>
                <a:gs pos="0">
                  <a:srgbClr val="FC275A">
                    <a:shade val="30000"/>
                    <a:satMod val="115000"/>
                  </a:srgbClr>
                </a:gs>
                <a:gs pos="50000">
                  <a:srgbClr val="FC275A">
                    <a:shade val="67500"/>
                    <a:satMod val="115000"/>
                  </a:srgbClr>
                </a:gs>
                <a:gs pos="100000">
                  <a:srgbClr val="FC275A">
                    <a:shade val="100000"/>
                    <a:satMod val="115000"/>
                  </a:srgbClr>
                </a:gs>
              </a:gsLst>
              <a:lin ang="5400000" scaled="1"/>
              <a:tileRect/>
            </a:gradFill>
            <a:ln>
              <a:noFill/>
            </a:ln>
            <a:effectLst>
              <a:outerShdw blurRad="50800" dist="38100" dir="2700000" algn="tl" rotWithShape="0">
                <a:prstClr val="black">
                  <a:alpha val="40000"/>
                </a:prstClr>
              </a:outerShdw>
            </a:effectLst>
          </c:spPr>
          <c:invertIfNegative val="0"/>
          <c:cat>
            <c:strRef>
              <c:f>Sheet1!$A$2:$A$5</c:f>
              <c:strCache>
                <c:ptCount val="4"/>
                <c:pt idx="0">
                  <c:v>Sarunas uzsākšana</c:v>
                </c:pt>
                <c:pt idx="1">
                  <c:v>Profesionalitāte</c:v>
                </c:pt>
                <c:pt idx="2">
                  <c:v>Sarunas nobeigums</c:v>
                </c:pt>
                <c:pt idx="3">
                  <c:v>Attieksme</c:v>
                </c:pt>
              </c:strCache>
            </c:strRef>
          </c:cat>
          <c:val>
            <c:numRef>
              <c:f>Sheet1!$B$2:$B$5</c:f>
              <c:numCache>
                <c:formatCode>0%</c:formatCode>
                <c:ptCount val="4"/>
                <c:pt idx="0">
                  <c:v>0.93</c:v>
                </c:pt>
                <c:pt idx="1">
                  <c:v>1</c:v>
                </c:pt>
                <c:pt idx="2">
                  <c:v>0.7</c:v>
                </c:pt>
                <c:pt idx="3">
                  <c:v>1</c:v>
                </c:pt>
              </c:numCache>
            </c:numRef>
          </c:val>
          <c:extLst>
            <c:ext xmlns:c16="http://schemas.microsoft.com/office/drawing/2014/chart" uri="{C3380CC4-5D6E-409C-BE32-E72D297353CC}">
              <c16:uniqueId val="{00000000-1A3A-4430-B19D-1CE0866FA4E9}"/>
            </c:ext>
          </c:extLst>
        </c:ser>
        <c:dLbls>
          <c:showLegendKey val="0"/>
          <c:showVal val="0"/>
          <c:showCatName val="0"/>
          <c:showSerName val="0"/>
          <c:showPercent val="0"/>
          <c:showBubbleSize val="0"/>
        </c:dLbls>
        <c:gapWidth val="219"/>
        <c:overlap val="-27"/>
        <c:axId val="-1406692768"/>
        <c:axId val="-1406696576"/>
      </c:barChart>
      <c:catAx>
        <c:axId val="-140669276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1" i="0" u="none" strike="noStrike" kern="1200" baseline="0">
                <a:solidFill>
                  <a:schemeClr val="tx1">
                    <a:lumMod val="65000"/>
                    <a:lumOff val="35000"/>
                  </a:schemeClr>
                </a:solidFill>
                <a:latin typeface="+mn-lt"/>
                <a:ea typeface="+mn-ea"/>
                <a:cs typeface="+mn-cs"/>
              </a:defRPr>
            </a:pPr>
            <a:endParaRPr lang="en-US"/>
          </a:p>
        </c:txPr>
        <c:crossAx val="-1406696576"/>
        <c:crosses val="autoZero"/>
        <c:auto val="1"/>
        <c:lblAlgn val="ctr"/>
        <c:lblOffset val="100"/>
        <c:noMultiLvlLbl val="0"/>
      </c:catAx>
      <c:valAx>
        <c:axId val="-1406696576"/>
        <c:scaling>
          <c:orientation val="minMax"/>
          <c:max val="1"/>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4066927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lv-LV"/>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234834517866339E-2"/>
          <c:y val="0"/>
          <c:w val="0.67122543545638491"/>
          <c:h val="0.88045404301592767"/>
        </c:manualLayout>
      </c:layout>
      <c:barChart>
        <c:barDir val="col"/>
        <c:grouping val="stacked"/>
        <c:varyColors val="0"/>
        <c:ser>
          <c:idx val="0"/>
          <c:order val="0"/>
          <c:tx>
            <c:strRef>
              <c:f>Sheet1!$B$1</c:f>
              <c:strCache>
                <c:ptCount val="1"/>
                <c:pt idx="0">
                  <c:v>Klātienē</c:v>
                </c:pt>
              </c:strCache>
            </c:strRef>
          </c:tx>
          <c:spPr>
            <a:solidFill>
              <a:srgbClr val="FF9900"/>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Visa izlase, n=323</c:v>
                </c:pt>
                <c:pt idx="1">
                  <c:v>Plānveida pārbaudes , n=203</c:v>
                </c:pt>
                <c:pt idx="2">
                  <c:v>Zvejas kontrole, n=55</c:v>
                </c:pt>
                <c:pt idx="3">
                  <c:v>Pārbaudes radiācijas drošībā, n=65</c:v>
                </c:pt>
              </c:strCache>
            </c:strRef>
          </c:cat>
          <c:val>
            <c:numRef>
              <c:f>Sheet1!$B$2:$B$5</c:f>
              <c:numCache>
                <c:formatCode>0</c:formatCode>
                <c:ptCount val="4"/>
                <c:pt idx="0">
                  <c:v>68.381212384438868</c:v>
                </c:pt>
                <c:pt idx="1">
                  <c:v>64.532019704433225</c:v>
                </c:pt>
                <c:pt idx="2">
                  <c:v>85.454545454545496</c:v>
                </c:pt>
                <c:pt idx="3">
                  <c:v>38.461538461538396</c:v>
                </c:pt>
              </c:numCache>
            </c:numRef>
          </c:val>
          <c:extLst>
            <c:ext xmlns:c16="http://schemas.microsoft.com/office/drawing/2014/chart" uri="{C3380CC4-5D6E-409C-BE32-E72D297353CC}">
              <c16:uniqueId val="{00000000-42EC-4235-A7E8-039A3E20F9AD}"/>
            </c:ext>
          </c:extLst>
        </c:ser>
        <c:ser>
          <c:idx val="1"/>
          <c:order val="1"/>
          <c:tx>
            <c:strRef>
              <c:f>Sheet1!$C$1</c:f>
              <c:strCache>
                <c:ptCount val="1"/>
                <c:pt idx="0">
                  <c:v>Attālināti</c:v>
                </c:pt>
              </c:strCache>
            </c:strRef>
          </c:tx>
          <c:spPr>
            <a:solidFill>
              <a:schemeClr val="accent1"/>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Visa izlase, n=323</c:v>
                </c:pt>
                <c:pt idx="1">
                  <c:v>Plānveida pārbaudes , n=203</c:v>
                </c:pt>
                <c:pt idx="2">
                  <c:v>Zvejas kontrole, n=55</c:v>
                </c:pt>
                <c:pt idx="3">
                  <c:v>Pārbaudes radiācijas drošībā, n=65</c:v>
                </c:pt>
              </c:strCache>
            </c:strRef>
          </c:cat>
          <c:val>
            <c:numRef>
              <c:f>Sheet1!$C$2:$C$5</c:f>
              <c:numCache>
                <c:formatCode>0</c:formatCode>
                <c:ptCount val="4"/>
                <c:pt idx="0">
                  <c:v>14.233418129924882</c:v>
                </c:pt>
                <c:pt idx="1">
                  <c:v>12.807881773398956</c:v>
                </c:pt>
                <c:pt idx="2">
                  <c:v>9.0909090909090899</c:v>
                </c:pt>
                <c:pt idx="3">
                  <c:v>52.307692307692257</c:v>
                </c:pt>
              </c:numCache>
            </c:numRef>
          </c:val>
          <c:extLst>
            <c:ext xmlns:c16="http://schemas.microsoft.com/office/drawing/2014/chart" uri="{C3380CC4-5D6E-409C-BE32-E72D297353CC}">
              <c16:uniqueId val="{00000001-42EC-4235-A7E8-039A3E20F9AD}"/>
            </c:ext>
          </c:extLst>
        </c:ser>
        <c:ser>
          <c:idx val="2"/>
          <c:order val="2"/>
          <c:tx>
            <c:strRef>
              <c:f>Sheet1!$D$1</c:f>
              <c:strCache>
                <c:ptCount val="1"/>
                <c:pt idx="0">
                  <c:v>Abējādi – gan klātienē, gan attālināti</c:v>
                </c:pt>
              </c:strCache>
            </c:strRef>
          </c:tx>
          <c:spPr>
            <a:solidFill>
              <a:schemeClr val="bg2">
                <a:lumMod val="75000"/>
              </a:schemeClr>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Visa izlase, n=323</c:v>
                </c:pt>
                <c:pt idx="1">
                  <c:v>Plānveida pārbaudes , n=203</c:v>
                </c:pt>
                <c:pt idx="2">
                  <c:v>Zvejas kontrole, n=55</c:v>
                </c:pt>
                <c:pt idx="3">
                  <c:v>Pārbaudes radiācijas drošībā, n=65</c:v>
                </c:pt>
              </c:strCache>
            </c:strRef>
          </c:cat>
          <c:val>
            <c:numRef>
              <c:f>Sheet1!$D$2:$D$5</c:f>
              <c:numCache>
                <c:formatCode>0</c:formatCode>
                <c:ptCount val="4"/>
                <c:pt idx="0">
                  <c:v>17.385369485636232</c:v>
                </c:pt>
                <c:pt idx="1">
                  <c:v>22.660098522167374</c:v>
                </c:pt>
                <c:pt idx="2">
                  <c:v>5.4545454545454541</c:v>
                </c:pt>
                <c:pt idx="3">
                  <c:v>9.2307692307692193</c:v>
                </c:pt>
              </c:numCache>
            </c:numRef>
          </c:val>
          <c:extLst>
            <c:ext xmlns:c16="http://schemas.microsoft.com/office/drawing/2014/chart" uri="{C3380CC4-5D6E-409C-BE32-E72D297353CC}">
              <c16:uniqueId val="{00000002-42EC-4235-A7E8-039A3E20F9AD}"/>
            </c:ext>
          </c:extLst>
        </c:ser>
        <c:dLbls>
          <c:showLegendKey val="0"/>
          <c:showVal val="0"/>
          <c:showCatName val="0"/>
          <c:showSerName val="0"/>
          <c:showPercent val="0"/>
          <c:showBubbleSize val="0"/>
        </c:dLbls>
        <c:gapWidth val="53"/>
        <c:overlap val="100"/>
        <c:axId val="-1577564288"/>
        <c:axId val="-1577555584"/>
      </c:barChart>
      <c:catAx>
        <c:axId val="-157756428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1577555584"/>
        <c:crosses val="max"/>
        <c:auto val="1"/>
        <c:lblAlgn val="ctr"/>
        <c:lblOffset val="100"/>
        <c:noMultiLvlLbl val="0"/>
      </c:catAx>
      <c:valAx>
        <c:axId val="-1577555584"/>
        <c:scaling>
          <c:orientation val="maxMin"/>
          <c:max val="100"/>
        </c:scaling>
        <c:delete val="1"/>
        <c:axPos val="l"/>
        <c:numFmt formatCode="0" sourceLinked="1"/>
        <c:majorTickMark val="out"/>
        <c:minorTickMark val="none"/>
        <c:tickLblPos val="nextTo"/>
        <c:crossAx val="-1577564288"/>
        <c:crosses val="autoZero"/>
        <c:crossBetween val="between"/>
      </c:valAx>
      <c:spPr>
        <a:noFill/>
        <a:ln>
          <a:noFill/>
        </a:ln>
        <a:effectLst/>
      </c:spPr>
    </c:plotArea>
    <c:legend>
      <c:legendPos val="b"/>
      <c:layout>
        <c:manualLayout>
          <c:xMode val="edge"/>
          <c:yMode val="edge"/>
          <c:x val="0.72969598491784349"/>
          <c:y val="0.17203213705375875"/>
          <c:w val="0.19462227260738102"/>
          <c:h val="0.53849550775841248"/>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lv-LV"/>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7068044694740379"/>
          <c:y val="9.8136335193307112E-2"/>
          <c:w val="0.60903332417551981"/>
          <c:h val="0.78798025669235494"/>
        </c:manualLayout>
      </c:layout>
      <c:barChart>
        <c:barDir val="bar"/>
        <c:grouping val="percentStacked"/>
        <c:varyColors val="0"/>
        <c:ser>
          <c:idx val="0"/>
          <c:order val="0"/>
          <c:tx>
            <c:strRef>
              <c:f>Sheet1!$B$1</c:f>
              <c:strCache>
                <c:ptCount val="1"/>
                <c:pt idx="0">
                  <c:v>Pilnībā piekrītu</c:v>
                </c:pt>
              </c:strCache>
            </c:strRef>
          </c:tx>
          <c:spPr>
            <a:solidFill>
              <a:schemeClr val="accent1"/>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Visa izlase, n=120</c:v>
                </c:pt>
                <c:pt idx="1">
                  <c:v>Plānveida pārbaudes , n=72</c:v>
                </c:pt>
                <c:pt idx="2">
                  <c:v>Pārbaudes radiācijas drošībā, n=40*</c:v>
                </c:pt>
              </c:strCache>
            </c:strRef>
          </c:cat>
          <c:val>
            <c:numRef>
              <c:f>Sheet1!$B$2:$B$4</c:f>
              <c:numCache>
                <c:formatCode>0</c:formatCode>
                <c:ptCount val="3"/>
                <c:pt idx="0">
                  <c:v>41.267660910518096</c:v>
                </c:pt>
                <c:pt idx="1">
                  <c:v>44.444444444444464</c:v>
                </c:pt>
                <c:pt idx="2">
                  <c:v>62.499999999999943</c:v>
                </c:pt>
              </c:numCache>
            </c:numRef>
          </c:val>
          <c:extLst>
            <c:ext xmlns:c16="http://schemas.microsoft.com/office/drawing/2014/chart" uri="{C3380CC4-5D6E-409C-BE32-E72D297353CC}">
              <c16:uniqueId val="{00000000-9480-4CFC-92EF-A4612A96E5F1}"/>
            </c:ext>
          </c:extLst>
        </c:ser>
        <c:ser>
          <c:idx val="1"/>
          <c:order val="1"/>
          <c:tx>
            <c:strRef>
              <c:f>Sheet1!$C$1</c:f>
              <c:strCache>
                <c:ptCount val="1"/>
                <c:pt idx="0">
                  <c:v>Lielā mērā  piekrītu</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Visa izlase, n=120</c:v>
                </c:pt>
                <c:pt idx="1">
                  <c:v>Plānveida pārbaudes , n=72</c:v>
                </c:pt>
                <c:pt idx="2">
                  <c:v>Pārbaudes radiācijas drošībā, n=40*</c:v>
                </c:pt>
              </c:strCache>
            </c:strRef>
          </c:cat>
          <c:val>
            <c:numRef>
              <c:f>Sheet1!$C$2:$C$4</c:f>
              <c:numCache>
                <c:formatCode>0</c:formatCode>
                <c:ptCount val="3"/>
                <c:pt idx="0">
                  <c:v>24.411302982731598</c:v>
                </c:pt>
                <c:pt idx="1">
                  <c:v>25.000000000000028</c:v>
                </c:pt>
                <c:pt idx="2">
                  <c:v>19.999999999999986</c:v>
                </c:pt>
              </c:numCache>
            </c:numRef>
          </c:val>
          <c:extLst>
            <c:ext xmlns:c16="http://schemas.microsoft.com/office/drawing/2014/chart" uri="{C3380CC4-5D6E-409C-BE32-E72D297353CC}">
              <c16:uniqueId val="{00000001-9480-4CFC-92EF-A4612A96E5F1}"/>
            </c:ext>
          </c:extLst>
        </c:ser>
        <c:ser>
          <c:idx val="2"/>
          <c:order val="2"/>
          <c:tx>
            <c:strRef>
              <c:f>Sheet1!$D$1</c:f>
              <c:strCache>
                <c:ptCount val="1"/>
                <c:pt idx="0">
                  <c:v>Drīzāk piekrītu</c:v>
                </c:pt>
              </c:strCache>
            </c:strRef>
          </c:tx>
          <c:spPr>
            <a:solidFill>
              <a:schemeClr val="accent3"/>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Visa izlase, n=120</c:v>
                </c:pt>
                <c:pt idx="1">
                  <c:v>Plānveida pārbaudes , n=72</c:v>
                </c:pt>
                <c:pt idx="2">
                  <c:v>Pārbaudes radiācijas drošībā, n=40*</c:v>
                </c:pt>
              </c:strCache>
            </c:strRef>
          </c:cat>
          <c:val>
            <c:numRef>
              <c:f>Sheet1!$D$2:$D$4</c:f>
              <c:numCache>
                <c:formatCode>0</c:formatCode>
                <c:ptCount val="3"/>
                <c:pt idx="0">
                  <c:v>20.310047095761419</c:v>
                </c:pt>
                <c:pt idx="1">
                  <c:v>18.055555555555578</c:v>
                </c:pt>
                <c:pt idx="2">
                  <c:v>17.499999999999989</c:v>
                </c:pt>
              </c:numCache>
            </c:numRef>
          </c:val>
          <c:extLst>
            <c:ext xmlns:c16="http://schemas.microsoft.com/office/drawing/2014/chart" uri="{C3380CC4-5D6E-409C-BE32-E72D297353CC}">
              <c16:uniqueId val="{00000002-9480-4CFC-92EF-A4612A96E5F1}"/>
            </c:ext>
          </c:extLst>
        </c:ser>
        <c:ser>
          <c:idx val="3"/>
          <c:order val="3"/>
          <c:tx>
            <c:strRef>
              <c:f>Sheet1!$E$1</c:f>
              <c:strCache>
                <c:ptCount val="1"/>
                <c:pt idx="0">
                  <c:v>Drīzāk nepiekrītu</c:v>
                </c:pt>
              </c:strCache>
            </c:strRef>
          </c:tx>
          <c:spPr>
            <a:solidFill>
              <a:schemeClr val="accent4"/>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Visa izlase, n=120</c:v>
                </c:pt>
                <c:pt idx="1">
                  <c:v>Plānveida pārbaudes , n=72</c:v>
                </c:pt>
                <c:pt idx="2">
                  <c:v>Pārbaudes radiācijas drošībā, n=40*</c:v>
                </c:pt>
              </c:strCache>
            </c:strRef>
          </c:cat>
          <c:val>
            <c:numRef>
              <c:f>Sheet1!$E$2:$E$4</c:f>
              <c:numCache>
                <c:formatCode>General</c:formatCode>
                <c:ptCount val="3"/>
              </c:numCache>
            </c:numRef>
          </c:val>
          <c:extLst>
            <c:ext xmlns:c16="http://schemas.microsoft.com/office/drawing/2014/chart" uri="{C3380CC4-5D6E-409C-BE32-E72D297353CC}">
              <c16:uniqueId val="{00000003-9480-4CFC-92EF-A4612A96E5F1}"/>
            </c:ext>
          </c:extLst>
        </c:ser>
        <c:ser>
          <c:idx val="4"/>
          <c:order val="4"/>
          <c:tx>
            <c:strRef>
              <c:f>Sheet1!$F$1</c:f>
              <c:strCache>
                <c:ptCount val="1"/>
                <c:pt idx="0">
                  <c:v>Pilnībā nepiekrītu</c:v>
                </c:pt>
              </c:strCache>
            </c:strRef>
          </c:tx>
          <c:spPr>
            <a:solidFill>
              <a:schemeClr val="accent5"/>
            </a:solidFill>
            <a:ln>
              <a:noFill/>
            </a:ln>
            <a:effectLst/>
          </c:spPr>
          <c:invertIfNegative val="0"/>
          <c:dLbls>
            <c:dLbl>
              <c:idx val="0"/>
              <c:layout>
                <c:manualLayout>
                  <c:x val="5.5025144347367553E-3"/>
                  <c:y val="1.3324379350369148E-6"/>
                </c:manualLayout>
              </c:layout>
              <c:tx>
                <c:rich>
                  <a:bodyPr/>
                  <a:lstStyle/>
                  <a:p>
                    <a:fld id="{4BF6CF23-D790-4A5C-BDED-BDBE91B3A95C}" type="VALUE">
                      <a:rPr lang="en-US" sz="1200">
                        <a:solidFill>
                          <a:schemeClr val="bg1"/>
                        </a:solidFill>
                      </a:rPr>
                      <a:pPr/>
                      <a:t>[VĒRTĪBA]</a:t>
                    </a:fld>
                    <a:endParaRPr lang="en-GB"/>
                  </a:p>
                </c:rich>
              </c:tx>
              <c:showLegendKey val="0"/>
              <c:showVal val="1"/>
              <c:showCatName val="0"/>
              <c:showSerName val="0"/>
              <c:showPercent val="0"/>
              <c:showBubbleSize val="0"/>
              <c:extLst>
                <c:ext xmlns:c15="http://schemas.microsoft.com/office/drawing/2012/chart" uri="{CE6537A1-D6FC-4f65-9D91-7224C49458BB}">
                  <c15:layout>
                    <c:manualLayout>
                      <c:w val="2.6668650690195233E-2"/>
                      <c:h val="8.8934310217607837E-2"/>
                    </c:manualLayout>
                  </c15:layout>
                  <c15:dlblFieldTable/>
                  <c15:showDataLabelsRange val="0"/>
                </c:ext>
                <c:ext xmlns:c16="http://schemas.microsoft.com/office/drawing/2014/chart" uri="{C3380CC4-5D6E-409C-BE32-E72D297353CC}">
                  <c16:uniqueId val="{00000004-9480-4CFC-92EF-A4612A96E5F1}"/>
                </c:ext>
              </c:extLst>
            </c:dLbl>
            <c:dLbl>
              <c:idx val="1"/>
              <c:layout>
                <c:manualLayout>
                  <c:x val="-1.5277601289623992E-16"/>
                  <c:y val="8.0658512225511517E-7"/>
                </c:manualLayout>
              </c:layout>
              <c:tx>
                <c:rich>
                  <a:bodyPr/>
                  <a:lstStyle/>
                  <a:p>
                    <a:fld id="{24BCE490-AC51-48C3-8825-67A161DFF470}" type="VALUE">
                      <a:rPr lang="en-US">
                        <a:solidFill>
                          <a:schemeClr val="bg1"/>
                        </a:solidFill>
                      </a:rPr>
                      <a:pPr/>
                      <a:t>[VĒRTĪBA]</a:t>
                    </a:fld>
                    <a:endParaRPr lang="en-GB"/>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5-9480-4CFC-92EF-A4612A96E5F1}"/>
                </c:ext>
              </c:extLst>
            </c:dLbl>
            <c:numFmt formatCode="0\%" sourceLinked="0"/>
            <c:spPr>
              <a:noFill/>
              <a:ln>
                <a:noFill/>
              </a:ln>
              <a:effectLst/>
            </c:spPr>
            <c:txPr>
              <a:bodyPr/>
              <a:lstStyle/>
              <a:p>
                <a:pPr>
                  <a:defRPr sz="1200" b="0">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Visa izlase, n=120</c:v>
                </c:pt>
                <c:pt idx="1">
                  <c:v>Plānveida pārbaudes , n=72</c:v>
                </c:pt>
                <c:pt idx="2">
                  <c:v>Pārbaudes radiācijas drošībā, n=40*</c:v>
                </c:pt>
              </c:strCache>
            </c:strRef>
          </c:cat>
          <c:val>
            <c:numRef>
              <c:f>Sheet1!$F$2:$F$4</c:f>
              <c:numCache>
                <c:formatCode>0</c:formatCode>
                <c:ptCount val="3"/>
                <c:pt idx="0">
                  <c:v>2.1193092621664089</c:v>
                </c:pt>
                <c:pt idx="1">
                  <c:v>2.7777777777777812</c:v>
                </c:pt>
              </c:numCache>
            </c:numRef>
          </c:val>
          <c:extLst>
            <c:ext xmlns:c16="http://schemas.microsoft.com/office/drawing/2014/chart" uri="{C3380CC4-5D6E-409C-BE32-E72D297353CC}">
              <c16:uniqueId val="{00000008-9480-4CFC-92EF-A4612A96E5F1}"/>
            </c:ext>
          </c:extLst>
        </c:ser>
        <c:ser>
          <c:idx val="5"/>
          <c:order val="5"/>
          <c:tx>
            <c:strRef>
              <c:f>Sheet1!$G$1</c:f>
              <c:strCache>
                <c:ptCount val="1"/>
                <c:pt idx="0">
                  <c:v>Nevaru novērtēt</c:v>
                </c:pt>
              </c:strCache>
            </c:strRef>
          </c:tx>
          <c:spPr>
            <a:solidFill>
              <a:schemeClr val="bg1">
                <a:lumMod val="65000"/>
              </a:schemeClr>
            </a:solidFill>
          </c:spPr>
          <c:invertIfNegative val="0"/>
          <c:dLbls>
            <c:numFmt formatCode="0\%" sourceLinked="0"/>
            <c:spPr>
              <a:noFill/>
              <a:ln>
                <a:noFill/>
              </a:ln>
              <a:effectLst/>
            </c:spPr>
            <c:txPr>
              <a:bodyPr wrap="square" lIns="38100" tIns="19050" rIns="38100" bIns="19050" anchor="ctr">
                <a:spAutoFit/>
              </a:bodyPr>
              <a:lstStyle/>
              <a:p>
                <a:pPr>
                  <a:defRPr sz="1200">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Visa izlase, n=120</c:v>
                </c:pt>
                <c:pt idx="1">
                  <c:v>Plānveida pārbaudes , n=72</c:v>
                </c:pt>
                <c:pt idx="2">
                  <c:v>Pārbaudes radiācijas drošībā, n=40*</c:v>
                </c:pt>
              </c:strCache>
            </c:strRef>
          </c:cat>
          <c:val>
            <c:numRef>
              <c:f>Sheet1!$G$2:$G$4</c:f>
              <c:numCache>
                <c:formatCode>0</c:formatCode>
                <c:ptCount val="3"/>
                <c:pt idx="0">
                  <c:v>11.891679748822627</c:v>
                </c:pt>
                <c:pt idx="1">
                  <c:v>9.7222222222222339</c:v>
                </c:pt>
              </c:numCache>
            </c:numRef>
          </c:val>
          <c:extLst>
            <c:ext xmlns:c16="http://schemas.microsoft.com/office/drawing/2014/chart" uri="{C3380CC4-5D6E-409C-BE32-E72D297353CC}">
              <c16:uniqueId val="{00000009-9480-4CFC-92EF-A4612A96E5F1}"/>
            </c:ext>
          </c:extLst>
        </c:ser>
        <c:dLbls>
          <c:showLegendKey val="0"/>
          <c:showVal val="0"/>
          <c:showCatName val="0"/>
          <c:showSerName val="0"/>
          <c:showPercent val="0"/>
          <c:showBubbleSize val="0"/>
        </c:dLbls>
        <c:gapWidth val="41"/>
        <c:overlap val="100"/>
        <c:axId val="-1577555040"/>
        <c:axId val="-1577563744"/>
      </c:barChart>
      <c:catAx>
        <c:axId val="-1577555040"/>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lgn="r">
              <a:defRPr sz="1300" b="0" i="0" u="none" strike="noStrike" kern="1200" baseline="0">
                <a:solidFill>
                  <a:schemeClr val="tx1"/>
                </a:solidFill>
                <a:latin typeface="+mn-lt"/>
                <a:ea typeface="+mn-ea"/>
                <a:cs typeface="+mn-cs"/>
              </a:defRPr>
            </a:pPr>
            <a:endParaRPr lang="en-US"/>
          </a:p>
        </c:txPr>
        <c:crossAx val="-1577563744"/>
        <c:crosses val="autoZero"/>
        <c:auto val="1"/>
        <c:lblAlgn val="ctr"/>
        <c:lblOffset val="100"/>
        <c:noMultiLvlLbl val="0"/>
      </c:catAx>
      <c:valAx>
        <c:axId val="-1577563744"/>
        <c:scaling>
          <c:orientation val="minMax"/>
        </c:scaling>
        <c:delete val="1"/>
        <c:axPos val="t"/>
        <c:numFmt formatCode="0%" sourceLinked="1"/>
        <c:majorTickMark val="none"/>
        <c:minorTickMark val="none"/>
        <c:tickLblPos val="nextTo"/>
        <c:crossAx val="-1577555040"/>
        <c:crosses val="autoZero"/>
        <c:crossBetween val="between"/>
      </c:valAx>
      <c:spPr>
        <a:noFill/>
        <a:ln>
          <a:noFill/>
        </a:ln>
        <a:effectLst/>
      </c:spPr>
    </c:plotArea>
    <c:legend>
      <c:legendPos val="t"/>
      <c:layout>
        <c:manualLayout>
          <c:xMode val="edge"/>
          <c:yMode val="edge"/>
          <c:x val="0.19455963638628376"/>
          <c:y val="7.2480914061526985E-2"/>
          <c:w val="0.68304165372239634"/>
          <c:h val="4.323991011337501E-2"/>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lv-LV"/>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1283144856180145"/>
          <c:y val="0.12547864131599862"/>
          <c:w val="0.60903332417551981"/>
          <c:h val="0.76123907410509961"/>
        </c:manualLayout>
      </c:layout>
      <c:barChart>
        <c:barDir val="bar"/>
        <c:grouping val="percentStacked"/>
        <c:varyColors val="0"/>
        <c:ser>
          <c:idx val="0"/>
          <c:order val="0"/>
          <c:tx>
            <c:strRef>
              <c:f>Sheet1!$B$1</c:f>
              <c:strCache>
                <c:ptCount val="1"/>
                <c:pt idx="0">
                  <c:v>Pilnībā piekrītu</c:v>
                </c:pt>
              </c:strCache>
            </c:strRef>
          </c:tx>
          <c:spPr>
            <a:solidFill>
              <a:schemeClr val="accent1"/>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Visa izlase, n=120</c:v>
                </c:pt>
                <c:pt idx="1">
                  <c:v>Plānveida pārbaudes , n=72</c:v>
                </c:pt>
                <c:pt idx="2">
                  <c:v>Pārbaudes radiācijas drošībā, n=40*</c:v>
                </c:pt>
              </c:strCache>
            </c:strRef>
          </c:cat>
          <c:val>
            <c:numRef>
              <c:f>Sheet1!$B$2:$B$4</c:f>
              <c:numCache>
                <c:formatCode>0</c:formatCode>
                <c:ptCount val="3"/>
                <c:pt idx="0">
                  <c:v>36.32260596546314</c:v>
                </c:pt>
                <c:pt idx="1">
                  <c:v>40.2777777777778</c:v>
                </c:pt>
                <c:pt idx="2">
                  <c:v>47.499999999999957</c:v>
                </c:pt>
              </c:numCache>
            </c:numRef>
          </c:val>
          <c:extLst>
            <c:ext xmlns:c16="http://schemas.microsoft.com/office/drawing/2014/chart" uri="{C3380CC4-5D6E-409C-BE32-E72D297353CC}">
              <c16:uniqueId val="{00000000-9480-4CFC-92EF-A4612A96E5F1}"/>
            </c:ext>
          </c:extLst>
        </c:ser>
        <c:ser>
          <c:idx val="1"/>
          <c:order val="1"/>
          <c:tx>
            <c:strRef>
              <c:f>Sheet1!$C$1</c:f>
              <c:strCache>
                <c:ptCount val="1"/>
                <c:pt idx="0">
                  <c:v>Lielā mērā  piekrītu</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Visa izlase, n=120</c:v>
                </c:pt>
                <c:pt idx="1">
                  <c:v>Plānveida pārbaudes , n=72</c:v>
                </c:pt>
                <c:pt idx="2">
                  <c:v>Pārbaudes radiācijas drošībā, n=40*</c:v>
                </c:pt>
              </c:strCache>
            </c:strRef>
          </c:cat>
          <c:val>
            <c:numRef>
              <c:f>Sheet1!$C$2:$C$4</c:f>
              <c:numCache>
                <c:formatCode>0</c:formatCode>
                <c:ptCount val="3"/>
                <c:pt idx="0">
                  <c:v>37.970957613814811</c:v>
                </c:pt>
                <c:pt idx="1">
                  <c:v>38.888888888888914</c:v>
                </c:pt>
                <c:pt idx="2">
                  <c:v>32.499999999999972</c:v>
                </c:pt>
              </c:numCache>
            </c:numRef>
          </c:val>
          <c:extLst>
            <c:ext xmlns:c16="http://schemas.microsoft.com/office/drawing/2014/chart" uri="{C3380CC4-5D6E-409C-BE32-E72D297353CC}">
              <c16:uniqueId val="{00000001-9480-4CFC-92EF-A4612A96E5F1}"/>
            </c:ext>
          </c:extLst>
        </c:ser>
        <c:ser>
          <c:idx val="2"/>
          <c:order val="2"/>
          <c:tx>
            <c:strRef>
              <c:f>Sheet1!$D$1</c:f>
              <c:strCache>
                <c:ptCount val="1"/>
                <c:pt idx="0">
                  <c:v>Drīzāk piekrītu</c:v>
                </c:pt>
              </c:strCache>
            </c:strRef>
          </c:tx>
          <c:spPr>
            <a:solidFill>
              <a:schemeClr val="accent3"/>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Visa izlase, n=120</c:v>
                </c:pt>
                <c:pt idx="1">
                  <c:v>Plānveida pārbaudes , n=72</c:v>
                </c:pt>
                <c:pt idx="2">
                  <c:v>Pārbaudes radiācijas drošībā, n=40*</c:v>
                </c:pt>
              </c:strCache>
            </c:strRef>
          </c:cat>
          <c:val>
            <c:numRef>
              <c:f>Sheet1!$D$2:$D$4</c:f>
              <c:numCache>
                <c:formatCode>0</c:formatCode>
                <c:ptCount val="3"/>
                <c:pt idx="0">
                  <c:v>14.285714285714313</c:v>
                </c:pt>
                <c:pt idx="1">
                  <c:v>12.500000000000016</c:v>
                </c:pt>
                <c:pt idx="2">
                  <c:v>14.999999999999991</c:v>
                </c:pt>
              </c:numCache>
            </c:numRef>
          </c:val>
          <c:extLst>
            <c:ext xmlns:c16="http://schemas.microsoft.com/office/drawing/2014/chart" uri="{C3380CC4-5D6E-409C-BE32-E72D297353CC}">
              <c16:uniqueId val="{00000002-9480-4CFC-92EF-A4612A96E5F1}"/>
            </c:ext>
          </c:extLst>
        </c:ser>
        <c:ser>
          <c:idx val="3"/>
          <c:order val="3"/>
          <c:tx>
            <c:strRef>
              <c:f>Sheet1!$E$1</c:f>
              <c:strCache>
                <c:ptCount val="1"/>
                <c:pt idx="0">
                  <c:v>Drīzāk nepiekrītu</c:v>
                </c:pt>
              </c:strCache>
            </c:strRef>
          </c:tx>
          <c:spPr>
            <a:solidFill>
              <a:schemeClr val="accent4"/>
            </a:solidFill>
            <a:ln>
              <a:noFill/>
            </a:ln>
            <a:effectLst/>
          </c:spPr>
          <c:invertIfNegative val="0"/>
          <c:dLbls>
            <c:dLbl>
              <c:idx val="0"/>
              <c:layout>
                <c:manualLayout>
                  <c:x val="0"/>
                  <c:y val="4.8885667350059281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E47-42D6-9702-C0A74411D174}"/>
                </c:ext>
              </c:extLst>
            </c:dLbl>
            <c:dLbl>
              <c:idx val="1"/>
              <c:layout>
                <c:manualLayout>
                  <c:x val="0"/>
                  <c:y val="4.1365091547369059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1E47-42D6-9702-C0A74411D174}"/>
                </c:ext>
              </c:extLst>
            </c:dLbl>
            <c:dLbl>
              <c:idx val="2"/>
              <c:layout>
                <c:manualLayout>
                  <c:x val="-5.1632891003825449E-3"/>
                  <c:y val="0"/>
                </c:manualLayout>
              </c:layout>
              <c:showLegendKey val="0"/>
              <c:showVal val="1"/>
              <c:showCatName val="0"/>
              <c:showSerName val="0"/>
              <c:showPercent val="0"/>
              <c:showBubbleSize val="0"/>
              <c:extLst>
                <c:ext xmlns:c15="http://schemas.microsoft.com/office/drawing/2012/chart" uri="{CE6537A1-D6FC-4f65-9D91-7224C49458BB}">
                  <c15:layout>
                    <c:manualLayout>
                      <c:w val="2.6617017290988657E-2"/>
                      <c:h val="6.6221277079580296E-2"/>
                    </c:manualLayout>
                  </c15:layout>
                </c:ext>
                <c:ext xmlns:c16="http://schemas.microsoft.com/office/drawing/2014/chart" uri="{C3380CC4-5D6E-409C-BE32-E72D297353CC}">
                  <c16:uniqueId val="{00000002-1E47-42D6-9702-C0A74411D174}"/>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Visa izlase, n=120</c:v>
                </c:pt>
                <c:pt idx="1">
                  <c:v>Plānveida pārbaudes , n=72</c:v>
                </c:pt>
                <c:pt idx="2">
                  <c:v>Pārbaudes radiācijas drošībā, n=40*</c:v>
                </c:pt>
              </c:strCache>
            </c:strRef>
          </c:cat>
          <c:val>
            <c:numRef>
              <c:f>Sheet1!$E$2:$E$4</c:f>
              <c:numCache>
                <c:formatCode>0</c:formatCode>
                <c:ptCount val="3"/>
                <c:pt idx="0">
                  <c:v>1.3540031397174279</c:v>
                </c:pt>
                <c:pt idx="1">
                  <c:v>1.3888888888888906</c:v>
                </c:pt>
                <c:pt idx="2">
                  <c:v>2.4999999999999982</c:v>
                </c:pt>
              </c:numCache>
            </c:numRef>
          </c:val>
          <c:extLst>
            <c:ext xmlns:c16="http://schemas.microsoft.com/office/drawing/2014/chart" uri="{C3380CC4-5D6E-409C-BE32-E72D297353CC}">
              <c16:uniqueId val="{00000003-9480-4CFC-92EF-A4612A96E5F1}"/>
            </c:ext>
          </c:extLst>
        </c:ser>
        <c:ser>
          <c:idx val="4"/>
          <c:order val="4"/>
          <c:tx>
            <c:strRef>
              <c:f>Sheet1!$F$1</c:f>
              <c:strCache>
                <c:ptCount val="1"/>
                <c:pt idx="0">
                  <c:v>Pilnībā nepiekrītu</c:v>
                </c:pt>
              </c:strCache>
            </c:strRef>
          </c:tx>
          <c:spPr>
            <a:solidFill>
              <a:schemeClr val="accent5"/>
            </a:solidFill>
            <a:ln>
              <a:noFill/>
            </a:ln>
            <a:effectLst/>
          </c:spPr>
          <c:invertIfNegative val="0"/>
          <c:dLbls>
            <c:dLbl>
              <c:idx val="0"/>
              <c:layout>
                <c:manualLayout>
                  <c:x val="4.2116794545722274E-3"/>
                  <c:y val="1.5043224286612764E-2"/>
                </c:manualLayout>
              </c:layout>
              <c:tx>
                <c:rich>
                  <a:bodyPr/>
                  <a:lstStyle/>
                  <a:p>
                    <a:fld id="{4BF6CF23-D790-4A5C-BDED-BDBE91B3A95C}" type="VALUE">
                      <a:rPr lang="en-US" sz="1200">
                        <a:solidFill>
                          <a:schemeClr val="bg1"/>
                        </a:solidFill>
                      </a:rPr>
                      <a:pPr/>
                      <a:t>[VĒRTĪBA]</a:t>
                    </a:fld>
                    <a:endParaRPr lang="en-GB"/>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4-9480-4CFC-92EF-A4612A96E5F1}"/>
                </c:ext>
              </c:extLst>
            </c:dLbl>
            <c:dLbl>
              <c:idx val="1"/>
              <c:layout>
                <c:manualLayout>
                  <c:x val="-1.5277601289623992E-16"/>
                  <c:y val="8.0658512225511517E-7"/>
                </c:manualLayout>
              </c:layout>
              <c:tx>
                <c:rich>
                  <a:bodyPr/>
                  <a:lstStyle/>
                  <a:p>
                    <a:fld id="{24BCE490-AC51-48C3-8825-67A161DFF470}" type="VALUE">
                      <a:rPr lang="en-US">
                        <a:solidFill>
                          <a:schemeClr val="bg1"/>
                        </a:solidFill>
                      </a:rPr>
                      <a:pPr/>
                      <a:t>[VĒRTĪBA]</a:t>
                    </a:fld>
                    <a:endParaRPr lang="en-GB"/>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5-9480-4CFC-92EF-A4612A96E5F1}"/>
                </c:ext>
              </c:extLst>
            </c:dLbl>
            <c:dLbl>
              <c:idx val="2"/>
              <c:layout>
                <c:manualLayout>
                  <c:x val="-1.2908349801643386E-3"/>
                  <c:y val="2.9609731903587791E-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E47-42D6-9702-C0A74411D174}"/>
                </c:ext>
              </c:extLst>
            </c:dLbl>
            <c:numFmt formatCode="0\%" sourceLinked="0"/>
            <c:spPr>
              <a:noFill/>
              <a:ln>
                <a:noFill/>
              </a:ln>
              <a:effectLst/>
            </c:spPr>
            <c:txPr>
              <a:bodyPr/>
              <a:lstStyle/>
              <a:p>
                <a:pPr>
                  <a:defRPr sz="1200" b="0">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Visa izlase, n=120</c:v>
                </c:pt>
                <c:pt idx="1">
                  <c:v>Plānveida pārbaudes , n=72</c:v>
                </c:pt>
                <c:pt idx="2">
                  <c:v>Pārbaudes radiācijas drošībā, n=40*</c:v>
                </c:pt>
              </c:strCache>
            </c:strRef>
          </c:cat>
          <c:val>
            <c:numRef>
              <c:f>Sheet1!$F$2:$F$4</c:f>
              <c:numCache>
                <c:formatCode>0</c:formatCode>
                <c:ptCount val="3"/>
                <c:pt idx="0">
                  <c:v>1.3540031397174279</c:v>
                </c:pt>
                <c:pt idx="1">
                  <c:v>1.3888888888888906</c:v>
                </c:pt>
                <c:pt idx="2">
                  <c:v>2.4999999999999982</c:v>
                </c:pt>
              </c:numCache>
            </c:numRef>
          </c:val>
          <c:extLst>
            <c:ext xmlns:c16="http://schemas.microsoft.com/office/drawing/2014/chart" uri="{C3380CC4-5D6E-409C-BE32-E72D297353CC}">
              <c16:uniqueId val="{00000008-9480-4CFC-92EF-A4612A96E5F1}"/>
            </c:ext>
          </c:extLst>
        </c:ser>
        <c:ser>
          <c:idx val="5"/>
          <c:order val="5"/>
          <c:tx>
            <c:strRef>
              <c:f>Sheet1!$G$1</c:f>
              <c:strCache>
                <c:ptCount val="1"/>
                <c:pt idx="0">
                  <c:v>Nevaru novērtēt</c:v>
                </c:pt>
              </c:strCache>
            </c:strRef>
          </c:tx>
          <c:spPr>
            <a:solidFill>
              <a:schemeClr val="bg1">
                <a:lumMod val="65000"/>
              </a:schemeClr>
            </a:solidFill>
          </c:spPr>
          <c:invertIfNegative val="0"/>
          <c:dLbls>
            <c:numFmt formatCode="0\%" sourceLinked="0"/>
            <c:spPr>
              <a:noFill/>
              <a:ln>
                <a:noFill/>
              </a:ln>
              <a:effectLst/>
            </c:spPr>
            <c:txPr>
              <a:bodyPr wrap="square" lIns="38100" tIns="19050" rIns="38100" bIns="19050" anchor="ctr">
                <a:spAutoFit/>
              </a:bodyPr>
              <a:lstStyle/>
              <a:p>
                <a:pPr>
                  <a:defRPr sz="1200">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Visa izlase, n=120</c:v>
                </c:pt>
                <c:pt idx="1">
                  <c:v>Plānveida pārbaudes , n=72</c:v>
                </c:pt>
                <c:pt idx="2">
                  <c:v>Pārbaudes radiācijas drošībā, n=40*</c:v>
                </c:pt>
              </c:strCache>
            </c:strRef>
          </c:cat>
          <c:val>
            <c:numRef>
              <c:f>Sheet1!$G$2:$G$4</c:f>
              <c:numCache>
                <c:formatCode>0</c:formatCode>
                <c:ptCount val="3"/>
                <c:pt idx="0">
                  <c:v>8.7127158555730126</c:v>
                </c:pt>
                <c:pt idx="1">
                  <c:v>5.5555555555555625</c:v>
                </c:pt>
              </c:numCache>
            </c:numRef>
          </c:val>
          <c:extLst>
            <c:ext xmlns:c16="http://schemas.microsoft.com/office/drawing/2014/chart" uri="{C3380CC4-5D6E-409C-BE32-E72D297353CC}">
              <c16:uniqueId val="{00000009-9480-4CFC-92EF-A4612A96E5F1}"/>
            </c:ext>
          </c:extLst>
        </c:ser>
        <c:dLbls>
          <c:showLegendKey val="0"/>
          <c:showVal val="0"/>
          <c:showCatName val="0"/>
          <c:showSerName val="0"/>
          <c:showPercent val="0"/>
          <c:showBubbleSize val="0"/>
        </c:dLbls>
        <c:gapWidth val="41"/>
        <c:overlap val="100"/>
        <c:axId val="-1577557216"/>
        <c:axId val="-1577562656"/>
      </c:barChart>
      <c:catAx>
        <c:axId val="-1577557216"/>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lgn="r">
              <a:defRPr sz="1300" b="0" i="0" u="none" strike="noStrike" kern="1200" baseline="0">
                <a:solidFill>
                  <a:schemeClr val="tx1"/>
                </a:solidFill>
                <a:latin typeface="+mn-lt"/>
                <a:ea typeface="+mn-ea"/>
                <a:cs typeface="+mn-cs"/>
              </a:defRPr>
            </a:pPr>
            <a:endParaRPr lang="en-US"/>
          </a:p>
        </c:txPr>
        <c:crossAx val="-1577562656"/>
        <c:crosses val="autoZero"/>
        <c:auto val="1"/>
        <c:lblAlgn val="ctr"/>
        <c:lblOffset val="100"/>
        <c:noMultiLvlLbl val="0"/>
      </c:catAx>
      <c:valAx>
        <c:axId val="-1577562656"/>
        <c:scaling>
          <c:orientation val="minMax"/>
        </c:scaling>
        <c:delete val="1"/>
        <c:axPos val="t"/>
        <c:numFmt formatCode="0%" sourceLinked="1"/>
        <c:majorTickMark val="none"/>
        <c:minorTickMark val="none"/>
        <c:tickLblPos val="nextTo"/>
        <c:crossAx val="-1577557216"/>
        <c:crosses val="autoZero"/>
        <c:crossBetween val="between"/>
      </c:valAx>
      <c:spPr>
        <a:noFill/>
        <a:ln>
          <a:noFill/>
        </a:ln>
        <a:effectLst/>
      </c:spPr>
    </c:plotArea>
    <c:legend>
      <c:legendPos val="t"/>
      <c:layout>
        <c:manualLayout>
          <c:xMode val="edge"/>
          <c:yMode val="edge"/>
          <c:x val="0.14010613990073495"/>
          <c:y val="9.3250816932502839E-2"/>
          <c:w val="0.69432109592034774"/>
          <c:h val="4.323991011337501E-2"/>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lv-LV"/>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9333149631635547"/>
          <c:y val="8.1026835554388665E-2"/>
          <c:w val="0.63363052805287789"/>
          <c:h val="0.85727304450077013"/>
        </c:manualLayout>
      </c:layout>
      <c:barChart>
        <c:barDir val="bar"/>
        <c:grouping val="percentStacked"/>
        <c:varyColors val="0"/>
        <c:ser>
          <c:idx val="0"/>
          <c:order val="0"/>
          <c:tx>
            <c:strRef>
              <c:f>Sheet1!$B$1</c:f>
              <c:strCache>
                <c:ptCount val="1"/>
                <c:pt idx="0">
                  <c:v>Pilnībā piekrītu</c:v>
                </c:pt>
              </c:strCache>
            </c:strRef>
          </c:tx>
          <c:spPr>
            <a:solidFill>
              <a:schemeClr val="accent1"/>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Visa izlase, n=120</c:v>
                </c:pt>
                <c:pt idx="1">
                  <c:v>Plānveida pārbaudes , n=72</c:v>
                </c:pt>
                <c:pt idx="2">
                  <c:v>Pārbaudes radiācijas drošībā, n=40*</c:v>
                </c:pt>
              </c:strCache>
            </c:strRef>
          </c:cat>
          <c:val>
            <c:numRef>
              <c:f>Sheet1!$B$2:$B$4</c:f>
              <c:numCache>
                <c:formatCode>0</c:formatCode>
                <c:ptCount val="3"/>
                <c:pt idx="0">
                  <c:v>40.051020408163296</c:v>
                </c:pt>
                <c:pt idx="1">
                  <c:v>41.666666666666686</c:v>
                </c:pt>
                <c:pt idx="2">
                  <c:v>57.499999999999943</c:v>
                </c:pt>
              </c:numCache>
            </c:numRef>
          </c:val>
          <c:extLst>
            <c:ext xmlns:c16="http://schemas.microsoft.com/office/drawing/2014/chart" uri="{C3380CC4-5D6E-409C-BE32-E72D297353CC}">
              <c16:uniqueId val="{00000000-9480-4CFC-92EF-A4612A96E5F1}"/>
            </c:ext>
          </c:extLst>
        </c:ser>
        <c:ser>
          <c:idx val="1"/>
          <c:order val="1"/>
          <c:tx>
            <c:strRef>
              <c:f>Sheet1!$C$1</c:f>
              <c:strCache>
                <c:ptCount val="1"/>
                <c:pt idx="0">
                  <c:v>Lielā mērā  piekrītu</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Visa izlase, n=120</c:v>
                </c:pt>
                <c:pt idx="1">
                  <c:v>Plānveida pārbaudes , n=72</c:v>
                </c:pt>
                <c:pt idx="2">
                  <c:v>Pārbaudes radiācijas drošībā, n=40*</c:v>
                </c:pt>
              </c:strCache>
            </c:strRef>
          </c:cat>
          <c:val>
            <c:numRef>
              <c:f>Sheet1!$C$2:$C$4</c:f>
              <c:numCache>
                <c:formatCode>0</c:formatCode>
                <c:ptCount val="3"/>
                <c:pt idx="0">
                  <c:v>20.310047095761416</c:v>
                </c:pt>
                <c:pt idx="1">
                  <c:v>18.055555555555578</c:v>
                </c:pt>
                <c:pt idx="2">
                  <c:v>17.499999999999989</c:v>
                </c:pt>
              </c:numCache>
            </c:numRef>
          </c:val>
          <c:extLst>
            <c:ext xmlns:c16="http://schemas.microsoft.com/office/drawing/2014/chart" uri="{C3380CC4-5D6E-409C-BE32-E72D297353CC}">
              <c16:uniqueId val="{00000001-9480-4CFC-92EF-A4612A96E5F1}"/>
            </c:ext>
          </c:extLst>
        </c:ser>
        <c:ser>
          <c:idx val="2"/>
          <c:order val="2"/>
          <c:tx>
            <c:strRef>
              <c:f>Sheet1!$D$1</c:f>
              <c:strCache>
                <c:ptCount val="1"/>
                <c:pt idx="0">
                  <c:v>Drīzāk piekrītu</c:v>
                </c:pt>
              </c:strCache>
            </c:strRef>
          </c:tx>
          <c:spPr>
            <a:solidFill>
              <a:schemeClr val="accent3"/>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Visa izlase, n=120</c:v>
                </c:pt>
                <c:pt idx="1">
                  <c:v>Plānveida pārbaudes , n=72</c:v>
                </c:pt>
                <c:pt idx="2">
                  <c:v>Pārbaudes radiācijas drošībā, n=40*</c:v>
                </c:pt>
              </c:strCache>
            </c:strRef>
          </c:cat>
          <c:val>
            <c:numRef>
              <c:f>Sheet1!$D$2:$D$4</c:f>
              <c:numCache>
                <c:formatCode>0</c:formatCode>
                <c:ptCount val="3"/>
                <c:pt idx="0">
                  <c:v>9.183673469387772</c:v>
                </c:pt>
                <c:pt idx="1">
                  <c:v>9.7222222222222339</c:v>
                </c:pt>
                <c:pt idx="2">
                  <c:v>14.999999999999991</c:v>
                </c:pt>
              </c:numCache>
            </c:numRef>
          </c:val>
          <c:extLst>
            <c:ext xmlns:c16="http://schemas.microsoft.com/office/drawing/2014/chart" uri="{C3380CC4-5D6E-409C-BE32-E72D297353CC}">
              <c16:uniqueId val="{00000002-9480-4CFC-92EF-A4612A96E5F1}"/>
            </c:ext>
          </c:extLst>
        </c:ser>
        <c:ser>
          <c:idx val="3"/>
          <c:order val="3"/>
          <c:tx>
            <c:strRef>
              <c:f>Sheet1!$E$1</c:f>
              <c:strCache>
                <c:ptCount val="1"/>
                <c:pt idx="0">
                  <c:v>Drīzāk nepiekrītu</c:v>
                </c:pt>
              </c:strCache>
            </c:strRef>
          </c:tx>
          <c:spPr>
            <a:solidFill>
              <a:schemeClr val="accent4"/>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Visa izlase, n=120</c:v>
                </c:pt>
                <c:pt idx="1">
                  <c:v>Plānveida pārbaudes , n=72</c:v>
                </c:pt>
                <c:pt idx="2">
                  <c:v>Pārbaudes radiācijas drošībā, n=40*</c:v>
                </c:pt>
              </c:strCache>
            </c:strRef>
          </c:cat>
          <c:val>
            <c:numRef>
              <c:f>Sheet1!$E$2:$E$4</c:f>
              <c:numCache>
                <c:formatCode>0</c:formatCode>
                <c:ptCount val="3"/>
                <c:pt idx="0">
                  <c:v>13.736263736263762</c:v>
                </c:pt>
                <c:pt idx="1">
                  <c:v>15.277777777777798</c:v>
                </c:pt>
                <c:pt idx="2">
                  <c:v>4.9999999999999964</c:v>
                </c:pt>
              </c:numCache>
            </c:numRef>
          </c:val>
          <c:extLst>
            <c:ext xmlns:c16="http://schemas.microsoft.com/office/drawing/2014/chart" uri="{C3380CC4-5D6E-409C-BE32-E72D297353CC}">
              <c16:uniqueId val="{00000003-9480-4CFC-92EF-A4612A96E5F1}"/>
            </c:ext>
          </c:extLst>
        </c:ser>
        <c:ser>
          <c:idx val="4"/>
          <c:order val="4"/>
          <c:tx>
            <c:strRef>
              <c:f>Sheet1!$F$1</c:f>
              <c:strCache>
                <c:ptCount val="1"/>
                <c:pt idx="0">
                  <c:v>Pilnībā nepiekrītu</c:v>
                </c:pt>
              </c:strCache>
            </c:strRef>
          </c:tx>
          <c:spPr>
            <a:solidFill>
              <a:schemeClr val="accent5"/>
            </a:solidFill>
            <a:ln>
              <a:noFill/>
            </a:ln>
            <a:effectLst/>
          </c:spPr>
          <c:invertIfNegative val="0"/>
          <c:dLbls>
            <c:dLbl>
              <c:idx val="0"/>
              <c:layout>
                <c:manualLayout>
                  <c:x val="3.3917451407940142E-4"/>
                  <c:y val="8.0658512225511517E-7"/>
                </c:manualLayout>
              </c:layout>
              <c:tx>
                <c:rich>
                  <a:bodyPr/>
                  <a:lstStyle/>
                  <a:p>
                    <a:fld id="{4BF6CF23-D790-4A5C-BDED-BDBE91B3A95C}" type="VALUE">
                      <a:rPr lang="en-US" sz="1200">
                        <a:solidFill>
                          <a:schemeClr val="bg1"/>
                        </a:solidFill>
                      </a:rPr>
                      <a:pPr/>
                      <a:t>[VĒRTĪBA]</a:t>
                    </a:fld>
                    <a:endParaRPr lang="en-GB"/>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4-9480-4CFC-92EF-A4612A96E5F1}"/>
                </c:ext>
              </c:extLst>
            </c:dLbl>
            <c:dLbl>
              <c:idx val="1"/>
              <c:layout>
                <c:manualLayout>
                  <c:x val="-1.5277601289623992E-16"/>
                  <c:y val="8.0658512225511517E-7"/>
                </c:manualLayout>
              </c:layout>
              <c:tx>
                <c:rich>
                  <a:bodyPr/>
                  <a:lstStyle/>
                  <a:p>
                    <a:fld id="{24BCE490-AC51-48C3-8825-67A161DFF470}" type="VALUE">
                      <a:rPr lang="en-US">
                        <a:solidFill>
                          <a:schemeClr val="bg1"/>
                        </a:solidFill>
                      </a:rPr>
                      <a:pPr/>
                      <a:t>[VĒRTĪBA]</a:t>
                    </a:fld>
                    <a:endParaRPr lang="en-GB"/>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5-9480-4CFC-92EF-A4612A96E5F1}"/>
                </c:ext>
              </c:extLst>
            </c:dLbl>
            <c:numFmt formatCode="0\%" sourceLinked="0"/>
            <c:spPr>
              <a:noFill/>
              <a:ln>
                <a:noFill/>
              </a:ln>
              <a:effectLst/>
            </c:spPr>
            <c:txPr>
              <a:bodyPr/>
              <a:lstStyle/>
              <a:p>
                <a:pPr>
                  <a:defRPr sz="1200" b="0">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Visa izlase, n=120</c:v>
                </c:pt>
                <c:pt idx="1">
                  <c:v>Plānveida pārbaudes , n=72</c:v>
                </c:pt>
                <c:pt idx="2">
                  <c:v>Pārbaudes radiācijas drošībā, n=40*</c:v>
                </c:pt>
              </c:strCache>
            </c:strRef>
          </c:cat>
          <c:val>
            <c:numRef>
              <c:f>Sheet1!$F$2:$F$4</c:f>
              <c:numCache>
                <c:formatCode>0</c:formatCode>
                <c:ptCount val="3"/>
                <c:pt idx="0">
                  <c:v>1.6483516483516514</c:v>
                </c:pt>
                <c:pt idx="1">
                  <c:v>1.3888888888888906</c:v>
                </c:pt>
                <c:pt idx="2">
                  <c:v>4.9999999999999964</c:v>
                </c:pt>
              </c:numCache>
            </c:numRef>
          </c:val>
          <c:extLst>
            <c:ext xmlns:c16="http://schemas.microsoft.com/office/drawing/2014/chart" uri="{C3380CC4-5D6E-409C-BE32-E72D297353CC}">
              <c16:uniqueId val="{00000008-9480-4CFC-92EF-A4612A96E5F1}"/>
            </c:ext>
          </c:extLst>
        </c:ser>
        <c:ser>
          <c:idx val="5"/>
          <c:order val="5"/>
          <c:tx>
            <c:strRef>
              <c:f>Sheet1!$G$1</c:f>
              <c:strCache>
                <c:ptCount val="1"/>
                <c:pt idx="0">
                  <c:v>Nevaru novērtēt</c:v>
                </c:pt>
              </c:strCache>
            </c:strRef>
          </c:tx>
          <c:spPr>
            <a:solidFill>
              <a:schemeClr val="bg1">
                <a:lumMod val="65000"/>
              </a:schemeClr>
            </a:solidFill>
          </c:spPr>
          <c:invertIfNegative val="0"/>
          <c:dLbls>
            <c:numFmt formatCode="0\%" sourceLinked="0"/>
            <c:spPr>
              <a:noFill/>
              <a:ln>
                <a:noFill/>
              </a:ln>
              <a:effectLst/>
            </c:spPr>
            <c:txPr>
              <a:bodyPr wrap="square" lIns="38100" tIns="19050" rIns="38100" bIns="19050" anchor="ctr">
                <a:spAutoFit/>
              </a:bodyPr>
              <a:lstStyle/>
              <a:p>
                <a:pPr>
                  <a:defRPr sz="1200">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Visa izlase, n=120</c:v>
                </c:pt>
                <c:pt idx="1">
                  <c:v>Plānveida pārbaudes , n=72</c:v>
                </c:pt>
                <c:pt idx="2">
                  <c:v>Pārbaudes radiācijas drošībā, n=40*</c:v>
                </c:pt>
              </c:strCache>
            </c:strRef>
          </c:cat>
          <c:val>
            <c:numRef>
              <c:f>Sheet1!$G$2:$G$4</c:f>
              <c:numCache>
                <c:formatCode>0</c:formatCode>
                <c:ptCount val="3"/>
                <c:pt idx="0">
                  <c:v>15.070643642072239</c:v>
                </c:pt>
                <c:pt idx="1">
                  <c:v>13.888888888888907</c:v>
                </c:pt>
              </c:numCache>
            </c:numRef>
          </c:val>
          <c:extLst>
            <c:ext xmlns:c16="http://schemas.microsoft.com/office/drawing/2014/chart" uri="{C3380CC4-5D6E-409C-BE32-E72D297353CC}">
              <c16:uniqueId val="{00000009-9480-4CFC-92EF-A4612A96E5F1}"/>
            </c:ext>
          </c:extLst>
        </c:ser>
        <c:dLbls>
          <c:showLegendKey val="0"/>
          <c:showVal val="0"/>
          <c:showCatName val="0"/>
          <c:showSerName val="0"/>
          <c:showPercent val="0"/>
          <c:showBubbleSize val="0"/>
        </c:dLbls>
        <c:gapWidth val="41"/>
        <c:overlap val="100"/>
        <c:axId val="-1577565920"/>
        <c:axId val="-1577564832"/>
      </c:barChart>
      <c:catAx>
        <c:axId val="-1577565920"/>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lgn="r">
              <a:defRPr sz="1200" b="0" i="0" u="none" strike="noStrike" kern="1200" baseline="0">
                <a:solidFill>
                  <a:schemeClr val="tx1"/>
                </a:solidFill>
                <a:latin typeface="+mn-lt"/>
                <a:ea typeface="+mn-ea"/>
                <a:cs typeface="+mn-cs"/>
              </a:defRPr>
            </a:pPr>
            <a:endParaRPr lang="en-US"/>
          </a:p>
        </c:txPr>
        <c:crossAx val="-1577564832"/>
        <c:crosses val="autoZero"/>
        <c:auto val="1"/>
        <c:lblAlgn val="ctr"/>
        <c:lblOffset val="100"/>
        <c:noMultiLvlLbl val="0"/>
      </c:catAx>
      <c:valAx>
        <c:axId val="-1577564832"/>
        <c:scaling>
          <c:orientation val="minMax"/>
        </c:scaling>
        <c:delete val="1"/>
        <c:axPos val="t"/>
        <c:numFmt formatCode="0%" sourceLinked="1"/>
        <c:majorTickMark val="none"/>
        <c:minorTickMark val="none"/>
        <c:tickLblPos val="nextTo"/>
        <c:crossAx val="-1577565920"/>
        <c:crosses val="autoZero"/>
        <c:crossBetween val="between"/>
      </c:valAx>
      <c:spPr>
        <a:noFill/>
        <a:ln>
          <a:noFill/>
        </a:ln>
        <a:effectLst/>
      </c:spPr>
    </c:plotArea>
    <c:legend>
      <c:legendPos val="t"/>
      <c:layout>
        <c:manualLayout>
          <c:xMode val="edge"/>
          <c:yMode val="edge"/>
          <c:x val="0.25897255875189662"/>
          <c:y val="2.8967857251052744E-2"/>
          <c:w val="0.66282624475140617"/>
          <c:h val="4.323991011337501E-2"/>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lv-LV"/>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0242903036263693"/>
          <c:y val="0"/>
          <c:w val="0.62892313246032117"/>
          <c:h val="0.92112847166127365"/>
        </c:manualLayout>
      </c:layout>
      <c:barChart>
        <c:barDir val="col"/>
        <c:grouping val="stacked"/>
        <c:varyColors val="0"/>
        <c:ser>
          <c:idx val="0"/>
          <c:order val="0"/>
          <c:tx>
            <c:strRef>
              <c:f>Sheet1!$B$1</c:f>
              <c:strCache>
                <c:ptCount val="1"/>
                <c:pt idx="0">
                  <c:v>Jā, pietiekami laicīgi - varējām pilnībā sagatavoties</c:v>
                </c:pt>
              </c:strCache>
            </c:strRef>
          </c:tx>
          <c:spPr>
            <a:solidFill>
              <a:srgbClr val="FF9900"/>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Visa izlase, n=323</c:v>
                </c:pt>
                <c:pt idx="1">
                  <c:v>Plānveida pārbaudes , n=203</c:v>
                </c:pt>
                <c:pt idx="2">
                  <c:v>Zvejas kontrole, n=55</c:v>
                </c:pt>
                <c:pt idx="3">
                  <c:v>Pārbaudes radiācijas drošībā, n=65</c:v>
                </c:pt>
              </c:strCache>
            </c:strRef>
          </c:cat>
          <c:val>
            <c:numRef>
              <c:f>Sheet1!$B$2:$B$5</c:f>
              <c:numCache>
                <c:formatCode>0</c:formatCode>
                <c:ptCount val="4"/>
                <c:pt idx="0">
                  <c:v>83.16063783582571</c:v>
                </c:pt>
                <c:pt idx="1">
                  <c:v>85.221674876847175</c:v>
                </c:pt>
                <c:pt idx="2">
                  <c:v>74.545454545454604</c:v>
                </c:pt>
                <c:pt idx="3">
                  <c:v>96.92307692307692</c:v>
                </c:pt>
              </c:numCache>
            </c:numRef>
          </c:val>
          <c:extLst>
            <c:ext xmlns:c16="http://schemas.microsoft.com/office/drawing/2014/chart" uri="{C3380CC4-5D6E-409C-BE32-E72D297353CC}">
              <c16:uniqueId val="{00000000-46B3-4B74-9BA1-8287B59BAFDA}"/>
            </c:ext>
          </c:extLst>
        </c:ser>
        <c:ser>
          <c:idx val="1"/>
          <c:order val="1"/>
          <c:tx>
            <c:strRef>
              <c:f>Sheet1!$C$1</c:f>
              <c:strCache>
                <c:ptCount val="1"/>
                <c:pt idx="0">
                  <c:v>Mazliet par vēlu – varējām daļēji sagatavoties</c:v>
                </c:pt>
              </c:strCache>
            </c:strRef>
          </c:tx>
          <c:spPr>
            <a:solidFill>
              <a:schemeClr val="accent1"/>
            </a:solidFill>
            <a:ln>
              <a:noFill/>
            </a:ln>
            <a:effectLst/>
          </c:spPr>
          <c:invertIfNegative val="0"/>
          <c:dLbls>
            <c:dLbl>
              <c:idx val="3"/>
              <c:layout>
                <c:manualLayout>
                  <c:x val="1.4062862990729733E-3"/>
                  <c:y val="1.0474010845137341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46B3-4B74-9BA1-8287B59BAFDA}"/>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Visa izlase, n=323</c:v>
                </c:pt>
                <c:pt idx="1">
                  <c:v>Plānveida pārbaudes , n=203</c:v>
                </c:pt>
                <c:pt idx="2">
                  <c:v>Zvejas kontrole, n=55</c:v>
                </c:pt>
                <c:pt idx="3">
                  <c:v>Pārbaudes radiācijas drošībā, n=65</c:v>
                </c:pt>
              </c:strCache>
            </c:strRef>
          </c:cat>
          <c:val>
            <c:numRef>
              <c:f>Sheet1!$C$2:$C$5</c:f>
              <c:numCache>
                <c:formatCode>0</c:formatCode>
                <c:ptCount val="4"/>
                <c:pt idx="0">
                  <c:v>11.05664825960163</c:v>
                </c:pt>
                <c:pt idx="1">
                  <c:v>11.822660098522114</c:v>
                </c:pt>
                <c:pt idx="2">
                  <c:v>10.909090909090907</c:v>
                </c:pt>
                <c:pt idx="3">
                  <c:v>3.0769230769230731</c:v>
                </c:pt>
              </c:numCache>
            </c:numRef>
          </c:val>
          <c:extLst>
            <c:ext xmlns:c16="http://schemas.microsoft.com/office/drawing/2014/chart" uri="{C3380CC4-5D6E-409C-BE32-E72D297353CC}">
              <c16:uniqueId val="{00000002-46B3-4B74-9BA1-8287B59BAFDA}"/>
            </c:ext>
          </c:extLst>
        </c:ser>
        <c:ser>
          <c:idx val="2"/>
          <c:order val="2"/>
          <c:tx>
            <c:strRef>
              <c:f>Sheet1!$D$1</c:f>
              <c:strCache>
                <c:ptCount val="1"/>
                <c:pt idx="0">
                  <c:v>Daudz par vēlu – nepaguvām sagatavoties</c:v>
                </c:pt>
              </c:strCache>
            </c:strRef>
          </c:tx>
          <c:spPr>
            <a:solidFill>
              <a:schemeClr val="bg2">
                <a:lumMod val="75000"/>
              </a:schemeClr>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Visa izlase, n=323</c:v>
                </c:pt>
                <c:pt idx="1">
                  <c:v>Plānveida pārbaudes , n=203</c:v>
                </c:pt>
                <c:pt idx="2">
                  <c:v>Zvejas kontrole, n=55</c:v>
                </c:pt>
                <c:pt idx="3">
                  <c:v>Pārbaudes radiācijas drošībā, n=65</c:v>
                </c:pt>
              </c:strCache>
            </c:strRef>
          </c:cat>
          <c:val>
            <c:numRef>
              <c:f>Sheet1!$D$2:$D$5</c:f>
              <c:numCache>
                <c:formatCode>0</c:formatCode>
                <c:ptCount val="4"/>
                <c:pt idx="0">
                  <c:v>5.7827139045727964</c:v>
                </c:pt>
                <c:pt idx="1">
                  <c:v>2.9556650246305303</c:v>
                </c:pt>
                <c:pt idx="2">
                  <c:v>14.545454545454541</c:v>
                </c:pt>
              </c:numCache>
            </c:numRef>
          </c:val>
          <c:extLst>
            <c:ext xmlns:c16="http://schemas.microsoft.com/office/drawing/2014/chart" uri="{C3380CC4-5D6E-409C-BE32-E72D297353CC}">
              <c16:uniqueId val="{00000003-46B3-4B74-9BA1-8287B59BAFDA}"/>
            </c:ext>
          </c:extLst>
        </c:ser>
        <c:dLbls>
          <c:showLegendKey val="0"/>
          <c:showVal val="0"/>
          <c:showCatName val="0"/>
          <c:showSerName val="0"/>
          <c:showPercent val="0"/>
          <c:showBubbleSize val="0"/>
        </c:dLbls>
        <c:gapWidth val="53"/>
        <c:overlap val="100"/>
        <c:axId val="-1577558848"/>
        <c:axId val="-1577562112"/>
      </c:barChart>
      <c:catAx>
        <c:axId val="-15775588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1577562112"/>
        <c:crosses val="max"/>
        <c:auto val="1"/>
        <c:lblAlgn val="ctr"/>
        <c:lblOffset val="100"/>
        <c:noMultiLvlLbl val="0"/>
      </c:catAx>
      <c:valAx>
        <c:axId val="-1577562112"/>
        <c:scaling>
          <c:orientation val="maxMin"/>
          <c:max val="100"/>
        </c:scaling>
        <c:delete val="1"/>
        <c:axPos val="l"/>
        <c:numFmt formatCode="0" sourceLinked="1"/>
        <c:majorTickMark val="out"/>
        <c:minorTickMark val="none"/>
        <c:tickLblPos val="nextTo"/>
        <c:crossAx val="-1577558848"/>
        <c:crosses val="autoZero"/>
        <c:crossBetween val="between"/>
      </c:valAx>
      <c:spPr>
        <a:noFill/>
        <a:ln>
          <a:noFill/>
        </a:ln>
        <a:effectLst/>
      </c:spPr>
    </c:plotArea>
    <c:legend>
      <c:legendPos val="b"/>
      <c:layout>
        <c:manualLayout>
          <c:xMode val="edge"/>
          <c:yMode val="edge"/>
          <c:x val="0.85483349459487756"/>
          <c:y val="0"/>
          <c:w val="0.13672878761068416"/>
          <c:h val="0.81873088527384319"/>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lv-LV"/>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8806291038368576E-3"/>
          <c:y val="0"/>
          <c:w val="0.74816285808863359"/>
          <c:h val="0.80976326956633526"/>
        </c:manualLayout>
      </c:layout>
      <c:barChart>
        <c:barDir val="col"/>
        <c:grouping val="stacked"/>
        <c:varyColors val="0"/>
        <c:ser>
          <c:idx val="0"/>
          <c:order val="0"/>
          <c:tx>
            <c:strRef>
              <c:f>Sheet1!$B$1</c:f>
              <c:strCache>
                <c:ptCount val="1"/>
                <c:pt idx="0">
                  <c:v>Jā, pietiekami laicīgi - varējām pilnībā sagatavoties</c:v>
                </c:pt>
              </c:strCache>
            </c:strRef>
          </c:tx>
          <c:spPr>
            <a:solidFill>
              <a:srgbClr val="FF9900"/>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Visa izlase, n=323</c:v>
                </c:pt>
                <c:pt idx="1">
                  <c:v>Tajā pašā dienā, n=73</c:v>
                </c:pt>
                <c:pt idx="2">
                  <c:v>1 līdz 5 dienas iepriekš, n=90</c:v>
                </c:pt>
                <c:pt idx="3">
                  <c:v>6 līdz 9 dienas iepriekš, n=92</c:v>
                </c:pt>
                <c:pt idx="4">
                  <c:v>10 vai vairāk dienu iepriekš, n=68</c:v>
                </c:pt>
              </c:strCache>
            </c:strRef>
          </c:cat>
          <c:val>
            <c:numRef>
              <c:f>Sheet1!$B$2:$B$6</c:f>
              <c:numCache>
                <c:formatCode>0</c:formatCode>
                <c:ptCount val="5"/>
                <c:pt idx="0">
                  <c:v>83.16063783582571</c:v>
                </c:pt>
                <c:pt idx="1">
                  <c:v>68.623562078540331</c:v>
                </c:pt>
                <c:pt idx="2">
                  <c:v>83.075919077659336</c:v>
                </c:pt>
                <c:pt idx="3">
                  <c:v>92.720306513409966</c:v>
                </c:pt>
                <c:pt idx="4">
                  <c:v>97.307842372220065</c:v>
                </c:pt>
              </c:numCache>
            </c:numRef>
          </c:val>
          <c:extLst>
            <c:ext xmlns:c16="http://schemas.microsoft.com/office/drawing/2014/chart" uri="{C3380CC4-5D6E-409C-BE32-E72D297353CC}">
              <c16:uniqueId val="{00000000-7153-429C-98A1-265717F0F711}"/>
            </c:ext>
          </c:extLst>
        </c:ser>
        <c:ser>
          <c:idx val="1"/>
          <c:order val="1"/>
          <c:tx>
            <c:strRef>
              <c:f>Sheet1!$C$1</c:f>
              <c:strCache>
                <c:ptCount val="1"/>
                <c:pt idx="0">
                  <c:v>Mazliet par vēlu – varējām daļēji sagatavoties</c:v>
                </c:pt>
              </c:strCache>
            </c:strRef>
          </c:tx>
          <c:spPr>
            <a:solidFill>
              <a:schemeClr val="accent1"/>
            </a:solidFill>
            <a:ln>
              <a:noFill/>
            </a:ln>
            <a:effectLst/>
          </c:spPr>
          <c:invertIfNegative val="0"/>
          <c:dLbls>
            <c:dLbl>
              <c:idx val="4"/>
              <c:layout>
                <c:manualLayout>
                  <c:x val="-1.0312647060623325E-16"/>
                  <c:y val="1.594932384913683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7153-429C-98A1-265717F0F711}"/>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Visa izlase, n=323</c:v>
                </c:pt>
                <c:pt idx="1">
                  <c:v>Tajā pašā dienā, n=73</c:v>
                </c:pt>
                <c:pt idx="2">
                  <c:v>1 līdz 5 dienas iepriekš, n=90</c:v>
                </c:pt>
                <c:pt idx="3">
                  <c:v>6 līdz 9 dienas iepriekš, n=92</c:v>
                </c:pt>
                <c:pt idx="4">
                  <c:v>10 vai vairāk dienu iepriekš, n=68</c:v>
                </c:pt>
              </c:strCache>
            </c:strRef>
          </c:cat>
          <c:val>
            <c:numRef>
              <c:f>Sheet1!$C$2:$C$6</c:f>
              <c:numCache>
                <c:formatCode>0</c:formatCode>
                <c:ptCount val="5"/>
                <c:pt idx="0">
                  <c:v>11.05664825960163</c:v>
                </c:pt>
                <c:pt idx="1">
                  <c:v>12.89170963903214</c:v>
                </c:pt>
                <c:pt idx="2">
                  <c:v>16.924080922340675</c:v>
                </c:pt>
                <c:pt idx="3">
                  <c:v>7.2796934865900491</c:v>
                </c:pt>
                <c:pt idx="4">
                  <c:v>2.6921576277799484</c:v>
                </c:pt>
              </c:numCache>
            </c:numRef>
          </c:val>
          <c:extLst>
            <c:ext xmlns:c16="http://schemas.microsoft.com/office/drawing/2014/chart" uri="{C3380CC4-5D6E-409C-BE32-E72D297353CC}">
              <c16:uniqueId val="{00000002-7153-429C-98A1-265717F0F711}"/>
            </c:ext>
          </c:extLst>
        </c:ser>
        <c:ser>
          <c:idx val="2"/>
          <c:order val="2"/>
          <c:tx>
            <c:strRef>
              <c:f>Sheet1!$D$1</c:f>
              <c:strCache>
                <c:ptCount val="1"/>
                <c:pt idx="0">
                  <c:v>Daudz par vēlu – nepaguvām sagatavoties</c:v>
                </c:pt>
              </c:strCache>
            </c:strRef>
          </c:tx>
          <c:spPr>
            <a:solidFill>
              <a:schemeClr val="bg2">
                <a:lumMod val="75000"/>
              </a:schemeClr>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Visa izlase, n=323</c:v>
                </c:pt>
                <c:pt idx="1">
                  <c:v>Tajā pašā dienā, n=73</c:v>
                </c:pt>
                <c:pt idx="2">
                  <c:v>1 līdz 5 dienas iepriekš, n=90</c:v>
                </c:pt>
                <c:pt idx="3">
                  <c:v>6 līdz 9 dienas iepriekš, n=92</c:v>
                </c:pt>
                <c:pt idx="4">
                  <c:v>10 vai vairāk dienu iepriekš, n=68</c:v>
                </c:pt>
              </c:strCache>
            </c:strRef>
          </c:cat>
          <c:val>
            <c:numRef>
              <c:f>Sheet1!$D$2:$D$6</c:f>
              <c:numCache>
                <c:formatCode>0</c:formatCode>
                <c:ptCount val="5"/>
                <c:pt idx="0">
                  <c:v>5.7827139045727964</c:v>
                </c:pt>
                <c:pt idx="1">
                  <c:v>18.484728282427621</c:v>
                </c:pt>
              </c:numCache>
            </c:numRef>
          </c:val>
          <c:extLst>
            <c:ext xmlns:c16="http://schemas.microsoft.com/office/drawing/2014/chart" uri="{C3380CC4-5D6E-409C-BE32-E72D297353CC}">
              <c16:uniqueId val="{00000003-7153-429C-98A1-265717F0F711}"/>
            </c:ext>
          </c:extLst>
        </c:ser>
        <c:dLbls>
          <c:showLegendKey val="0"/>
          <c:showVal val="0"/>
          <c:showCatName val="0"/>
          <c:showSerName val="0"/>
          <c:showPercent val="0"/>
          <c:showBubbleSize val="0"/>
        </c:dLbls>
        <c:gapWidth val="53"/>
        <c:overlap val="100"/>
        <c:axId val="-1577556672"/>
        <c:axId val="-1577560480"/>
      </c:barChart>
      <c:catAx>
        <c:axId val="-157755667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1577560480"/>
        <c:crosses val="max"/>
        <c:auto val="1"/>
        <c:lblAlgn val="ctr"/>
        <c:lblOffset val="100"/>
        <c:noMultiLvlLbl val="0"/>
      </c:catAx>
      <c:valAx>
        <c:axId val="-1577560480"/>
        <c:scaling>
          <c:orientation val="maxMin"/>
          <c:max val="100"/>
        </c:scaling>
        <c:delete val="1"/>
        <c:axPos val="l"/>
        <c:numFmt formatCode="0" sourceLinked="1"/>
        <c:majorTickMark val="out"/>
        <c:minorTickMark val="none"/>
        <c:tickLblPos val="nextTo"/>
        <c:crossAx val="-1577556672"/>
        <c:crosses val="autoZero"/>
        <c:crossBetween val="between"/>
      </c:valAx>
      <c:spPr>
        <a:noFill/>
        <a:ln>
          <a:noFill/>
        </a:ln>
        <a:effectLst/>
      </c:spPr>
    </c:plotArea>
    <c:legend>
      <c:legendPos val="b"/>
      <c:layout>
        <c:manualLayout>
          <c:xMode val="edge"/>
          <c:yMode val="edge"/>
          <c:x val="0.7790602425934483"/>
          <c:y val="4.2629113580365953E-2"/>
          <c:w val="0.1578230820967795"/>
          <c:h val="0.65315498197116906"/>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lv-LV"/>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4743274278215232E-3"/>
          <c:y val="0"/>
          <c:w val="0.77473153773088277"/>
          <c:h val="0.83916482821660032"/>
        </c:manualLayout>
      </c:layout>
      <c:barChart>
        <c:barDir val="col"/>
        <c:grouping val="stacked"/>
        <c:varyColors val="0"/>
        <c:ser>
          <c:idx val="0"/>
          <c:order val="0"/>
          <c:tx>
            <c:strRef>
              <c:f>Sheet1!$B$1</c:f>
              <c:strCache>
                <c:ptCount val="1"/>
                <c:pt idx="0">
                  <c:v>Jebkurš koruptīvais risks ir pilnībā izslēgts</c:v>
                </c:pt>
              </c:strCache>
            </c:strRef>
          </c:tx>
          <c:spPr>
            <a:solidFill>
              <a:schemeClr val="accent1"/>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Visa izlase, n=323</c:v>
                </c:pt>
                <c:pt idx="1">
                  <c:v>Plānveida pārbaudes , n=203</c:v>
                </c:pt>
                <c:pt idx="2">
                  <c:v>Zvejas kontrole, n=55</c:v>
                </c:pt>
                <c:pt idx="3">
                  <c:v>Pārbaudes radiācijas drošībā, n=65</c:v>
                </c:pt>
              </c:strCache>
            </c:strRef>
          </c:cat>
          <c:val>
            <c:numRef>
              <c:f>Sheet1!$B$2:$B$5</c:f>
              <c:numCache>
                <c:formatCode>0</c:formatCode>
                <c:ptCount val="4"/>
                <c:pt idx="0">
                  <c:v>39.194639200843667</c:v>
                </c:pt>
                <c:pt idx="1">
                  <c:v>41.871921182265787</c:v>
                </c:pt>
                <c:pt idx="2">
                  <c:v>30.909090909090903</c:v>
                </c:pt>
                <c:pt idx="3">
                  <c:v>44.615384615384556</c:v>
                </c:pt>
              </c:numCache>
            </c:numRef>
          </c:val>
          <c:extLst>
            <c:ext xmlns:c16="http://schemas.microsoft.com/office/drawing/2014/chart" uri="{C3380CC4-5D6E-409C-BE32-E72D297353CC}">
              <c16:uniqueId val="{00000000-F05D-4D72-A162-A8CB2CF8D423}"/>
            </c:ext>
          </c:extLst>
        </c:ser>
        <c:ser>
          <c:idx val="1"/>
          <c:order val="1"/>
          <c:tx>
            <c:strRef>
              <c:f>Sheet1!$C$1</c:f>
              <c:strCache>
                <c:ptCount val="1"/>
                <c:pt idx="0">
                  <c:v>Nav gandrīz nekādu koruptīvo risku</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Visa izlase, n=323</c:v>
                </c:pt>
                <c:pt idx="1">
                  <c:v>Plānveida pārbaudes , n=203</c:v>
                </c:pt>
                <c:pt idx="2">
                  <c:v>Zvejas kontrole, n=55</c:v>
                </c:pt>
                <c:pt idx="3">
                  <c:v>Pārbaudes radiācijas drošībā, n=65</c:v>
                </c:pt>
              </c:strCache>
            </c:strRef>
          </c:cat>
          <c:val>
            <c:numRef>
              <c:f>Sheet1!$C$2:$C$5</c:f>
              <c:numCache>
                <c:formatCode>0</c:formatCode>
                <c:ptCount val="4"/>
                <c:pt idx="0">
                  <c:v>29.26102872743056</c:v>
                </c:pt>
                <c:pt idx="1">
                  <c:v>28.078817733990004</c:v>
                </c:pt>
                <c:pt idx="2">
                  <c:v>32.72727272727272</c:v>
                </c:pt>
                <c:pt idx="3">
                  <c:v>27.692307692307651</c:v>
                </c:pt>
              </c:numCache>
            </c:numRef>
          </c:val>
          <c:extLst>
            <c:ext xmlns:c16="http://schemas.microsoft.com/office/drawing/2014/chart" uri="{C3380CC4-5D6E-409C-BE32-E72D297353CC}">
              <c16:uniqueId val="{00000001-F05D-4D72-A162-A8CB2CF8D423}"/>
            </c:ext>
          </c:extLst>
        </c:ser>
        <c:ser>
          <c:idx val="2"/>
          <c:order val="2"/>
          <c:tx>
            <c:strRef>
              <c:f>Sheet1!$D$1</c:f>
              <c:strCache>
                <c:ptCount val="1"/>
                <c:pt idx="0">
                  <c:v>Nelieli koruptīvie riski</c:v>
                </c:pt>
              </c:strCache>
            </c:strRef>
          </c:tx>
          <c:spPr>
            <a:solidFill>
              <a:schemeClr val="accent3"/>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Visa izlase, n=323</c:v>
                </c:pt>
                <c:pt idx="1">
                  <c:v>Plānveida pārbaudes , n=203</c:v>
                </c:pt>
                <c:pt idx="2">
                  <c:v>Zvejas kontrole, n=55</c:v>
                </c:pt>
                <c:pt idx="3">
                  <c:v>Pārbaudes radiācijas drošībā, n=65</c:v>
                </c:pt>
              </c:strCache>
            </c:strRef>
          </c:cat>
          <c:val>
            <c:numRef>
              <c:f>Sheet1!$D$2:$D$5</c:f>
              <c:numCache>
                <c:formatCode>0</c:formatCode>
                <c:ptCount val="4"/>
                <c:pt idx="0">
                  <c:v>9.0711670906496007</c:v>
                </c:pt>
                <c:pt idx="1">
                  <c:v>7.3891625615763257</c:v>
                </c:pt>
                <c:pt idx="2">
                  <c:v>12.727272727272725</c:v>
                </c:pt>
                <c:pt idx="3">
                  <c:v>12.307692307692292</c:v>
                </c:pt>
              </c:numCache>
            </c:numRef>
          </c:val>
          <c:extLst>
            <c:ext xmlns:c16="http://schemas.microsoft.com/office/drawing/2014/chart" uri="{C3380CC4-5D6E-409C-BE32-E72D297353CC}">
              <c16:uniqueId val="{00000002-F05D-4D72-A162-A8CB2CF8D423}"/>
            </c:ext>
          </c:extLst>
        </c:ser>
        <c:ser>
          <c:idx val="3"/>
          <c:order val="3"/>
          <c:tx>
            <c:strRef>
              <c:f>Sheet1!$E$1</c:f>
              <c:strCache>
                <c:ptCount val="1"/>
                <c:pt idx="0">
                  <c:v>Augsti koruptīvie riski</c:v>
                </c:pt>
              </c:strCache>
            </c:strRef>
          </c:tx>
          <c:spPr>
            <a:solidFill>
              <a:schemeClr val="accent4"/>
            </a:solidFill>
            <a:ln>
              <a:noFill/>
            </a:ln>
            <a:effectLst/>
          </c:spPr>
          <c:invertIfNegative val="0"/>
          <c:dLbls>
            <c:dLbl>
              <c:idx val="0"/>
              <c:layout>
                <c:manualLayout>
                  <c:x val="-9.8440040935111727E-3"/>
                  <c:y val="2.09485715071168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05D-4D72-A162-A8CB2CF8D423}"/>
                </c:ext>
              </c:extLst>
            </c:dLbl>
            <c:dLbl>
              <c:idx val="1"/>
              <c:layout>
                <c:manualLayout>
                  <c:x val="-1.8281666522347022E-2"/>
                  <c:y val="6.9836360762321695E-3"/>
                </c:manualLayout>
              </c:layout>
              <c:numFmt formatCode="0\%" sourceLinked="0"/>
              <c:spPr>
                <a:noFill/>
                <a:ln>
                  <a:noFill/>
                </a:ln>
                <a:effectLst/>
              </c:spPr>
              <c:txPr>
                <a:bodyPr rot="0" spcFirstLastPara="1" vertOverflow="ellipsis" vert="horz" wrap="square" lIns="38100" tIns="19050" rIns="38100" bIns="19050" anchor="ctr" anchorCtr="1">
                  <a:noAutofit/>
                </a:bodyPr>
                <a:lstStyle/>
                <a:p>
                  <a:pPr>
                    <a:defRPr sz="14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layout>
                    <c:manualLayout>
                      <c:w val="3.2492189574479906E-2"/>
                      <c:h val="6.3158285396177391E-2"/>
                    </c:manualLayout>
                  </c15:layout>
                </c:ext>
                <c:ext xmlns:c16="http://schemas.microsoft.com/office/drawing/2014/chart" uri="{C3380CC4-5D6E-409C-BE32-E72D297353CC}">
                  <c16:uniqueId val="{00000004-F05D-4D72-A162-A8CB2CF8D423}"/>
                </c:ext>
              </c:extLst>
            </c:dLbl>
            <c:dLbl>
              <c:idx val="2"/>
              <c:layout>
                <c:manualLayout>
                  <c:x val="-1.2656576691657224E-2"/>
                  <c:y val="6.9832237136004073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F05D-4D72-A162-A8CB2CF8D423}"/>
                </c:ext>
              </c:extLst>
            </c:dLbl>
            <c:dLbl>
              <c:idx val="3"/>
              <c:layout>
                <c:manualLayout>
                  <c:x val="-7.0314314953651242E-3"/>
                  <c:y val="-3.9537329127234486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F05D-4D72-A162-A8CB2CF8D423}"/>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Visa izlase, n=323</c:v>
                </c:pt>
                <c:pt idx="1">
                  <c:v>Plānveida pārbaudes , n=203</c:v>
                </c:pt>
                <c:pt idx="2">
                  <c:v>Zvejas kontrole, n=55</c:v>
                </c:pt>
                <c:pt idx="3">
                  <c:v>Pārbaudes radiācijas drošībā, n=65</c:v>
                </c:pt>
              </c:strCache>
            </c:strRef>
          </c:cat>
          <c:val>
            <c:numRef>
              <c:f>Sheet1!$E$2:$E$5</c:f>
              <c:numCache>
                <c:formatCode>0</c:formatCode>
                <c:ptCount val="4"/>
                <c:pt idx="0">
                  <c:v>2.8479245517155736</c:v>
                </c:pt>
                <c:pt idx="1">
                  <c:v>1.9704433497536866</c:v>
                </c:pt>
                <c:pt idx="2">
                  <c:v>5.4545454545454541</c:v>
                </c:pt>
                <c:pt idx="3">
                  <c:v>1.5384615384615365</c:v>
                </c:pt>
              </c:numCache>
            </c:numRef>
          </c:val>
          <c:extLst>
            <c:ext xmlns:c16="http://schemas.microsoft.com/office/drawing/2014/chart" uri="{C3380CC4-5D6E-409C-BE32-E72D297353CC}">
              <c16:uniqueId val="{00000007-F05D-4D72-A162-A8CB2CF8D423}"/>
            </c:ext>
          </c:extLst>
        </c:ser>
        <c:ser>
          <c:idx val="4"/>
          <c:order val="4"/>
          <c:tx>
            <c:strRef>
              <c:f>Sheet1!$F$1</c:f>
              <c:strCache>
                <c:ptCount val="1"/>
                <c:pt idx="0">
                  <c:v>Ļoti augsti koruptīvie riski</c:v>
                </c:pt>
              </c:strCache>
            </c:strRef>
          </c:tx>
          <c:spPr>
            <a:solidFill>
              <a:schemeClr val="accent5"/>
            </a:solidFill>
            <a:ln>
              <a:noFill/>
            </a:ln>
            <a:effectLst/>
          </c:spPr>
          <c:invertIfNegative val="0"/>
          <c:dLbls>
            <c:dLbl>
              <c:idx val="0"/>
              <c:layout>
                <c:manualLayout>
                  <c:x val="8.437717794438148E-3"/>
                  <c:y val="6.9826738967581426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F05D-4D72-A162-A8CB2CF8D423}"/>
                </c:ext>
              </c:extLst>
            </c:dLbl>
            <c:dLbl>
              <c:idx val="1"/>
              <c:layout>
                <c:manualLayout>
                  <c:x val="5.6251451962921247E-3"/>
                  <c:y val="6.9826738967581426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F05D-4D72-A162-A8CB2CF8D423}"/>
                </c:ext>
              </c:extLst>
            </c:dLbl>
            <c:dLbl>
              <c:idx val="2"/>
              <c:layout>
                <c:manualLayout>
                  <c:x val="5.6251451962920996E-3"/>
                  <c:y val="6.9826738967581426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F05D-4D72-A162-A8CB2CF8D423}"/>
                </c:ext>
              </c:extLst>
            </c:dLbl>
            <c:dLbl>
              <c:idx val="3"/>
              <c:layout>
                <c:manualLayout>
                  <c:x val="0"/>
                  <c:y val="1.442873869016417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F05D-4D72-A162-A8CB2CF8D423}"/>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Visa izlase, n=323</c:v>
                </c:pt>
                <c:pt idx="1">
                  <c:v>Plānveida pārbaudes , n=203</c:v>
                </c:pt>
                <c:pt idx="2">
                  <c:v>Zvejas kontrole, n=55</c:v>
                </c:pt>
                <c:pt idx="3">
                  <c:v>Pārbaudes radiācijas drošībā, n=65</c:v>
                </c:pt>
              </c:strCache>
            </c:strRef>
          </c:cat>
          <c:val>
            <c:numRef>
              <c:f>Sheet1!$F$2:$F$5</c:f>
              <c:numCache>
                <c:formatCode>0</c:formatCode>
                <c:ptCount val="4"/>
                <c:pt idx="0">
                  <c:v>1.6132034497735273</c:v>
                </c:pt>
                <c:pt idx="1">
                  <c:v>0.98522167487684331</c:v>
                </c:pt>
                <c:pt idx="2">
                  <c:v>3.6363636363636362</c:v>
                </c:pt>
              </c:numCache>
            </c:numRef>
          </c:val>
          <c:extLst>
            <c:ext xmlns:c16="http://schemas.microsoft.com/office/drawing/2014/chart" uri="{C3380CC4-5D6E-409C-BE32-E72D297353CC}">
              <c16:uniqueId val="{0000000C-F05D-4D72-A162-A8CB2CF8D423}"/>
            </c:ext>
          </c:extLst>
        </c:ser>
        <c:ser>
          <c:idx val="5"/>
          <c:order val="5"/>
          <c:tx>
            <c:strRef>
              <c:f>Sheet1!$G$1</c:f>
              <c:strCache>
                <c:ptCount val="1"/>
                <c:pt idx="0">
                  <c:v>Nevaru novērtēt</c:v>
                </c:pt>
              </c:strCache>
            </c:strRef>
          </c:tx>
          <c:spPr>
            <a:solidFill>
              <a:schemeClr val="bg1">
                <a:lumMod val="85000"/>
              </a:schemeClr>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Visa izlase, n=323</c:v>
                </c:pt>
                <c:pt idx="1">
                  <c:v>Plānveida pārbaudes , n=203</c:v>
                </c:pt>
                <c:pt idx="2">
                  <c:v>Zvejas kontrole, n=55</c:v>
                </c:pt>
                <c:pt idx="3">
                  <c:v>Pārbaudes radiācijas drošībā, n=65</c:v>
                </c:pt>
              </c:strCache>
            </c:strRef>
          </c:cat>
          <c:val>
            <c:numRef>
              <c:f>Sheet1!$G$2:$G$5</c:f>
              <c:numCache>
                <c:formatCode>0</c:formatCode>
                <c:ptCount val="4"/>
                <c:pt idx="0">
                  <c:v>18.012036979586721</c:v>
                </c:pt>
                <c:pt idx="1">
                  <c:v>19.704433497536847</c:v>
                </c:pt>
                <c:pt idx="2">
                  <c:v>14.545454545454541</c:v>
                </c:pt>
                <c:pt idx="3">
                  <c:v>13.846153846153827</c:v>
                </c:pt>
              </c:numCache>
            </c:numRef>
          </c:val>
          <c:extLst>
            <c:ext xmlns:c16="http://schemas.microsoft.com/office/drawing/2014/chart" uri="{C3380CC4-5D6E-409C-BE32-E72D297353CC}">
              <c16:uniqueId val="{0000000D-F05D-4D72-A162-A8CB2CF8D423}"/>
            </c:ext>
          </c:extLst>
        </c:ser>
        <c:dLbls>
          <c:showLegendKey val="0"/>
          <c:showVal val="0"/>
          <c:showCatName val="0"/>
          <c:showSerName val="0"/>
          <c:showPercent val="0"/>
          <c:showBubbleSize val="0"/>
        </c:dLbls>
        <c:gapWidth val="53"/>
        <c:overlap val="100"/>
        <c:axId val="-1577563200"/>
        <c:axId val="-1577559936"/>
      </c:barChart>
      <c:catAx>
        <c:axId val="-157756320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1577559936"/>
        <c:crosses val="max"/>
        <c:auto val="1"/>
        <c:lblAlgn val="ctr"/>
        <c:lblOffset val="100"/>
        <c:noMultiLvlLbl val="0"/>
      </c:catAx>
      <c:valAx>
        <c:axId val="-1577559936"/>
        <c:scaling>
          <c:orientation val="maxMin"/>
          <c:max val="100"/>
        </c:scaling>
        <c:delete val="1"/>
        <c:axPos val="l"/>
        <c:numFmt formatCode="0" sourceLinked="1"/>
        <c:majorTickMark val="out"/>
        <c:minorTickMark val="none"/>
        <c:tickLblPos val="nextTo"/>
        <c:crossAx val="-1577563200"/>
        <c:crosses val="autoZero"/>
        <c:crossBetween val="between"/>
      </c:valAx>
      <c:spPr>
        <a:noFill/>
        <a:ln>
          <a:noFill/>
        </a:ln>
        <a:effectLst/>
      </c:spPr>
    </c:plotArea>
    <c:legend>
      <c:legendPos val="b"/>
      <c:layout>
        <c:manualLayout>
          <c:xMode val="edge"/>
          <c:yMode val="edge"/>
          <c:x val="0.79858204263195665"/>
          <c:y val="0"/>
          <c:w val="0.19180970000923495"/>
          <c:h val="0.84093398436985145"/>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lt-LT"/>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lt-LT"/>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923C7210-B3CF-4674-8748-D51044E18A02}" type="slidenum">
              <a:rPr lang="lt-LT" smtClean="0"/>
              <a:pPr/>
              <a:t>‹#›</a:t>
            </a:fld>
            <a:endParaRPr lang="lt-LT"/>
          </a:p>
        </p:txBody>
      </p:sp>
    </p:spTree>
    <p:extLst>
      <p:ext uri="{BB962C8B-B14F-4D97-AF65-F5344CB8AC3E}">
        <p14:creationId xmlns:p14="http://schemas.microsoft.com/office/powerpoint/2010/main" val="53939083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lt-LT"/>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EE948DD-93C8-4050-ADB1-F5C0565DA06B}" type="datetimeFigureOut">
              <a:rPr lang="lt-LT" smtClean="0"/>
              <a:pPr/>
              <a:t>2021-01-04</a:t>
            </a:fld>
            <a:endParaRPr lang="lt-LT"/>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lt-LT"/>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lt-LT"/>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lt-LT"/>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56A2B44-49CB-4723-964D-A9AF7BF96B3A}" type="slidenum">
              <a:rPr lang="lt-LT" smtClean="0"/>
              <a:pPr/>
              <a:t>‹#›</a:t>
            </a:fld>
            <a:endParaRPr lang="lt-LT"/>
          </a:p>
        </p:txBody>
      </p:sp>
    </p:spTree>
    <p:extLst>
      <p:ext uri="{BB962C8B-B14F-4D97-AF65-F5344CB8AC3E}">
        <p14:creationId xmlns:p14="http://schemas.microsoft.com/office/powerpoint/2010/main" val="102522190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56A2B44-49CB-4723-964D-A9AF7BF96B3A}" type="slidenum">
              <a:rPr lang="lt-LT" smtClean="0"/>
              <a:pPr/>
              <a:t>4</a:t>
            </a:fld>
            <a:endParaRPr lang="lt-LT"/>
          </a:p>
        </p:txBody>
      </p:sp>
    </p:spTree>
    <p:extLst>
      <p:ext uri="{BB962C8B-B14F-4D97-AF65-F5344CB8AC3E}">
        <p14:creationId xmlns:p14="http://schemas.microsoft.com/office/powerpoint/2010/main" val="348467534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56A2B44-49CB-4723-964D-A9AF7BF96B3A}" type="slidenum">
              <a:rPr lang="lt-LT" smtClean="0"/>
              <a:pPr/>
              <a:t>5</a:t>
            </a:fld>
            <a:endParaRPr lang="lt-LT"/>
          </a:p>
        </p:txBody>
      </p:sp>
    </p:spTree>
    <p:extLst>
      <p:ext uri="{BB962C8B-B14F-4D97-AF65-F5344CB8AC3E}">
        <p14:creationId xmlns:p14="http://schemas.microsoft.com/office/powerpoint/2010/main" val="296874092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5.jp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3" name="Rectangle 2"/>
          <p:cNvSpPr/>
          <p:nvPr userDrawn="1"/>
        </p:nvSpPr>
        <p:spPr>
          <a:xfrm>
            <a:off x="1" y="1"/>
            <a:ext cx="10955382" cy="903599"/>
          </a:xfrm>
          <a:prstGeom prst="rect">
            <a:avLst/>
          </a:prstGeom>
          <a:solidFill>
            <a:srgbClr val="061A26">
              <a:alpha val="9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lt-LT"/>
          </a:p>
        </p:txBody>
      </p:sp>
      <p:sp>
        <p:nvSpPr>
          <p:cNvPr id="2" name="Title 1"/>
          <p:cNvSpPr>
            <a:spLocks noGrp="1"/>
          </p:cNvSpPr>
          <p:nvPr>
            <p:ph type="title"/>
          </p:nvPr>
        </p:nvSpPr>
        <p:spPr>
          <a:xfrm>
            <a:off x="337352" y="1"/>
            <a:ext cx="10618032" cy="903600"/>
          </a:xfrm>
        </p:spPr>
        <p:txBody>
          <a:bodyPr anchor="ctr">
            <a:normAutofit/>
          </a:bodyPr>
          <a:lstStyle>
            <a:lvl1pPr>
              <a:defRPr sz="3200" b="0">
                <a:solidFill>
                  <a:srgbClr val="F5F5F5"/>
                </a:solidFill>
                <a:latin typeface="Cambria Math" panose="02040503050406030204" pitchFamily="18" charset="0"/>
                <a:ea typeface="Cambria Math" panose="02040503050406030204" pitchFamily="18" charset="0"/>
              </a:defRPr>
            </a:lvl1pPr>
          </a:lstStyle>
          <a:p>
            <a:r>
              <a:rPr lang="en-US" dirty="0"/>
              <a:t>Click to edit Master title style</a:t>
            </a:r>
            <a:endParaRPr lang="lt-LT" dirty="0"/>
          </a:p>
        </p:txBody>
      </p:sp>
      <p:sp>
        <p:nvSpPr>
          <p:cNvPr id="4" name="Text Placeholder 8"/>
          <p:cNvSpPr>
            <a:spLocks noGrp="1"/>
          </p:cNvSpPr>
          <p:nvPr>
            <p:ph type="body" sz="quarter" idx="15" hasCustomPrompt="1"/>
          </p:nvPr>
        </p:nvSpPr>
        <p:spPr>
          <a:xfrm>
            <a:off x="133350" y="5983550"/>
            <a:ext cx="11925299" cy="474947"/>
          </a:xfrm>
        </p:spPr>
        <p:txBody>
          <a:bodyPr anchor="b" anchorCtr="0">
            <a:noAutofit/>
          </a:bodyPr>
          <a:lstStyle>
            <a:lvl1pPr marL="0" indent="0">
              <a:lnSpc>
                <a:spcPct val="100000"/>
              </a:lnSpc>
              <a:spcBef>
                <a:spcPts val="0"/>
              </a:spcBef>
              <a:buSzPct val="50000"/>
              <a:buFont typeface="Wingdings" panose="05000000000000000000" pitchFamily="2" charset="2"/>
              <a:buNone/>
              <a:defRPr sz="1000" i="0" baseline="0">
                <a:solidFill>
                  <a:schemeClr val="bg1">
                    <a:lumMod val="50000"/>
                  </a:schemeClr>
                </a:solidFill>
                <a:latin typeface="+mj-lt"/>
              </a:defRPr>
            </a:lvl1pPr>
            <a:lvl2pPr marL="685800" indent="-228600">
              <a:buSzPct val="50000"/>
              <a:buFont typeface="Wingdings" panose="05000000000000000000" pitchFamily="2" charset="2"/>
              <a:buChar char="§"/>
              <a:defRPr sz="1200">
                <a:solidFill>
                  <a:schemeClr val="bg1">
                    <a:lumMod val="50000"/>
                  </a:schemeClr>
                </a:solidFill>
                <a:latin typeface="+mj-lt"/>
              </a:defRPr>
            </a:lvl2pPr>
            <a:lvl3pPr marL="1143000" indent="-228600">
              <a:buSzPct val="50000"/>
              <a:buFont typeface="Wingdings" panose="05000000000000000000" pitchFamily="2" charset="2"/>
              <a:buChar char="§"/>
              <a:defRPr sz="1200">
                <a:solidFill>
                  <a:schemeClr val="bg1">
                    <a:lumMod val="50000"/>
                  </a:schemeClr>
                </a:solidFill>
                <a:latin typeface="+mj-lt"/>
              </a:defRPr>
            </a:lvl3pPr>
            <a:lvl4pPr marL="1600200" indent="-228600">
              <a:buSzPct val="50000"/>
              <a:buFont typeface="Wingdings" panose="05000000000000000000" pitchFamily="2" charset="2"/>
              <a:buChar char="§"/>
              <a:defRPr sz="1200">
                <a:solidFill>
                  <a:schemeClr val="bg1">
                    <a:lumMod val="50000"/>
                  </a:schemeClr>
                </a:solidFill>
                <a:latin typeface="+mj-lt"/>
              </a:defRPr>
            </a:lvl4pPr>
            <a:lvl5pPr marL="2057400" indent="-228600">
              <a:buSzPct val="50000"/>
              <a:buFont typeface="Wingdings" panose="05000000000000000000" pitchFamily="2" charset="2"/>
              <a:buChar char="§"/>
              <a:defRPr sz="1200">
                <a:solidFill>
                  <a:schemeClr val="bg1">
                    <a:lumMod val="50000"/>
                  </a:schemeClr>
                </a:solidFill>
                <a:latin typeface="+mj-lt"/>
              </a:defRPr>
            </a:lvl5pPr>
          </a:lstStyle>
          <a:p>
            <a:pPr lvl="0"/>
            <a:r>
              <a:rPr lang="en-US" dirty="0"/>
              <a:t>Your text here</a:t>
            </a:r>
            <a:endParaRPr lang="lt-LT" dirty="0"/>
          </a:p>
        </p:txBody>
      </p:sp>
    </p:spTree>
    <p:extLst>
      <p:ext uri="{BB962C8B-B14F-4D97-AF65-F5344CB8AC3E}">
        <p14:creationId xmlns:p14="http://schemas.microsoft.com/office/powerpoint/2010/main" val="3101437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7" name="Text Placeholder 6"/>
          <p:cNvSpPr>
            <a:spLocks noGrp="1"/>
          </p:cNvSpPr>
          <p:nvPr>
            <p:ph type="body" sz="quarter" idx="14" hasCustomPrompt="1"/>
          </p:nvPr>
        </p:nvSpPr>
        <p:spPr>
          <a:xfrm>
            <a:off x="6344530" y="1590277"/>
            <a:ext cx="4630698" cy="955822"/>
          </a:xfrm>
        </p:spPr>
        <p:txBody>
          <a:bodyPr anchor="b">
            <a:normAutofit/>
          </a:bodyPr>
          <a:lstStyle>
            <a:lvl1pPr marL="0" indent="0" algn="l">
              <a:buNone/>
              <a:defRPr sz="3200">
                <a:solidFill>
                  <a:schemeClr val="tx1"/>
                </a:solidFill>
                <a:latin typeface="+mn-lt"/>
                <a:ea typeface="Cambria Math" panose="02040503050406030204" pitchFamily="18" charset="0"/>
              </a:defRPr>
            </a:lvl1pPr>
          </a:lstStyle>
          <a:p>
            <a:pPr lvl="0"/>
            <a:r>
              <a:rPr lang="en-US" dirty="0"/>
              <a:t>Click to edit title style</a:t>
            </a:r>
            <a:endParaRPr lang="lt-LT" dirty="0"/>
          </a:p>
        </p:txBody>
      </p:sp>
      <p:sp>
        <p:nvSpPr>
          <p:cNvPr id="9" name="Text Placeholder 8"/>
          <p:cNvSpPr>
            <a:spLocks noGrp="1"/>
          </p:cNvSpPr>
          <p:nvPr>
            <p:ph type="body" sz="quarter" idx="15"/>
          </p:nvPr>
        </p:nvSpPr>
        <p:spPr>
          <a:xfrm>
            <a:off x="6344530" y="2560013"/>
            <a:ext cx="4630698" cy="3488909"/>
          </a:xfrm>
        </p:spPr>
        <p:txBody>
          <a:bodyPr>
            <a:normAutofit/>
          </a:bodyPr>
          <a:lstStyle>
            <a:lvl1pPr marL="228600" indent="-228600">
              <a:buSzPct val="50000"/>
              <a:buFont typeface="Wingdings" panose="05000000000000000000" pitchFamily="2" charset="2"/>
              <a:buChar char="§"/>
              <a:defRPr sz="2000">
                <a:solidFill>
                  <a:schemeClr val="tx1"/>
                </a:solidFill>
                <a:latin typeface="+mn-lt"/>
              </a:defRPr>
            </a:lvl1pPr>
            <a:lvl2pPr marL="685800" indent="-228600">
              <a:buSzPct val="50000"/>
              <a:buFont typeface="Wingdings" panose="05000000000000000000" pitchFamily="2" charset="2"/>
              <a:buChar char="§"/>
              <a:defRPr sz="1800">
                <a:solidFill>
                  <a:schemeClr val="tx1"/>
                </a:solidFill>
                <a:latin typeface="+mn-lt"/>
              </a:defRPr>
            </a:lvl2pPr>
            <a:lvl3pPr marL="1143000" indent="-228600">
              <a:buSzPct val="50000"/>
              <a:buFont typeface="Wingdings" panose="05000000000000000000" pitchFamily="2" charset="2"/>
              <a:buChar char="§"/>
              <a:defRPr sz="1600">
                <a:solidFill>
                  <a:schemeClr val="tx1"/>
                </a:solidFill>
                <a:latin typeface="+mn-lt"/>
              </a:defRPr>
            </a:lvl3pPr>
            <a:lvl4pPr marL="1600200" indent="-228600">
              <a:buSzPct val="50000"/>
              <a:buFont typeface="Wingdings" panose="05000000000000000000" pitchFamily="2" charset="2"/>
              <a:buChar char="§"/>
              <a:defRPr sz="1400">
                <a:solidFill>
                  <a:schemeClr val="tx1"/>
                </a:solidFill>
                <a:latin typeface="+mn-lt"/>
              </a:defRPr>
            </a:lvl4pPr>
            <a:lvl5pPr marL="2057400" indent="-228600">
              <a:buSzPct val="50000"/>
              <a:buFont typeface="Wingdings" panose="05000000000000000000" pitchFamily="2" charset="2"/>
              <a:buChar char="§"/>
              <a:defRPr sz="1400">
                <a:solidFill>
                  <a:schemeClr val="tx1"/>
                </a:solidFill>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lt-LT" dirty="0"/>
          </a:p>
        </p:txBody>
      </p:sp>
      <p:sp>
        <p:nvSpPr>
          <p:cNvPr id="11" name="Rectangle 10"/>
          <p:cNvSpPr/>
          <p:nvPr userDrawn="1"/>
        </p:nvSpPr>
        <p:spPr>
          <a:xfrm>
            <a:off x="1" y="1"/>
            <a:ext cx="10955382" cy="903599"/>
          </a:xfrm>
          <a:prstGeom prst="rect">
            <a:avLst/>
          </a:prstGeom>
          <a:solidFill>
            <a:srgbClr val="061A26">
              <a:alpha val="9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lt-LT"/>
          </a:p>
        </p:txBody>
      </p:sp>
      <p:sp>
        <p:nvSpPr>
          <p:cNvPr id="12" name="Title 1"/>
          <p:cNvSpPr>
            <a:spLocks noGrp="1"/>
          </p:cNvSpPr>
          <p:nvPr>
            <p:ph type="title"/>
          </p:nvPr>
        </p:nvSpPr>
        <p:spPr>
          <a:xfrm>
            <a:off x="337352" y="1"/>
            <a:ext cx="10618032" cy="903600"/>
          </a:xfrm>
        </p:spPr>
        <p:txBody>
          <a:bodyPr anchor="ctr">
            <a:normAutofit/>
          </a:bodyPr>
          <a:lstStyle>
            <a:lvl1pPr>
              <a:defRPr sz="3200" b="0">
                <a:solidFill>
                  <a:srgbClr val="F5F5F5"/>
                </a:solidFill>
                <a:latin typeface="Cambria Math" panose="02040503050406030204" pitchFamily="18" charset="0"/>
                <a:ea typeface="Cambria Math" panose="02040503050406030204" pitchFamily="18" charset="0"/>
              </a:defRPr>
            </a:lvl1pPr>
          </a:lstStyle>
          <a:p>
            <a:r>
              <a:rPr lang="en-US" dirty="0"/>
              <a:t>Click to edit Master title style</a:t>
            </a:r>
            <a:endParaRPr lang="lt-LT" dirty="0"/>
          </a:p>
        </p:txBody>
      </p:sp>
    </p:spTree>
    <p:extLst>
      <p:ext uri="{BB962C8B-B14F-4D97-AF65-F5344CB8AC3E}">
        <p14:creationId xmlns:p14="http://schemas.microsoft.com/office/powerpoint/2010/main" val="412240621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Title and Content">
    <p:bg>
      <p:bgPr>
        <a:solidFill>
          <a:schemeClr val="bg1"/>
        </a:solidFill>
        <a:effectLst/>
      </p:bgPr>
    </p:bg>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a:xfrm>
            <a:off x="215703" y="4017318"/>
            <a:ext cx="3798279" cy="2294939"/>
          </a:xfrm>
        </p:spPr>
        <p:txBody>
          <a:bodyPr>
            <a:normAutofit/>
          </a:bodyPr>
          <a:lstStyle>
            <a:lvl1pPr marL="228600" indent="-228600">
              <a:buSzPct val="50000"/>
              <a:buFont typeface="Wingdings" panose="05000000000000000000" pitchFamily="2" charset="2"/>
              <a:buChar char="§"/>
              <a:defRPr sz="2000">
                <a:solidFill>
                  <a:schemeClr val="tx1"/>
                </a:solidFill>
                <a:latin typeface="+mn-lt"/>
              </a:defRPr>
            </a:lvl1pPr>
            <a:lvl2pPr marL="685800" indent="-228600">
              <a:buSzPct val="50000"/>
              <a:buFont typeface="Wingdings" panose="05000000000000000000" pitchFamily="2" charset="2"/>
              <a:buChar char="§"/>
              <a:defRPr sz="1800">
                <a:solidFill>
                  <a:schemeClr val="tx1"/>
                </a:solidFill>
                <a:latin typeface="+mn-lt"/>
              </a:defRPr>
            </a:lvl2pPr>
            <a:lvl3pPr marL="1143000" indent="-228600">
              <a:buSzPct val="50000"/>
              <a:buFont typeface="Wingdings" panose="05000000000000000000" pitchFamily="2" charset="2"/>
              <a:buChar char="§"/>
              <a:defRPr sz="1600">
                <a:solidFill>
                  <a:schemeClr val="tx1"/>
                </a:solidFill>
                <a:latin typeface="+mn-lt"/>
              </a:defRPr>
            </a:lvl3pPr>
            <a:lvl4pPr marL="1600200" indent="-228600">
              <a:buSzPct val="50000"/>
              <a:buFont typeface="Wingdings" panose="05000000000000000000" pitchFamily="2" charset="2"/>
              <a:buChar char="§"/>
              <a:defRPr sz="1400">
                <a:solidFill>
                  <a:schemeClr val="tx1"/>
                </a:solidFill>
                <a:latin typeface="+mn-lt"/>
              </a:defRPr>
            </a:lvl4pPr>
            <a:lvl5pPr marL="2057400" indent="-228600">
              <a:buSzPct val="50000"/>
              <a:buFont typeface="Wingdings" panose="05000000000000000000" pitchFamily="2" charset="2"/>
              <a:buChar char="§"/>
              <a:defRPr sz="1400">
                <a:solidFill>
                  <a:schemeClr val="tx1"/>
                </a:solidFill>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lt-LT" dirty="0"/>
          </a:p>
        </p:txBody>
      </p:sp>
      <p:sp>
        <p:nvSpPr>
          <p:cNvPr id="12" name="Text Placeholder 8"/>
          <p:cNvSpPr>
            <a:spLocks noGrp="1"/>
          </p:cNvSpPr>
          <p:nvPr>
            <p:ph type="body" sz="quarter" idx="14"/>
          </p:nvPr>
        </p:nvSpPr>
        <p:spPr>
          <a:xfrm>
            <a:off x="4196860" y="4017317"/>
            <a:ext cx="3798279" cy="2294939"/>
          </a:xfrm>
        </p:spPr>
        <p:txBody>
          <a:bodyPr>
            <a:normAutofit/>
          </a:bodyPr>
          <a:lstStyle>
            <a:lvl1pPr marL="342900" indent="-342900">
              <a:buSzPct val="50000"/>
              <a:buFont typeface="Wingdings" panose="05000000000000000000" pitchFamily="2" charset="2"/>
              <a:buChar char="§"/>
              <a:defRPr sz="2000">
                <a:solidFill>
                  <a:schemeClr val="tx1"/>
                </a:solidFill>
                <a:latin typeface="+mn-lt"/>
              </a:defRPr>
            </a:lvl1pPr>
            <a:lvl2pPr marL="742950" indent="-285750">
              <a:buSzPct val="50000"/>
              <a:buFont typeface="Wingdings" panose="05000000000000000000" pitchFamily="2" charset="2"/>
              <a:buChar char="§"/>
              <a:defRPr sz="1800">
                <a:solidFill>
                  <a:schemeClr val="tx1"/>
                </a:solidFill>
                <a:latin typeface="+mn-lt"/>
              </a:defRPr>
            </a:lvl2pPr>
            <a:lvl3pPr marL="1200150" indent="-285750">
              <a:buSzPct val="50000"/>
              <a:buFont typeface="Wingdings" panose="05000000000000000000" pitchFamily="2" charset="2"/>
              <a:buChar char="§"/>
              <a:defRPr sz="1600">
                <a:solidFill>
                  <a:schemeClr val="tx1"/>
                </a:solidFill>
                <a:latin typeface="+mn-lt"/>
              </a:defRPr>
            </a:lvl3pPr>
            <a:lvl4pPr marL="1657350" indent="-285750">
              <a:buSzPct val="50000"/>
              <a:buFont typeface="Wingdings" panose="05000000000000000000" pitchFamily="2" charset="2"/>
              <a:buChar char="§"/>
              <a:defRPr sz="1400">
                <a:solidFill>
                  <a:schemeClr val="tx1"/>
                </a:solidFill>
                <a:latin typeface="+mn-lt"/>
              </a:defRPr>
            </a:lvl4pPr>
            <a:lvl5pPr marL="2114550" indent="-285750">
              <a:buSzPct val="50000"/>
              <a:buFont typeface="Wingdings" panose="05000000000000000000" pitchFamily="2" charset="2"/>
              <a:buChar char="§"/>
              <a:defRPr sz="1400">
                <a:solidFill>
                  <a:schemeClr val="tx1"/>
                </a:solidFill>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lt-LT" dirty="0"/>
          </a:p>
        </p:txBody>
      </p:sp>
      <p:sp>
        <p:nvSpPr>
          <p:cNvPr id="13" name="Text Placeholder 8"/>
          <p:cNvSpPr>
            <a:spLocks noGrp="1"/>
          </p:cNvSpPr>
          <p:nvPr>
            <p:ph type="body" sz="quarter" idx="15"/>
          </p:nvPr>
        </p:nvSpPr>
        <p:spPr>
          <a:xfrm>
            <a:off x="8178017" y="4017317"/>
            <a:ext cx="3798279" cy="2294939"/>
          </a:xfrm>
        </p:spPr>
        <p:txBody>
          <a:bodyPr>
            <a:normAutofit/>
          </a:bodyPr>
          <a:lstStyle>
            <a:lvl1pPr marL="342900" indent="-342900">
              <a:buSzPct val="50000"/>
              <a:buFont typeface="Wingdings" panose="05000000000000000000" pitchFamily="2" charset="2"/>
              <a:buChar char="§"/>
              <a:defRPr sz="2000">
                <a:solidFill>
                  <a:schemeClr val="tx1"/>
                </a:solidFill>
                <a:latin typeface="+mn-lt"/>
              </a:defRPr>
            </a:lvl1pPr>
            <a:lvl2pPr marL="742950" indent="-285750">
              <a:buSzPct val="50000"/>
              <a:buFont typeface="Wingdings" panose="05000000000000000000" pitchFamily="2" charset="2"/>
              <a:buChar char="§"/>
              <a:defRPr sz="1800">
                <a:solidFill>
                  <a:schemeClr val="tx1"/>
                </a:solidFill>
                <a:latin typeface="+mn-lt"/>
              </a:defRPr>
            </a:lvl2pPr>
            <a:lvl3pPr marL="1200150" indent="-285750">
              <a:buSzPct val="50000"/>
              <a:buFont typeface="Wingdings" panose="05000000000000000000" pitchFamily="2" charset="2"/>
              <a:buChar char="§"/>
              <a:defRPr sz="1600">
                <a:solidFill>
                  <a:schemeClr val="tx1"/>
                </a:solidFill>
                <a:latin typeface="+mn-lt"/>
              </a:defRPr>
            </a:lvl3pPr>
            <a:lvl4pPr marL="1657350" indent="-285750">
              <a:buSzPct val="50000"/>
              <a:buFont typeface="Wingdings" panose="05000000000000000000" pitchFamily="2" charset="2"/>
              <a:buChar char="§"/>
              <a:defRPr sz="1400">
                <a:solidFill>
                  <a:schemeClr val="tx1"/>
                </a:solidFill>
                <a:latin typeface="+mn-lt"/>
              </a:defRPr>
            </a:lvl4pPr>
            <a:lvl5pPr marL="2114550" indent="-285750">
              <a:buSzPct val="50000"/>
              <a:buFont typeface="Wingdings" panose="05000000000000000000" pitchFamily="2" charset="2"/>
              <a:buChar char="§"/>
              <a:defRPr sz="1400">
                <a:solidFill>
                  <a:schemeClr val="tx1"/>
                </a:solidFill>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lt-LT" dirty="0"/>
          </a:p>
        </p:txBody>
      </p:sp>
      <p:sp>
        <p:nvSpPr>
          <p:cNvPr id="10" name="Rectangle 9"/>
          <p:cNvSpPr/>
          <p:nvPr userDrawn="1"/>
        </p:nvSpPr>
        <p:spPr>
          <a:xfrm>
            <a:off x="1" y="1"/>
            <a:ext cx="10955382" cy="903599"/>
          </a:xfrm>
          <a:prstGeom prst="rect">
            <a:avLst/>
          </a:prstGeom>
          <a:solidFill>
            <a:srgbClr val="061A26">
              <a:alpha val="9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lt-LT"/>
          </a:p>
        </p:txBody>
      </p:sp>
      <p:sp>
        <p:nvSpPr>
          <p:cNvPr id="14" name="Title 1"/>
          <p:cNvSpPr>
            <a:spLocks noGrp="1"/>
          </p:cNvSpPr>
          <p:nvPr>
            <p:ph type="title"/>
          </p:nvPr>
        </p:nvSpPr>
        <p:spPr>
          <a:xfrm>
            <a:off x="337351" y="1"/>
            <a:ext cx="10618032" cy="903600"/>
          </a:xfrm>
        </p:spPr>
        <p:txBody>
          <a:bodyPr anchor="ctr">
            <a:normAutofit/>
          </a:bodyPr>
          <a:lstStyle>
            <a:lvl1pPr>
              <a:defRPr sz="3200" b="0">
                <a:solidFill>
                  <a:srgbClr val="F5F5F5"/>
                </a:solidFill>
                <a:latin typeface="Cambria Math" panose="02040503050406030204" pitchFamily="18" charset="0"/>
                <a:ea typeface="Cambria Math" panose="02040503050406030204" pitchFamily="18" charset="0"/>
              </a:defRPr>
            </a:lvl1pPr>
          </a:lstStyle>
          <a:p>
            <a:r>
              <a:rPr lang="en-US" dirty="0"/>
              <a:t>Click to edit Master title style</a:t>
            </a:r>
            <a:endParaRPr lang="lt-LT" dirty="0"/>
          </a:p>
        </p:txBody>
      </p:sp>
    </p:spTree>
    <p:extLst>
      <p:ext uri="{BB962C8B-B14F-4D97-AF65-F5344CB8AC3E}">
        <p14:creationId xmlns:p14="http://schemas.microsoft.com/office/powerpoint/2010/main" val="413109749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3_Blank">
    <p:bg>
      <p:bgPr>
        <a:solidFill>
          <a:schemeClr val="bg1">
            <a:alpha val="94000"/>
          </a:schemeClr>
        </a:solidFill>
        <a:effectLst/>
      </p:bgPr>
    </p:bg>
    <p:spTree>
      <p:nvGrpSpPr>
        <p:cNvPr id="1" name=""/>
        <p:cNvGrpSpPr/>
        <p:nvPr/>
      </p:nvGrpSpPr>
      <p:grpSpPr>
        <a:xfrm>
          <a:off x="0" y="0"/>
          <a:ext cx="0" cy="0"/>
          <a:chOff x="0" y="0"/>
          <a:chExt cx="0" cy="0"/>
        </a:xfrm>
      </p:grpSpPr>
      <p:sp>
        <p:nvSpPr>
          <p:cNvPr id="2" name="Google Shape;10;p2"/>
          <p:cNvSpPr/>
          <p:nvPr userDrawn="1"/>
        </p:nvSpPr>
        <p:spPr>
          <a:xfrm>
            <a:off x="0" y="903601"/>
            <a:ext cx="12192000" cy="5558746"/>
          </a:xfrm>
          <a:custGeom>
            <a:avLst/>
            <a:gdLst/>
            <a:ahLst/>
            <a:cxnLst/>
            <a:rect l="l" t="t" r="r" b="b"/>
            <a:pathLst>
              <a:path w="3464559" h="1948815" extrusionOk="0">
                <a:moveTo>
                  <a:pt x="1162685" y="742315"/>
                </a:moveTo>
                <a:cubicBezTo>
                  <a:pt x="1426846" y="572135"/>
                  <a:pt x="1547496" y="304800"/>
                  <a:pt x="1484630" y="635"/>
                </a:cubicBezTo>
                <a:lnTo>
                  <a:pt x="1482090" y="635"/>
                </a:lnTo>
                <a:cubicBezTo>
                  <a:pt x="1486535" y="20320"/>
                  <a:pt x="1490346" y="44450"/>
                  <a:pt x="1493521" y="70485"/>
                </a:cubicBezTo>
                <a:cubicBezTo>
                  <a:pt x="1530350" y="407035"/>
                  <a:pt x="1348105" y="641985"/>
                  <a:pt x="1092835" y="781050"/>
                </a:cubicBezTo>
                <a:cubicBezTo>
                  <a:pt x="1033145" y="814705"/>
                  <a:pt x="960120" y="843280"/>
                  <a:pt x="897255" y="874395"/>
                </a:cubicBezTo>
                <a:cubicBezTo>
                  <a:pt x="698500" y="972185"/>
                  <a:pt x="528955" y="1082675"/>
                  <a:pt x="391795" y="1240155"/>
                </a:cubicBezTo>
                <a:cubicBezTo>
                  <a:pt x="236220" y="1420495"/>
                  <a:pt x="145415" y="1656715"/>
                  <a:pt x="123825" y="1948180"/>
                </a:cubicBezTo>
                <a:lnTo>
                  <a:pt x="123825" y="1948180"/>
                </a:lnTo>
                <a:cubicBezTo>
                  <a:pt x="152400" y="1689100"/>
                  <a:pt x="210185" y="1506855"/>
                  <a:pt x="313055" y="1349375"/>
                </a:cubicBezTo>
                <a:cubicBezTo>
                  <a:pt x="575945" y="954405"/>
                  <a:pt x="1013460" y="850265"/>
                  <a:pt x="1162685" y="742315"/>
                </a:cubicBezTo>
                <a:close/>
                <a:moveTo>
                  <a:pt x="1208405" y="768350"/>
                </a:moveTo>
                <a:cubicBezTo>
                  <a:pt x="1482090" y="605155"/>
                  <a:pt x="1635760" y="338455"/>
                  <a:pt x="1587500" y="10795"/>
                </a:cubicBezTo>
                <a:cubicBezTo>
                  <a:pt x="1586865" y="7620"/>
                  <a:pt x="1586230" y="3810"/>
                  <a:pt x="1586230" y="635"/>
                </a:cubicBezTo>
                <a:lnTo>
                  <a:pt x="1583055" y="635"/>
                </a:lnTo>
                <a:cubicBezTo>
                  <a:pt x="1583055" y="635"/>
                  <a:pt x="1583055" y="635"/>
                  <a:pt x="1583055" y="1270"/>
                </a:cubicBezTo>
                <a:cubicBezTo>
                  <a:pt x="1588771" y="36195"/>
                  <a:pt x="1593850" y="81280"/>
                  <a:pt x="1593850" y="134620"/>
                </a:cubicBezTo>
                <a:cubicBezTo>
                  <a:pt x="1588771" y="465455"/>
                  <a:pt x="1385571" y="676275"/>
                  <a:pt x="1143000" y="802640"/>
                </a:cubicBezTo>
                <a:cubicBezTo>
                  <a:pt x="1069340" y="842010"/>
                  <a:pt x="980440" y="873125"/>
                  <a:pt x="904875" y="909955"/>
                </a:cubicBezTo>
                <a:cubicBezTo>
                  <a:pt x="687070" y="1014730"/>
                  <a:pt x="492760" y="1145540"/>
                  <a:pt x="355600" y="1339215"/>
                </a:cubicBezTo>
                <a:cubicBezTo>
                  <a:pt x="234950" y="1508760"/>
                  <a:pt x="179705" y="1708785"/>
                  <a:pt x="155575" y="1924685"/>
                </a:cubicBezTo>
                <a:cubicBezTo>
                  <a:pt x="154940" y="1932940"/>
                  <a:pt x="153035" y="1941195"/>
                  <a:pt x="153035" y="1948815"/>
                </a:cubicBezTo>
                <a:lnTo>
                  <a:pt x="156210" y="1948815"/>
                </a:lnTo>
                <a:cubicBezTo>
                  <a:pt x="167005" y="1845310"/>
                  <a:pt x="181610" y="1763395"/>
                  <a:pt x="201930" y="1685290"/>
                </a:cubicBezTo>
                <a:cubicBezTo>
                  <a:pt x="370840" y="1021080"/>
                  <a:pt x="1032510" y="889635"/>
                  <a:pt x="1208405" y="768350"/>
                </a:cubicBezTo>
                <a:close/>
                <a:moveTo>
                  <a:pt x="1312546" y="758190"/>
                </a:moveTo>
                <a:cubicBezTo>
                  <a:pt x="1579880" y="587375"/>
                  <a:pt x="1724660" y="316865"/>
                  <a:pt x="1685925" y="635"/>
                </a:cubicBezTo>
                <a:lnTo>
                  <a:pt x="1683385" y="635"/>
                </a:lnTo>
                <a:cubicBezTo>
                  <a:pt x="1687830" y="34925"/>
                  <a:pt x="1691005" y="81280"/>
                  <a:pt x="1689100" y="133985"/>
                </a:cubicBezTo>
                <a:cubicBezTo>
                  <a:pt x="1671955" y="469265"/>
                  <a:pt x="1462405" y="680720"/>
                  <a:pt x="1223646" y="807085"/>
                </a:cubicBezTo>
                <a:cubicBezTo>
                  <a:pt x="1179196" y="830580"/>
                  <a:pt x="1132840" y="852170"/>
                  <a:pt x="1082675" y="871855"/>
                </a:cubicBezTo>
                <a:cubicBezTo>
                  <a:pt x="732790" y="1004570"/>
                  <a:pt x="488315" y="1180465"/>
                  <a:pt x="348615" y="1404620"/>
                </a:cubicBezTo>
                <a:cubicBezTo>
                  <a:pt x="238760" y="1581785"/>
                  <a:pt x="196215" y="1781810"/>
                  <a:pt x="184785" y="1948180"/>
                </a:cubicBezTo>
                <a:lnTo>
                  <a:pt x="185420" y="1948180"/>
                </a:lnTo>
                <a:cubicBezTo>
                  <a:pt x="207010" y="1772920"/>
                  <a:pt x="234315" y="1593850"/>
                  <a:pt x="348615" y="1409700"/>
                </a:cubicBezTo>
                <a:cubicBezTo>
                  <a:pt x="636905" y="963930"/>
                  <a:pt x="1096646" y="910590"/>
                  <a:pt x="1312546" y="758190"/>
                </a:cubicBezTo>
                <a:close/>
                <a:moveTo>
                  <a:pt x="1169035" y="676910"/>
                </a:moveTo>
                <a:cubicBezTo>
                  <a:pt x="1337946" y="538480"/>
                  <a:pt x="1438275" y="332105"/>
                  <a:pt x="1400810" y="78740"/>
                </a:cubicBezTo>
                <a:cubicBezTo>
                  <a:pt x="1395730" y="50165"/>
                  <a:pt x="1391921" y="21590"/>
                  <a:pt x="1384935" y="635"/>
                </a:cubicBezTo>
                <a:lnTo>
                  <a:pt x="1379221" y="635"/>
                </a:lnTo>
                <a:cubicBezTo>
                  <a:pt x="1456055" y="304165"/>
                  <a:pt x="1341755" y="559435"/>
                  <a:pt x="1098550" y="722630"/>
                </a:cubicBezTo>
                <a:cubicBezTo>
                  <a:pt x="1061085" y="748030"/>
                  <a:pt x="1019810" y="772160"/>
                  <a:pt x="975360" y="794385"/>
                </a:cubicBezTo>
                <a:cubicBezTo>
                  <a:pt x="622935" y="960755"/>
                  <a:pt x="400685" y="1129030"/>
                  <a:pt x="257810" y="1369695"/>
                </a:cubicBezTo>
                <a:cubicBezTo>
                  <a:pt x="156845" y="1543050"/>
                  <a:pt x="114935" y="1722120"/>
                  <a:pt x="89535" y="1929765"/>
                </a:cubicBezTo>
                <a:cubicBezTo>
                  <a:pt x="88265" y="1936750"/>
                  <a:pt x="87630" y="1943100"/>
                  <a:pt x="87630" y="1948815"/>
                </a:cubicBezTo>
                <a:lnTo>
                  <a:pt x="92075" y="1948815"/>
                </a:lnTo>
                <a:cubicBezTo>
                  <a:pt x="109220" y="1834515"/>
                  <a:pt x="123190" y="1727200"/>
                  <a:pt x="151130" y="1637665"/>
                </a:cubicBezTo>
                <a:cubicBezTo>
                  <a:pt x="342900" y="966470"/>
                  <a:pt x="972185" y="860425"/>
                  <a:pt x="1169035" y="676910"/>
                </a:cubicBezTo>
                <a:close/>
                <a:moveTo>
                  <a:pt x="1030605" y="650875"/>
                </a:moveTo>
                <a:cubicBezTo>
                  <a:pt x="1231265" y="472440"/>
                  <a:pt x="1261110" y="227965"/>
                  <a:pt x="1178560" y="635"/>
                </a:cubicBezTo>
                <a:lnTo>
                  <a:pt x="1175385" y="635"/>
                </a:lnTo>
                <a:cubicBezTo>
                  <a:pt x="1190625" y="41910"/>
                  <a:pt x="1201421" y="85090"/>
                  <a:pt x="1207771" y="118110"/>
                </a:cubicBezTo>
                <a:cubicBezTo>
                  <a:pt x="1252855" y="367665"/>
                  <a:pt x="1154430" y="569595"/>
                  <a:pt x="951865" y="709295"/>
                </a:cubicBezTo>
                <a:cubicBezTo>
                  <a:pt x="926465" y="727075"/>
                  <a:pt x="899795" y="743585"/>
                  <a:pt x="870585" y="759460"/>
                </a:cubicBezTo>
                <a:cubicBezTo>
                  <a:pt x="557530" y="932180"/>
                  <a:pt x="371475" y="1082040"/>
                  <a:pt x="243840" y="1265555"/>
                </a:cubicBezTo>
                <a:cubicBezTo>
                  <a:pt x="123825" y="1440180"/>
                  <a:pt x="47625" y="1658620"/>
                  <a:pt x="21590" y="1948180"/>
                </a:cubicBezTo>
                <a:lnTo>
                  <a:pt x="21590" y="1948180"/>
                </a:lnTo>
                <a:cubicBezTo>
                  <a:pt x="59690" y="1642745"/>
                  <a:pt x="123190" y="1440815"/>
                  <a:pt x="251460" y="1259205"/>
                </a:cubicBezTo>
                <a:cubicBezTo>
                  <a:pt x="514985" y="897890"/>
                  <a:pt x="885825" y="791210"/>
                  <a:pt x="1030605" y="650875"/>
                </a:cubicBezTo>
                <a:close/>
                <a:moveTo>
                  <a:pt x="955675" y="1035050"/>
                </a:moveTo>
                <a:cubicBezTo>
                  <a:pt x="1100455" y="967740"/>
                  <a:pt x="1285875" y="924560"/>
                  <a:pt x="1424305" y="849630"/>
                </a:cubicBezTo>
                <a:cubicBezTo>
                  <a:pt x="1666875" y="726440"/>
                  <a:pt x="1883410" y="528320"/>
                  <a:pt x="1959610" y="223520"/>
                </a:cubicBezTo>
                <a:cubicBezTo>
                  <a:pt x="1980565" y="133350"/>
                  <a:pt x="1985646" y="80010"/>
                  <a:pt x="1984375" y="635"/>
                </a:cubicBezTo>
                <a:lnTo>
                  <a:pt x="1981835" y="635"/>
                </a:lnTo>
                <a:cubicBezTo>
                  <a:pt x="1988185" y="438785"/>
                  <a:pt x="1694180" y="748030"/>
                  <a:pt x="1297305" y="904240"/>
                </a:cubicBezTo>
                <a:cubicBezTo>
                  <a:pt x="1157605" y="956945"/>
                  <a:pt x="1005840" y="1001395"/>
                  <a:pt x="887095" y="1064260"/>
                </a:cubicBezTo>
                <a:cubicBezTo>
                  <a:pt x="495300" y="1257935"/>
                  <a:pt x="285750" y="1552575"/>
                  <a:pt x="273685" y="1948180"/>
                </a:cubicBezTo>
                <a:lnTo>
                  <a:pt x="273685" y="1948180"/>
                </a:lnTo>
                <a:cubicBezTo>
                  <a:pt x="300355" y="1496695"/>
                  <a:pt x="537845" y="1223645"/>
                  <a:pt x="955675" y="1035050"/>
                </a:cubicBezTo>
                <a:close/>
                <a:moveTo>
                  <a:pt x="1320165" y="807085"/>
                </a:moveTo>
                <a:cubicBezTo>
                  <a:pt x="1630046" y="637540"/>
                  <a:pt x="1815465" y="351155"/>
                  <a:pt x="1785621" y="635"/>
                </a:cubicBezTo>
                <a:lnTo>
                  <a:pt x="1783080" y="635"/>
                </a:lnTo>
                <a:cubicBezTo>
                  <a:pt x="1784985" y="20320"/>
                  <a:pt x="1786255" y="43815"/>
                  <a:pt x="1786255" y="70485"/>
                </a:cubicBezTo>
                <a:cubicBezTo>
                  <a:pt x="1784985" y="448310"/>
                  <a:pt x="1544955" y="697230"/>
                  <a:pt x="1259840" y="835660"/>
                </a:cubicBezTo>
                <a:cubicBezTo>
                  <a:pt x="1178560" y="876935"/>
                  <a:pt x="1080135" y="908050"/>
                  <a:pt x="993140" y="944880"/>
                </a:cubicBezTo>
                <a:cubicBezTo>
                  <a:pt x="774700" y="1038225"/>
                  <a:pt x="589280" y="1151890"/>
                  <a:pt x="445135" y="1323340"/>
                </a:cubicBezTo>
                <a:cubicBezTo>
                  <a:pt x="328295" y="1461135"/>
                  <a:pt x="256540" y="1637030"/>
                  <a:pt x="227965" y="1830070"/>
                </a:cubicBezTo>
                <a:cubicBezTo>
                  <a:pt x="221615" y="1870075"/>
                  <a:pt x="217170" y="1908810"/>
                  <a:pt x="213360" y="1948180"/>
                </a:cubicBezTo>
                <a:lnTo>
                  <a:pt x="215900" y="1948180"/>
                </a:lnTo>
                <a:cubicBezTo>
                  <a:pt x="230505" y="1801495"/>
                  <a:pt x="257175" y="1619250"/>
                  <a:pt x="365760" y="1439545"/>
                </a:cubicBezTo>
                <a:cubicBezTo>
                  <a:pt x="636905" y="1000125"/>
                  <a:pt x="1139825" y="920750"/>
                  <a:pt x="1320165" y="807085"/>
                </a:cubicBezTo>
                <a:close/>
                <a:moveTo>
                  <a:pt x="1230630" y="967740"/>
                </a:moveTo>
                <a:cubicBezTo>
                  <a:pt x="1319530" y="939800"/>
                  <a:pt x="1398905" y="908050"/>
                  <a:pt x="1474471" y="871220"/>
                </a:cubicBezTo>
                <a:cubicBezTo>
                  <a:pt x="1827530" y="702310"/>
                  <a:pt x="2080896" y="388620"/>
                  <a:pt x="2082165" y="0"/>
                </a:cubicBezTo>
                <a:lnTo>
                  <a:pt x="2081530" y="0"/>
                </a:lnTo>
                <a:cubicBezTo>
                  <a:pt x="2064385" y="457835"/>
                  <a:pt x="1764665" y="763270"/>
                  <a:pt x="1343660" y="925195"/>
                </a:cubicBezTo>
                <a:cubicBezTo>
                  <a:pt x="1207771" y="975360"/>
                  <a:pt x="1030605" y="1023620"/>
                  <a:pt x="901700" y="1091565"/>
                </a:cubicBezTo>
                <a:cubicBezTo>
                  <a:pt x="525780" y="1273810"/>
                  <a:pt x="302895" y="1569085"/>
                  <a:pt x="300355" y="1948180"/>
                </a:cubicBezTo>
                <a:lnTo>
                  <a:pt x="300355" y="1948180"/>
                </a:lnTo>
                <a:cubicBezTo>
                  <a:pt x="322580" y="1429385"/>
                  <a:pt x="676275" y="1136650"/>
                  <a:pt x="1230630" y="967740"/>
                </a:cubicBezTo>
                <a:close/>
                <a:moveTo>
                  <a:pt x="1195071" y="1046480"/>
                </a:moveTo>
                <a:cubicBezTo>
                  <a:pt x="1330325" y="1007110"/>
                  <a:pt x="1464310" y="968375"/>
                  <a:pt x="1579246" y="914400"/>
                </a:cubicBezTo>
                <a:cubicBezTo>
                  <a:pt x="1960880" y="743585"/>
                  <a:pt x="2251710" y="423545"/>
                  <a:pt x="2280921" y="635"/>
                </a:cubicBezTo>
                <a:lnTo>
                  <a:pt x="2277746" y="635"/>
                </a:lnTo>
                <a:cubicBezTo>
                  <a:pt x="2277110" y="14605"/>
                  <a:pt x="2275840" y="30480"/>
                  <a:pt x="2273300" y="48895"/>
                </a:cubicBezTo>
                <a:cubicBezTo>
                  <a:pt x="2211705" y="528320"/>
                  <a:pt x="1842771" y="831215"/>
                  <a:pt x="1410335" y="978535"/>
                </a:cubicBezTo>
                <a:cubicBezTo>
                  <a:pt x="1279525" y="1021715"/>
                  <a:pt x="1112521" y="1062355"/>
                  <a:pt x="986155" y="1122045"/>
                </a:cubicBezTo>
                <a:cubicBezTo>
                  <a:pt x="692150" y="1250315"/>
                  <a:pt x="403225" y="1477645"/>
                  <a:pt x="356870" y="1850390"/>
                </a:cubicBezTo>
                <a:cubicBezTo>
                  <a:pt x="351790" y="1891665"/>
                  <a:pt x="351155" y="1925320"/>
                  <a:pt x="351155" y="1948815"/>
                </a:cubicBezTo>
                <a:lnTo>
                  <a:pt x="353695" y="1948815"/>
                </a:lnTo>
                <a:cubicBezTo>
                  <a:pt x="353695" y="1877060"/>
                  <a:pt x="358775" y="1717675"/>
                  <a:pt x="467360" y="1541145"/>
                </a:cubicBezTo>
                <a:cubicBezTo>
                  <a:pt x="627380" y="1284605"/>
                  <a:pt x="903605" y="1139190"/>
                  <a:pt x="1195071" y="1046480"/>
                </a:cubicBezTo>
                <a:close/>
                <a:moveTo>
                  <a:pt x="1263015" y="992505"/>
                </a:moveTo>
                <a:cubicBezTo>
                  <a:pt x="1346835" y="967740"/>
                  <a:pt x="1422400" y="939800"/>
                  <a:pt x="1495425" y="906780"/>
                </a:cubicBezTo>
                <a:cubicBezTo>
                  <a:pt x="1878965" y="739775"/>
                  <a:pt x="2167255" y="415290"/>
                  <a:pt x="2181225" y="0"/>
                </a:cubicBezTo>
                <a:lnTo>
                  <a:pt x="2180590" y="0"/>
                </a:lnTo>
                <a:cubicBezTo>
                  <a:pt x="2143125" y="546735"/>
                  <a:pt x="1732915" y="866775"/>
                  <a:pt x="1177925" y="1015365"/>
                </a:cubicBezTo>
                <a:cubicBezTo>
                  <a:pt x="638810" y="1185545"/>
                  <a:pt x="323850" y="1515110"/>
                  <a:pt x="328295" y="1947545"/>
                </a:cubicBezTo>
                <a:lnTo>
                  <a:pt x="328295" y="1947545"/>
                </a:lnTo>
                <a:cubicBezTo>
                  <a:pt x="337820" y="1456690"/>
                  <a:pt x="701675" y="1151255"/>
                  <a:pt x="1263015" y="992505"/>
                </a:cubicBezTo>
                <a:close/>
                <a:moveTo>
                  <a:pt x="482600" y="971550"/>
                </a:moveTo>
                <a:cubicBezTo>
                  <a:pt x="714375" y="788035"/>
                  <a:pt x="902970" y="720725"/>
                  <a:pt x="1006475" y="592455"/>
                </a:cubicBezTo>
                <a:cubicBezTo>
                  <a:pt x="1160780" y="415290"/>
                  <a:pt x="1156335" y="191135"/>
                  <a:pt x="1075690" y="635"/>
                </a:cubicBezTo>
                <a:lnTo>
                  <a:pt x="1072515" y="635"/>
                </a:lnTo>
                <a:cubicBezTo>
                  <a:pt x="1089025" y="40005"/>
                  <a:pt x="1102360" y="80645"/>
                  <a:pt x="1109980" y="113030"/>
                </a:cubicBezTo>
                <a:cubicBezTo>
                  <a:pt x="1169035" y="358775"/>
                  <a:pt x="1082040" y="561975"/>
                  <a:pt x="875665" y="705485"/>
                </a:cubicBezTo>
                <a:cubicBezTo>
                  <a:pt x="489585" y="941705"/>
                  <a:pt x="247650" y="1111250"/>
                  <a:pt x="104775" y="1447165"/>
                </a:cubicBezTo>
                <a:cubicBezTo>
                  <a:pt x="58420" y="1558290"/>
                  <a:pt x="22860" y="1685290"/>
                  <a:pt x="635" y="1831975"/>
                </a:cubicBezTo>
                <a:lnTo>
                  <a:pt x="635" y="1849755"/>
                </a:lnTo>
                <a:cubicBezTo>
                  <a:pt x="63500" y="1457325"/>
                  <a:pt x="182245" y="1210945"/>
                  <a:pt x="482600" y="971550"/>
                </a:cubicBezTo>
                <a:close/>
                <a:moveTo>
                  <a:pt x="1353821" y="839470"/>
                </a:moveTo>
                <a:cubicBezTo>
                  <a:pt x="1670050" y="679450"/>
                  <a:pt x="1882775" y="408305"/>
                  <a:pt x="1887855" y="52705"/>
                </a:cubicBezTo>
                <a:cubicBezTo>
                  <a:pt x="1887221" y="38100"/>
                  <a:pt x="1888490" y="15875"/>
                  <a:pt x="1886585" y="635"/>
                </a:cubicBezTo>
                <a:lnTo>
                  <a:pt x="1880871" y="635"/>
                </a:lnTo>
                <a:cubicBezTo>
                  <a:pt x="1880871" y="635"/>
                  <a:pt x="1880871" y="1270"/>
                  <a:pt x="1880871" y="1270"/>
                </a:cubicBezTo>
                <a:cubicBezTo>
                  <a:pt x="1898015" y="332740"/>
                  <a:pt x="1724660" y="602615"/>
                  <a:pt x="1467485" y="767715"/>
                </a:cubicBezTo>
                <a:cubicBezTo>
                  <a:pt x="1337946" y="856615"/>
                  <a:pt x="1172210" y="911225"/>
                  <a:pt x="1020445" y="967740"/>
                </a:cubicBezTo>
                <a:cubicBezTo>
                  <a:pt x="803910" y="1056005"/>
                  <a:pt x="619760" y="1165860"/>
                  <a:pt x="474980" y="1332230"/>
                </a:cubicBezTo>
                <a:cubicBezTo>
                  <a:pt x="329565" y="1499870"/>
                  <a:pt x="271145" y="1687195"/>
                  <a:pt x="248920" y="1869440"/>
                </a:cubicBezTo>
                <a:cubicBezTo>
                  <a:pt x="245745" y="1896745"/>
                  <a:pt x="242570" y="1923415"/>
                  <a:pt x="240665" y="1948180"/>
                </a:cubicBezTo>
                <a:lnTo>
                  <a:pt x="245745" y="1948180"/>
                </a:lnTo>
                <a:cubicBezTo>
                  <a:pt x="260985" y="1810385"/>
                  <a:pt x="280035" y="1636395"/>
                  <a:pt x="391160" y="1455420"/>
                </a:cubicBezTo>
                <a:cubicBezTo>
                  <a:pt x="663575" y="1021080"/>
                  <a:pt x="1175385" y="942975"/>
                  <a:pt x="1353821" y="839470"/>
                </a:cubicBezTo>
                <a:close/>
                <a:moveTo>
                  <a:pt x="847725" y="561340"/>
                </a:moveTo>
                <a:cubicBezTo>
                  <a:pt x="1028065" y="394335"/>
                  <a:pt x="1018540" y="168910"/>
                  <a:pt x="935355" y="0"/>
                </a:cubicBezTo>
                <a:lnTo>
                  <a:pt x="929640" y="0"/>
                </a:lnTo>
                <a:cubicBezTo>
                  <a:pt x="1019810" y="184785"/>
                  <a:pt x="1021080" y="412750"/>
                  <a:pt x="817880" y="580390"/>
                </a:cubicBezTo>
                <a:cubicBezTo>
                  <a:pt x="760730" y="628650"/>
                  <a:pt x="685800" y="666750"/>
                  <a:pt x="632460" y="700405"/>
                </a:cubicBezTo>
                <a:cubicBezTo>
                  <a:pt x="505460" y="777875"/>
                  <a:pt x="403225" y="847090"/>
                  <a:pt x="317500" y="922655"/>
                </a:cubicBezTo>
                <a:cubicBezTo>
                  <a:pt x="161290" y="1059180"/>
                  <a:pt x="53975" y="1224915"/>
                  <a:pt x="635" y="1468120"/>
                </a:cubicBezTo>
                <a:lnTo>
                  <a:pt x="635" y="1495425"/>
                </a:lnTo>
                <a:cubicBezTo>
                  <a:pt x="36195" y="1318895"/>
                  <a:pt x="97790" y="1179830"/>
                  <a:pt x="192405" y="1061085"/>
                </a:cubicBezTo>
                <a:cubicBezTo>
                  <a:pt x="417830" y="784225"/>
                  <a:pt x="725170" y="681355"/>
                  <a:pt x="847725" y="561340"/>
                </a:cubicBezTo>
                <a:close/>
                <a:moveTo>
                  <a:pt x="407035" y="220345"/>
                </a:moveTo>
                <a:cubicBezTo>
                  <a:pt x="454660" y="158115"/>
                  <a:pt x="434340" y="57150"/>
                  <a:pt x="375285" y="0"/>
                </a:cubicBezTo>
                <a:lnTo>
                  <a:pt x="371475" y="0"/>
                </a:lnTo>
                <a:cubicBezTo>
                  <a:pt x="386080" y="14605"/>
                  <a:pt x="399415" y="32385"/>
                  <a:pt x="409575" y="52705"/>
                </a:cubicBezTo>
                <a:cubicBezTo>
                  <a:pt x="467995" y="172085"/>
                  <a:pt x="401955" y="253365"/>
                  <a:pt x="299720" y="292100"/>
                </a:cubicBezTo>
                <a:cubicBezTo>
                  <a:pt x="228600" y="322580"/>
                  <a:pt x="161925" y="342900"/>
                  <a:pt x="105410" y="360680"/>
                </a:cubicBezTo>
                <a:cubicBezTo>
                  <a:pt x="69850" y="373380"/>
                  <a:pt x="27940" y="382270"/>
                  <a:pt x="635" y="395605"/>
                </a:cubicBezTo>
                <a:lnTo>
                  <a:pt x="635" y="398780"/>
                </a:lnTo>
                <a:cubicBezTo>
                  <a:pt x="115570" y="354965"/>
                  <a:pt x="356870" y="301625"/>
                  <a:pt x="407035" y="220345"/>
                </a:cubicBezTo>
                <a:close/>
                <a:moveTo>
                  <a:pt x="1019810" y="442595"/>
                </a:moveTo>
                <a:cubicBezTo>
                  <a:pt x="1108075" y="255270"/>
                  <a:pt x="1031240" y="52070"/>
                  <a:pt x="1005205" y="0"/>
                </a:cubicBezTo>
                <a:lnTo>
                  <a:pt x="1002030" y="0"/>
                </a:lnTo>
                <a:cubicBezTo>
                  <a:pt x="1002665" y="1905"/>
                  <a:pt x="1003935" y="3810"/>
                  <a:pt x="1005205" y="6350"/>
                </a:cubicBezTo>
                <a:cubicBezTo>
                  <a:pt x="1104265" y="233045"/>
                  <a:pt x="1065530" y="450215"/>
                  <a:pt x="896620" y="603250"/>
                </a:cubicBezTo>
                <a:cubicBezTo>
                  <a:pt x="841375" y="655955"/>
                  <a:pt x="762000" y="699135"/>
                  <a:pt x="684530" y="746760"/>
                </a:cubicBezTo>
                <a:cubicBezTo>
                  <a:pt x="299085" y="981710"/>
                  <a:pt x="74295" y="1210310"/>
                  <a:pt x="1270" y="1652270"/>
                </a:cubicBezTo>
                <a:lnTo>
                  <a:pt x="1270" y="1664335"/>
                </a:lnTo>
                <a:cubicBezTo>
                  <a:pt x="38735" y="1448435"/>
                  <a:pt x="106045" y="1283335"/>
                  <a:pt x="211455" y="1143635"/>
                </a:cubicBezTo>
                <a:cubicBezTo>
                  <a:pt x="512445" y="758190"/>
                  <a:pt x="909320" y="711835"/>
                  <a:pt x="1019810" y="442595"/>
                </a:cubicBezTo>
                <a:close/>
                <a:moveTo>
                  <a:pt x="466725" y="258445"/>
                </a:moveTo>
                <a:cubicBezTo>
                  <a:pt x="527050" y="182880"/>
                  <a:pt x="506730" y="67945"/>
                  <a:pt x="443230" y="635"/>
                </a:cubicBezTo>
                <a:lnTo>
                  <a:pt x="440055" y="635"/>
                </a:lnTo>
                <a:cubicBezTo>
                  <a:pt x="454025" y="15875"/>
                  <a:pt x="466725" y="34925"/>
                  <a:pt x="477520" y="57150"/>
                </a:cubicBezTo>
                <a:cubicBezTo>
                  <a:pt x="528320" y="163830"/>
                  <a:pt x="488950" y="246380"/>
                  <a:pt x="422910" y="297180"/>
                </a:cubicBezTo>
                <a:cubicBezTo>
                  <a:pt x="360045" y="342900"/>
                  <a:pt x="262255" y="375920"/>
                  <a:pt x="194945" y="405130"/>
                </a:cubicBezTo>
                <a:cubicBezTo>
                  <a:pt x="116840" y="437515"/>
                  <a:pt x="50800" y="462915"/>
                  <a:pt x="635" y="498475"/>
                </a:cubicBezTo>
                <a:lnTo>
                  <a:pt x="635" y="501650"/>
                </a:lnTo>
                <a:cubicBezTo>
                  <a:pt x="120015" y="415925"/>
                  <a:pt x="402590" y="353060"/>
                  <a:pt x="466725" y="258445"/>
                </a:cubicBezTo>
                <a:close/>
                <a:moveTo>
                  <a:pt x="266065" y="0"/>
                </a:moveTo>
                <a:lnTo>
                  <a:pt x="258445" y="0"/>
                </a:lnTo>
                <a:cubicBezTo>
                  <a:pt x="394335" y="180975"/>
                  <a:pt x="101600" y="205740"/>
                  <a:pt x="635" y="194310"/>
                </a:cubicBezTo>
                <a:lnTo>
                  <a:pt x="635" y="200025"/>
                </a:lnTo>
                <a:cubicBezTo>
                  <a:pt x="18415" y="201930"/>
                  <a:pt x="30480" y="202565"/>
                  <a:pt x="51435" y="202565"/>
                </a:cubicBezTo>
                <a:cubicBezTo>
                  <a:pt x="368935" y="193675"/>
                  <a:pt x="304800" y="46355"/>
                  <a:pt x="266065" y="0"/>
                </a:cubicBezTo>
                <a:close/>
                <a:moveTo>
                  <a:pt x="226060" y="0"/>
                </a:moveTo>
                <a:lnTo>
                  <a:pt x="224790" y="0"/>
                </a:lnTo>
                <a:cubicBezTo>
                  <a:pt x="243205" y="86360"/>
                  <a:pt x="132715" y="92075"/>
                  <a:pt x="64135" y="88265"/>
                </a:cubicBezTo>
                <a:cubicBezTo>
                  <a:pt x="42545" y="86360"/>
                  <a:pt x="20955" y="81915"/>
                  <a:pt x="635" y="76200"/>
                </a:cubicBezTo>
                <a:lnTo>
                  <a:pt x="635" y="79375"/>
                </a:lnTo>
                <a:cubicBezTo>
                  <a:pt x="80645" y="104775"/>
                  <a:pt x="257175" y="99695"/>
                  <a:pt x="226060" y="0"/>
                </a:cubicBezTo>
                <a:close/>
                <a:moveTo>
                  <a:pt x="283210" y="443230"/>
                </a:moveTo>
                <a:cubicBezTo>
                  <a:pt x="358775" y="404495"/>
                  <a:pt x="460375" y="369570"/>
                  <a:pt x="516890" y="306705"/>
                </a:cubicBezTo>
                <a:cubicBezTo>
                  <a:pt x="626745" y="179705"/>
                  <a:pt x="544830" y="41910"/>
                  <a:pt x="511810" y="0"/>
                </a:cubicBezTo>
                <a:lnTo>
                  <a:pt x="508000" y="0"/>
                </a:lnTo>
                <a:cubicBezTo>
                  <a:pt x="509270" y="1270"/>
                  <a:pt x="510540" y="3175"/>
                  <a:pt x="511810" y="5080"/>
                </a:cubicBezTo>
                <a:cubicBezTo>
                  <a:pt x="584835" y="101600"/>
                  <a:pt x="596265" y="231775"/>
                  <a:pt x="495935" y="323215"/>
                </a:cubicBezTo>
                <a:cubicBezTo>
                  <a:pt x="455930" y="360680"/>
                  <a:pt x="397510" y="384810"/>
                  <a:pt x="361315" y="403225"/>
                </a:cubicBezTo>
                <a:cubicBezTo>
                  <a:pt x="234950" y="467360"/>
                  <a:pt x="86995" y="519430"/>
                  <a:pt x="0" y="610870"/>
                </a:cubicBezTo>
                <a:lnTo>
                  <a:pt x="0" y="614045"/>
                </a:lnTo>
                <a:cubicBezTo>
                  <a:pt x="60960" y="548005"/>
                  <a:pt x="159385" y="502285"/>
                  <a:pt x="283210" y="443230"/>
                </a:cubicBezTo>
                <a:close/>
                <a:moveTo>
                  <a:pt x="5715" y="304165"/>
                </a:moveTo>
                <a:cubicBezTo>
                  <a:pt x="74930" y="295275"/>
                  <a:pt x="172720" y="281305"/>
                  <a:pt x="273685" y="239395"/>
                </a:cubicBezTo>
                <a:cubicBezTo>
                  <a:pt x="400685" y="186690"/>
                  <a:pt x="379095" y="69850"/>
                  <a:pt x="309245" y="635"/>
                </a:cubicBezTo>
                <a:cubicBezTo>
                  <a:pt x="309245" y="635"/>
                  <a:pt x="308610" y="635"/>
                  <a:pt x="308610" y="0"/>
                </a:cubicBezTo>
                <a:lnTo>
                  <a:pt x="304800" y="0"/>
                </a:lnTo>
                <a:cubicBezTo>
                  <a:pt x="355600" y="46355"/>
                  <a:pt x="382905" y="127000"/>
                  <a:pt x="343535" y="182880"/>
                </a:cubicBezTo>
                <a:cubicBezTo>
                  <a:pt x="287655" y="264795"/>
                  <a:pt x="70485" y="290830"/>
                  <a:pt x="635" y="301625"/>
                </a:cubicBezTo>
                <a:lnTo>
                  <a:pt x="635" y="304165"/>
                </a:lnTo>
                <a:cubicBezTo>
                  <a:pt x="3175" y="304165"/>
                  <a:pt x="5080" y="303530"/>
                  <a:pt x="5715" y="304165"/>
                </a:cubicBezTo>
                <a:close/>
                <a:moveTo>
                  <a:pt x="808355" y="501650"/>
                </a:moveTo>
                <a:cubicBezTo>
                  <a:pt x="921385" y="385445"/>
                  <a:pt x="951230" y="225425"/>
                  <a:pt x="890270" y="60325"/>
                </a:cubicBezTo>
                <a:cubicBezTo>
                  <a:pt x="889000" y="52705"/>
                  <a:pt x="873125" y="19050"/>
                  <a:pt x="862965" y="635"/>
                </a:cubicBezTo>
                <a:lnTo>
                  <a:pt x="860425" y="635"/>
                </a:lnTo>
                <a:cubicBezTo>
                  <a:pt x="949960" y="170180"/>
                  <a:pt x="946150" y="379730"/>
                  <a:pt x="779780" y="526415"/>
                </a:cubicBezTo>
                <a:cubicBezTo>
                  <a:pt x="715010" y="586105"/>
                  <a:pt x="618490" y="631190"/>
                  <a:pt x="539115" y="681355"/>
                </a:cubicBezTo>
                <a:cubicBezTo>
                  <a:pt x="278130" y="838835"/>
                  <a:pt x="71755" y="1010285"/>
                  <a:pt x="635" y="1310640"/>
                </a:cubicBezTo>
                <a:lnTo>
                  <a:pt x="635" y="1320165"/>
                </a:lnTo>
                <a:cubicBezTo>
                  <a:pt x="34290" y="1183640"/>
                  <a:pt x="90170" y="1073150"/>
                  <a:pt x="171450" y="975995"/>
                </a:cubicBezTo>
                <a:cubicBezTo>
                  <a:pt x="400050" y="713105"/>
                  <a:pt x="690880" y="630555"/>
                  <a:pt x="808355" y="501650"/>
                </a:cubicBezTo>
                <a:close/>
                <a:moveTo>
                  <a:pt x="1220471" y="1072515"/>
                </a:moveTo>
                <a:cubicBezTo>
                  <a:pt x="1384935" y="1027430"/>
                  <a:pt x="1541780" y="982345"/>
                  <a:pt x="1675765" y="916305"/>
                </a:cubicBezTo>
                <a:cubicBezTo>
                  <a:pt x="2052321" y="741045"/>
                  <a:pt x="2342515" y="417830"/>
                  <a:pt x="2381250" y="0"/>
                </a:cubicBezTo>
                <a:lnTo>
                  <a:pt x="2375535" y="0"/>
                </a:lnTo>
                <a:cubicBezTo>
                  <a:pt x="2373630" y="14605"/>
                  <a:pt x="2373630" y="35560"/>
                  <a:pt x="2371725" y="40005"/>
                </a:cubicBezTo>
                <a:cubicBezTo>
                  <a:pt x="2313305" y="455295"/>
                  <a:pt x="2019300" y="749300"/>
                  <a:pt x="1673225" y="911225"/>
                </a:cubicBezTo>
                <a:cubicBezTo>
                  <a:pt x="1526540" y="985520"/>
                  <a:pt x="1343025" y="1029335"/>
                  <a:pt x="1166496" y="1083945"/>
                </a:cubicBezTo>
                <a:cubicBezTo>
                  <a:pt x="810260" y="1200150"/>
                  <a:pt x="405765" y="1449070"/>
                  <a:pt x="375920" y="1893570"/>
                </a:cubicBezTo>
                <a:cubicBezTo>
                  <a:pt x="375285" y="1914525"/>
                  <a:pt x="374650" y="1933575"/>
                  <a:pt x="375920" y="1947545"/>
                </a:cubicBezTo>
                <a:lnTo>
                  <a:pt x="381000" y="1947545"/>
                </a:lnTo>
                <a:cubicBezTo>
                  <a:pt x="381000" y="1946275"/>
                  <a:pt x="381000" y="1945640"/>
                  <a:pt x="381000" y="1945005"/>
                </a:cubicBezTo>
                <a:cubicBezTo>
                  <a:pt x="378460" y="1879600"/>
                  <a:pt x="385445" y="1746885"/>
                  <a:pt x="468630" y="1596390"/>
                </a:cubicBezTo>
                <a:cubicBezTo>
                  <a:pt x="621665" y="1321435"/>
                  <a:pt x="916305" y="1166495"/>
                  <a:pt x="1220471" y="1072515"/>
                </a:cubicBezTo>
                <a:close/>
                <a:moveTo>
                  <a:pt x="753110" y="459105"/>
                </a:moveTo>
                <a:cubicBezTo>
                  <a:pt x="854710" y="351155"/>
                  <a:pt x="876300" y="207010"/>
                  <a:pt x="822325" y="63500"/>
                </a:cubicBezTo>
                <a:cubicBezTo>
                  <a:pt x="822325" y="59055"/>
                  <a:pt x="803910" y="20955"/>
                  <a:pt x="792480" y="635"/>
                </a:cubicBezTo>
                <a:lnTo>
                  <a:pt x="789305" y="635"/>
                </a:lnTo>
                <a:cubicBezTo>
                  <a:pt x="875030" y="151130"/>
                  <a:pt x="877570" y="345440"/>
                  <a:pt x="728345" y="480695"/>
                </a:cubicBezTo>
                <a:cubicBezTo>
                  <a:pt x="671830" y="535305"/>
                  <a:pt x="578485" y="579755"/>
                  <a:pt x="503555" y="624840"/>
                </a:cubicBezTo>
                <a:cubicBezTo>
                  <a:pt x="273685" y="760095"/>
                  <a:pt x="73025" y="901700"/>
                  <a:pt x="0" y="1153160"/>
                </a:cubicBezTo>
                <a:lnTo>
                  <a:pt x="0" y="1160145"/>
                </a:lnTo>
                <a:cubicBezTo>
                  <a:pt x="31750" y="1056005"/>
                  <a:pt x="81280" y="969010"/>
                  <a:pt x="151130" y="891540"/>
                </a:cubicBezTo>
                <a:cubicBezTo>
                  <a:pt x="361315" y="664210"/>
                  <a:pt x="648970" y="579120"/>
                  <a:pt x="753110" y="459105"/>
                </a:cubicBezTo>
                <a:close/>
                <a:moveTo>
                  <a:pt x="375285" y="473710"/>
                </a:moveTo>
                <a:cubicBezTo>
                  <a:pt x="427990" y="445135"/>
                  <a:pt x="498475" y="416560"/>
                  <a:pt x="551180" y="371475"/>
                </a:cubicBezTo>
                <a:cubicBezTo>
                  <a:pt x="710565" y="232410"/>
                  <a:pt x="622300" y="50800"/>
                  <a:pt x="583565" y="635"/>
                </a:cubicBezTo>
                <a:lnTo>
                  <a:pt x="575945" y="635"/>
                </a:lnTo>
                <a:cubicBezTo>
                  <a:pt x="667385" y="123190"/>
                  <a:pt x="661670" y="290195"/>
                  <a:pt x="522605" y="386715"/>
                </a:cubicBezTo>
                <a:cubicBezTo>
                  <a:pt x="345440" y="495300"/>
                  <a:pt x="124460" y="572770"/>
                  <a:pt x="21590" y="701040"/>
                </a:cubicBezTo>
                <a:cubicBezTo>
                  <a:pt x="16510" y="708025"/>
                  <a:pt x="7620" y="718185"/>
                  <a:pt x="635" y="728345"/>
                </a:cubicBezTo>
                <a:lnTo>
                  <a:pt x="635" y="739140"/>
                </a:lnTo>
                <a:cubicBezTo>
                  <a:pt x="71755" y="629285"/>
                  <a:pt x="204470" y="561340"/>
                  <a:pt x="375285" y="473710"/>
                </a:cubicBezTo>
                <a:close/>
                <a:moveTo>
                  <a:pt x="636905" y="381635"/>
                </a:moveTo>
                <a:cubicBezTo>
                  <a:pt x="725805" y="285750"/>
                  <a:pt x="728345" y="156845"/>
                  <a:pt x="680720" y="51435"/>
                </a:cubicBezTo>
                <a:cubicBezTo>
                  <a:pt x="675640" y="41275"/>
                  <a:pt x="664845" y="17145"/>
                  <a:pt x="652145" y="0"/>
                </a:cubicBezTo>
                <a:lnTo>
                  <a:pt x="648335" y="0"/>
                </a:lnTo>
                <a:cubicBezTo>
                  <a:pt x="735330" y="128270"/>
                  <a:pt x="734695" y="299720"/>
                  <a:pt x="603885" y="409575"/>
                </a:cubicBezTo>
                <a:cubicBezTo>
                  <a:pt x="536575" y="465455"/>
                  <a:pt x="459740" y="495300"/>
                  <a:pt x="379095" y="542290"/>
                </a:cubicBezTo>
                <a:cubicBezTo>
                  <a:pt x="232410" y="622300"/>
                  <a:pt x="66040" y="721995"/>
                  <a:pt x="635" y="862965"/>
                </a:cubicBezTo>
                <a:lnTo>
                  <a:pt x="635" y="868680"/>
                </a:lnTo>
                <a:cubicBezTo>
                  <a:pt x="24130" y="821055"/>
                  <a:pt x="55245" y="778510"/>
                  <a:pt x="95250" y="738505"/>
                </a:cubicBezTo>
                <a:cubicBezTo>
                  <a:pt x="262255" y="573405"/>
                  <a:pt x="559435" y="478790"/>
                  <a:pt x="636905" y="381635"/>
                </a:cubicBezTo>
                <a:close/>
                <a:moveTo>
                  <a:pt x="690245" y="426085"/>
                </a:moveTo>
                <a:cubicBezTo>
                  <a:pt x="779145" y="335280"/>
                  <a:pt x="803910" y="208280"/>
                  <a:pt x="760095" y="80645"/>
                </a:cubicBezTo>
                <a:cubicBezTo>
                  <a:pt x="750570" y="53340"/>
                  <a:pt x="737235" y="24765"/>
                  <a:pt x="721995" y="635"/>
                </a:cubicBezTo>
                <a:lnTo>
                  <a:pt x="718185" y="635"/>
                </a:lnTo>
                <a:cubicBezTo>
                  <a:pt x="817245" y="160655"/>
                  <a:pt x="791210" y="343535"/>
                  <a:pt x="655955" y="454025"/>
                </a:cubicBezTo>
                <a:cubicBezTo>
                  <a:pt x="592455" y="507365"/>
                  <a:pt x="492125" y="552450"/>
                  <a:pt x="414020" y="600075"/>
                </a:cubicBezTo>
                <a:cubicBezTo>
                  <a:pt x="243840" y="698500"/>
                  <a:pt x="67310" y="817880"/>
                  <a:pt x="0" y="1003935"/>
                </a:cubicBezTo>
                <a:lnTo>
                  <a:pt x="0" y="1010285"/>
                </a:lnTo>
                <a:cubicBezTo>
                  <a:pt x="28575" y="935355"/>
                  <a:pt x="70485" y="869950"/>
                  <a:pt x="127635" y="810895"/>
                </a:cubicBezTo>
                <a:cubicBezTo>
                  <a:pt x="318770" y="617220"/>
                  <a:pt x="596265" y="530860"/>
                  <a:pt x="690245" y="426085"/>
                </a:cubicBezTo>
                <a:close/>
                <a:moveTo>
                  <a:pt x="1072515" y="685165"/>
                </a:moveTo>
                <a:cubicBezTo>
                  <a:pt x="1295400" y="511175"/>
                  <a:pt x="1360805" y="260350"/>
                  <a:pt x="1281430" y="0"/>
                </a:cubicBezTo>
                <a:lnTo>
                  <a:pt x="1278890" y="0"/>
                </a:lnTo>
                <a:cubicBezTo>
                  <a:pt x="1283335" y="14605"/>
                  <a:pt x="1287780" y="30480"/>
                  <a:pt x="1292225" y="48895"/>
                </a:cubicBezTo>
                <a:cubicBezTo>
                  <a:pt x="1360171" y="342265"/>
                  <a:pt x="1240790" y="568960"/>
                  <a:pt x="1026795" y="715010"/>
                </a:cubicBezTo>
                <a:cubicBezTo>
                  <a:pt x="996950" y="735330"/>
                  <a:pt x="965200" y="755015"/>
                  <a:pt x="930910" y="773430"/>
                </a:cubicBezTo>
                <a:cubicBezTo>
                  <a:pt x="633095" y="923290"/>
                  <a:pt x="427355" y="1076325"/>
                  <a:pt x="296545" y="1253490"/>
                </a:cubicBezTo>
                <a:cubicBezTo>
                  <a:pt x="169545" y="1423670"/>
                  <a:pt x="81915" y="1652270"/>
                  <a:pt x="58420" y="1947545"/>
                </a:cubicBezTo>
                <a:lnTo>
                  <a:pt x="58420" y="1947545"/>
                </a:lnTo>
                <a:cubicBezTo>
                  <a:pt x="89535" y="1664335"/>
                  <a:pt x="157480" y="1457960"/>
                  <a:pt x="274320" y="1288415"/>
                </a:cubicBezTo>
                <a:cubicBezTo>
                  <a:pt x="538480" y="915670"/>
                  <a:pt x="917575" y="815975"/>
                  <a:pt x="1072515" y="685165"/>
                </a:cubicBezTo>
                <a:close/>
                <a:moveTo>
                  <a:pt x="1261746" y="1100455"/>
                </a:moveTo>
                <a:cubicBezTo>
                  <a:pt x="1405890" y="1049655"/>
                  <a:pt x="1545590" y="1003935"/>
                  <a:pt x="1668146" y="941070"/>
                </a:cubicBezTo>
                <a:cubicBezTo>
                  <a:pt x="2029460" y="764540"/>
                  <a:pt x="2357121" y="463550"/>
                  <a:pt x="2454275" y="30480"/>
                </a:cubicBezTo>
                <a:cubicBezTo>
                  <a:pt x="2457450" y="17780"/>
                  <a:pt x="2459355" y="7620"/>
                  <a:pt x="2460625" y="0"/>
                </a:cubicBezTo>
                <a:lnTo>
                  <a:pt x="2457450" y="0"/>
                </a:lnTo>
                <a:cubicBezTo>
                  <a:pt x="2456180" y="6350"/>
                  <a:pt x="2454275" y="14605"/>
                  <a:pt x="2452371" y="24765"/>
                </a:cubicBezTo>
                <a:cubicBezTo>
                  <a:pt x="2357121" y="457835"/>
                  <a:pt x="2030730" y="758825"/>
                  <a:pt x="1672590" y="935355"/>
                </a:cubicBezTo>
                <a:cubicBezTo>
                  <a:pt x="1526540" y="1012190"/>
                  <a:pt x="1343025" y="1062355"/>
                  <a:pt x="1177290" y="1130300"/>
                </a:cubicBezTo>
                <a:cubicBezTo>
                  <a:pt x="861695" y="1260475"/>
                  <a:pt x="494665" y="1511300"/>
                  <a:pt x="490855" y="1904365"/>
                </a:cubicBezTo>
                <a:cubicBezTo>
                  <a:pt x="490855" y="1917700"/>
                  <a:pt x="491490" y="1936115"/>
                  <a:pt x="492760" y="1946910"/>
                </a:cubicBezTo>
                <a:lnTo>
                  <a:pt x="495300" y="1946910"/>
                </a:lnTo>
                <a:cubicBezTo>
                  <a:pt x="488315" y="1867535"/>
                  <a:pt x="495935" y="1724025"/>
                  <a:pt x="598805" y="1564005"/>
                </a:cubicBezTo>
                <a:cubicBezTo>
                  <a:pt x="752475" y="1337310"/>
                  <a:pt x="993775" y="1203325"/>
                  <a:pt x="1261746" y="1100455"/>
                </a:cubicBezTo>
                <a:close/>
                <a:moveTo>
                  <a:pt x="3233421" y="1169035"/>
                </a:moveTo>
                <a:cubicBezTo>
                  <a:pt x="3033396" y="1410335"/>
                  <a:pt x="2895600" y="1665605"/>
                  <a:pt x="2762885" y="1939925"/>
                </a:cubicBezTo>
                <a:cubicBezTo>
                  <a:pt x="2761615" y="1943100"/>
                  <a:pt x="2760346" y="1945640"/>
                  <a:pt x="2759075" y="1948180"/>
                </a:cubicBezTo>
                <a:lnTo>
                  <a:pt x="2764790" y="1948180"/>
                </a:lnTo>
                <a:cubicBezTo>
                  <a:pt x="2765425" y="1946910"/>
                  <a:pt x="2766060" y="1945005"/>
                  <a:pt x="2766696" y="1943735"/>
                </a:cubicBezTo>
                <a:cubicBezTo>
                  <a:pt x="2859405" y="1745615"/>
                  <a:pt x="2999105" y="1496695"/>
                  <a:pt x="3093085" y="1363345"/>
                </a:cubicBezTo>
                <a:cubicBezTo>
                  <a:pt x="3221990" y="1179830"/>
                  <a:pt x="3346450" y="1032510"/>
                  <a:pt x="3463290" y="963930"/>
                </a:cubicBezTo>
                <a:lnTo>
                  <a:pt x="3463290" y="956945"/>
                </a:lnTo>
                <a:cubicBezTo>
                  <a:pt x="3441700" y="969010"/>
                  <a:pt x="3416300" y="988060"/>
                  <a:pt x="3392805" y="1006475"/>
                </a:cubicBezTo>
                <a:cubicBezTo>
                  <a:pt x="3333115" y="1055370"/>
                  <a:pt x="3291840" y="1099185"/>
                  <a:pt x="3233421" y="1169035"/>
                </a:cubicBezTo>
                <a:close/>
                <a:moveTo>
                  <a:pt x="3232785" y="1331595"/>
                </a:moveTo>
                <a:cubicBezTo>
                  <a:pt x="3065780" y="1509395"/>
                  <a:pt x="2956560" y="1699260"/>
                  <a:pt x="2855596" y="1948180"/>
                </a:cubicBezTo>
                <a:lnTo>
                  <a:pt x="2858135" y="1948180"/>
                </a:lnTo>
                <a:cubicBezTo>
                  <a:pt x="2929255" y="1765935"/>
                  <a:pt x="3058160" y="1532890"/>
                  <a:pt x="3148330" y="1432560"/>
                </a:cubicBezTo>
                <a:cubicBezTo>
                  <a:pt x="3253740" y="1311275"/>
                  <a:pt x="3355975" y="1188085"/>
                  <a:pt x="3462655" y="1108710"/>
                </a:cubicBezTo>
                <a:lnTo>
                  <a:pt x="3462655" y="1106805"/>
                </a:lnTo>
                <a:cubicBezTo>
                  <a:pt x="3380105" y="1161415"/>
                  <a:pt x="3317240" y="1238885"/>
                  <a:pt x="3232785" y="1331595"/>
                </a:cubicBezTo>
                <a:close/>
                <a:moveTo>
                  <a:pt x="3216910" y="1617345"/>
                </a:moveTo>
                <a:cubicBezTo>
                  <a:pt x="3136265" y="1691640"/>
                  <a:pt x="3060700" y="1838325"/>
                  <a:pt x="3065146" y="1939925"/>
                </a:cubicBezTo>
                <a:cubicBezTo>
                  <a:pt x="3065780" y="1941830"/>
                  <a:pt x="3065146" y="1945005"/>
                  <a:pt x="3065146" y="1948180"/>
                </a:cubicBezTo>
                <a:lnTo>
                  <a:pt x="3068955" y="1948180"/>
                </a:lnTo>
                <a:cubicBezTo>
                  <a:pt x="3068321" y="1941195"/>
                  <a:pt x="3066415" y="1932305"/>
                  <a:pt x="3067685" y="1925320"/>
                </a:cubicBezTo>
                <a:cubicBezTo>
                  <a:pt x="3068955" y="1879600"/>
                  <a:pt x="3084196" y="1825625"/>
                  <a:pt x="3110865" y="1769110"/>
                </a:cubicBezTo>
                <a:cubicBezTo>
                  <a:pt x="3162935" y="1659890"/>
                  <a:pt x="3228975" y="1599565"/>
                  <a:pt x="3328035" y="1538605"/>
                </a:cubicBezTo>
                <a:cubicBezTo>
                  <a:pt x="3382646" y="1497965"/>
                  <a:pt x="3422015" y="1465580"/>
                  <a:pt x="3462655" y="1428115"/>
                </a:cubicBezTo>
                <a:lnTo>
                  <a:pt x="3462655" y="1424305"/>
                </a:lnTo>
                <a:cubicBezTo>
                  <a:pt x="3458210" y="1428115"/>
                  <a:pt x="3454400" y="1431925"/>
                  <a:pt x="3450590" y="1435100"/>
                </a:cubicBezTo>
                <a:cubicBezTo>
                  <a:pt x="3343910" y="1536065"/>
                  <a:pt x="3260090" y="1574165"/>
                  <a:pt x="3216910" y="1617345"/>
                </a:cubicBezTo>
                <a:close/>
                <a:moveTo>
                  <a:pt x="3391535" y="1827530"/>
                </a:moveTo>
                <a:cubicBezTo>
                  <a:pt x="3367405" y="1853565"/>
                  <a:pt x="3348990" y="1916430"/>
                  <a:pt x="3357246" y="1948180"/>
                </a:cubicBezTo>
                <a:lnTo>
                  <a:pt x="3359785" y="1948180"/>
                </a:lnTo>
                <a:cubicBezTo>
                  <a:pt x="3356610" y="1911985"/>
                  <a:pt x="3364230" y="1875790"/>
                  <a:pt x="3382010" y="1845945"/>
                </a:cubicBezTo>
                <a:cubicBezTo>
                  <a:pt x="3405505" y="1807845"/>
                  <a:pt x="3430905" y="1797050"/>
                  <a:pt x="3463290" y="1789430"/>
                </a:cubicBezTo>
                <a:lnTo>
                  <a:pt x="3463290" y="1785620"/>
                </a:lnTo>
                <a:cubicBezTo>
                  <a:pt x="3435350" y="1790065"/>
                  <a:pt x="3409315" y="1807210"/>
                  <a:pt x="3391535" y="1827530"/>
                </a:cubicBezTo>
                <a:close/>
                <a:moveTo>
                  <a:pt x="3284855" y="1677670"/>
                </a:moveTo>
                <a:cubicBezTo>
                  <a:pt x="3206750" y="1738630"/>
                  <a:pt x="3156585" y="1859915"/>
                  <a:pt x="3166110" y="1948180"/>
                </a:cubicBezTo>
                <a:lnTo>
                  <a:pt x="3168650" y="1948180"/>
                </a:lnTo>
                <a:cubicBezTo>
                  <a:pt x="3163571" y="1898015"/>
                  <a:pt x="3176905" y="1837055"/>
                  <a:pt x="3204846" y="1782445"/>
                </a:cubicBezTo>
                <a:cubicBezTo>
                  <a:pt x="3278505" y="1638300"/>
                  <a:pt x="3375025" y="1647190"/>
                  <a:pt x="3463290" y="1586230"/>
                </a:cubicBezTo>
                <a:lnTo>
                  <a:pt x="3463290" y="1582420"/>
                </a:lnTo>
                <a:cubicBezTo>
                  <a:pt x="3463290" y="1582420"/>
                  <a:pt x="3463290" y="1582420"/>
                  <a:pt x="3463290" y="1582420"/>
                </a:cubicBezTo>
                <a:cubicBezTo>
                  <a:pt x="3405505" y="1623695"/>
                  <a:pt x="3324860" y="1642745"/>
                  <a:pt x="3284855" y="1677670"/>
                </a:cubicBezTo>
                <a:close/>
                <a:moveTo>
                  <a:pt x="3277235" y="1837055"/>
                </a:moveTo>
                <a:cubicBezTo>
                  <a:pt x="3263900" y="1871345"/>
                  <a:pt x="3258185" y="1908810"/>
                  <a:pt x="3261360" y="1945005"/>
                </a:cubicBezTo>
                <a:cubicBezTo>
                  <a:pt x="3261360" y="1945640"/>
                  <a:pt x="3261360" y="1946910"/>
                  <a:pt x="3261996" y="1948180"/>
                </a:cubicBezTo>
                <a:lnTo>
                  <a:pt x="3267075" y="1948180"/>
                </a:lnTo>
                <a:cubicBezTo>
                  <a:pt x="3267075" y="1947545"/>
                  <a:pt x="3267075" y="1947545"/>
                  <a:pt x="3267075" y="1946910"/>
                </a:cubicBezTo>
                <a:cubicBezTo>
                  <a:pt x="3258821" y="1864995"/>
                  <a:pt x="3299460" y="1768475"/>
                  <a:pt x="3375660" y="1731010"/>
                </a:cubicBezTo>
                <a:cubicBezTo>
                  <a:pt x="3399790" y="1718310"/>
                  <a:pt x="3434715" y="1715135"/>
                  <a:pt x="3463290" y="1708785"/>
                </a:cubicBezTo>
                <a:lnTo>
                  <a:pt x="3463290" y="1703070"/>
                </a:lnTo>
                <a:cubicBezTo>
                  <a:pt x="3440430" y="1708150"/>
                  <a:pt x="3415030" y="1711325"/>
                  <a:pt x="3393440" y="1717675"/>
                </a:cubicBezTo>
                <a:cubicBezTo>
                  <a:pt x="3341371" y="1734185"/>
                  <a:pt x="3296921" y="1783715"/>
                  <a:pt x="3277235" y="1837055"/>
                </a:cubicBezTo>
                <a:close/>
                <a:moveTo>
                  <a:pt x="2953385" y="1438910"/>
                </a:moveTo>
                <a:cubicBezTo>
                  <a:pt x="2814321" y="1683385"/>
                  <a:pt x="2722246" y="1843405"/>
                  <a:pt x="2665096" y="1948180"/>
                </a:cubicBezTo>
                <a:lnTo>
                  <a:pt x="2665730" y="1948180"/>
                </a:lnTo>
                <a:cubicBezTo>
                  <a:pt x="2766696" y="1779905"/>
                  <a:pt x="2907030" y="1519555"/>
                  <a:pt x="3039746" y="1292860"/>
                </a:cubicBezTo>
                <a:cubicBezTo>
                  <a:pt x="3157221" y="1090930"/>
                  <a:pt x="3305175" y="905510"/>
                  <a:pt x="3462655" y="820420"/>
                </a:cubicBezTo>
                <a:lnTo>
                  <a:pt x="3462655" y="817245"/>
                </a:lnTo>
                <a:cubicBezTo>
                  <a:pt x="3453130" y="822325"/>
                  <a:pt x="3442335" y="829310"/>
                  <a:pt x="3433446" y="833755"/>
                </a:cubicBezTo>
                <a:cubicBezTo>
                  <a:pt x="3241040" y="955675"/>
                  <a:pt x="3099435" y="1175385"/>
                  <a:pt x="2953385" y="1438910"/>
                </a:cubicBezTo>
                <a:close/>
                <a:moveTo>
                  <a:pt x="2828290" y="846455"/>
                </a:moveTo>
                <a:cubicBezTo>
                  <a:pt x="2789555" y="960755"/>
                  <a:pt x="2766060" y="1068705"/>
                  <a:pt x="2713355" y="1180465"/>
                </a:cubicBezTo>
                <a:cubicBezTo>
                  <a:pt x="2584450" y="1471930"/>
                  <a:pt x="2338071" y="1789430"/>
                  <a:pt x="2098040" y="1948180"/>
                </a:cubicBezTo>
                <a:lnTo>
                  <a:pt x="2104390" y="1948180"/>
                </a:lnTo>
                <a:cubicBezTo>
                  <a:pt x="2118996" y="1939290"/>
                  <a:pt x="2133600" y="1925955"/>
                  <a:pt x="2149475" y="1915795"/>
                </a:cubicBezTo>
                <a:cubicBezTo>
                  <a:pt x="2368550" y="1748155"/>
                  <a:pt x="2565400" y="1492250"/>
                  <a:pt x="2693671" y="1228725"/>
                </a:cubicBezTo>
                <a:cubicBezTo>
                  <a:pt x="2781300" y="1054735"/>
                  <a:pt x="2800350" y="908685"/>
                  <a:pt x="2856865" y="780415"/>
                </a:cubicBezTo>
                <a:cubicBezTo>
                  <a:pt x="2975610" y="497205"/>
                  <a:pt x="3220085" y="230505"/>
                  <a:pt x="3462655" y="125730"/>
                </a:cubicBezTo>
                <a:lnTo>
                  <a:pt x="3462655" y="124460"/>
                </a:lnTo>
                <a:cubicBezTo>
                  <a:pt x="3194685" y="229235"/>
                  <a:pt x="2924810" y="564515"/>
                  <a:pt x="2828290" y="846455"/>
                </a:cubicBezTo>
                <a:close/>
                <a:moveTo>
                  <a:pt x="2940685" y="968375"/>
                </a:moveTo>
                <a:cubicBezTo>
                  <a:pt x="2904490" y="1043940"/>
                  <a:pt x="2884171" y="1115060"/>
                  <a:pt x="2855596" y="1181100"/>
                </a:cubicBezTo>
                <a:cubicBezTo>
                  <a:pt x="2752725" y="1428115"/>
                  <a:pt x="2547621" y="1745615"/>
                  <a:pt x="2354580" y="1946275"/>
                </a:cubicBezTo>
                <a:cubicBezTo>
                  <a:pt x="2353946" y="1946910"/>
                  <a:pt x="2353310" y="1947545"/>
                  <a:pt x="2352675" y="1948180"/>
                </a:cubicBezTo>
                <a:lnTo>
                  <a:pt x="2354580" y="1948180"/>
                </a:lnTo>
                <a:cubicBezTo>
                  <a:pt x="2411096" y="1895475"/>
                  <a:pt x="2468246" y="1821815"/>
                  <a:pt x="2530475" y="1741170"/>
                </a:cubicBezTo>
                <a:cubicBezTo>
                  <a:pt x="2860040" y="1287780"/>
                  <a:pt x="2863850" y="1127760"/>
                  <a:pt x="2952750" y="949325"/>
                </a:cubicBezTo>
                <a:cubicBezTo>
                  <a:pt x="3054985" y="734695"/>
                  <a:pt x="3258821" y="491490"/>
                  <a:pt x="3463290" y="404495"/>
                </a:cubicBezTo>
                <a:lnTo>
                  <a:pt x="3463290" y="401320"/>
                </a:lnTo>
                <a:cubicBezTo>
                  <a:pt x="3246121" y="494665"/>
                  <a:pt x="3044190" y="744220"/>
                  <a:pt x="2940685" y="968375"/>
                </a:cubicBezTo>
                <a:close/>
                <a:moveTo>
                  <a:pt x="2931796" y="800100"/>
                </a:moveTo>
                <a:cubicBezTo>
                  <a:pt x="2886710" y="881380"/>
                  <a:pt x="2845435" y="1006475"/>
                  <a:pt x="2824480" y="1073150"/>
                </a:cubicBezTo>
                <a:cubicBezTo>
                  <a:pt x="2800985" y="1139825"/>
                  <a:pt x="2772410" y="1207135"/>
                  <a:pt x="2738121" y="1276350"/>
                </a:cubicBezTo>
                <a:cubicBezTo>
                  <a:pt x="2648585" y="1453515"/>
                  <a:pt x="2555875" y="1593215"/>
                  <a:pt x="2427605" y="1746250"/>
                </a:cubicBezTo>
                <a:cubicBezTo>
                  <a:pt x="2358390" y="1828165"/>
                  <a:pt x="2289810" y="1896745"/>
                  <a:pt x="2228850" y="1947545"/>
                </a:cubicBezTo>
                <a:lnTo>
                  <a:pt x="2237740" y="1947545"/>
                </a:lnTo>
                <a:cubicBezTo>
                  <a:pt x="2239010" y="1946275"/>
                  <a:pt x="2240280" y="1945005"/>
                  <a:pt x="2242185" y="1943735"/>
                </a:cubicBezTo>
                <a:cubicBezTo>
                  <a:pt x="2452371" y="1760220"/>
                  <a:pt x="2644775" y="1490980"/>
                  <a:pt x="2770505" y="1220470"/>
                </a:cubicBezTo>
                <a:cubicBezTo>
                  <a:pt x="2823846" y="1114425"/>
                  <a:pt x="2855596" y="966470"/>
                  <a:pt x="2919730" y="836295"/>
                </a:cubicBezTo>
                <a:cubicBezTo>
                  <a:pt x="3041650" y="581660"/>
                  <a:pt x="3267075" y="346710"/>
                  <a:pt x="3463290" y="267335"/>
                </a:cubicBezTo>
                <a:lnTo>
                  <a:pt x="3463290" y="261620"/>
                </a:lnTo>
                <a:cubicBezTo>
                  <a:pt x="3247390" y="348615"/>
                  <a:pt x="3039110" y="591185"/>
                  <a:pt x="2931796" y="800100"/>
                </a:cubicBezTo>
                <a:close/>
                <a:moveTo>
                  <a:pt x="3079750" y="1060450"/>
                </a:moveTo>
                <a:cubicBezTo>
                  <a:pt x="3014346" y="1162050"/>
                  <a:pt x="2974975" y="1257300"/>
                  <a:pt x="2929255" y="1341755"/>
                </a:cubicBezTo>
                <a:cubicBezTo>
                  <a:pt x="2837180" y="1518920"/>
                  <a:pt x="2684146" y="1772285"/>
                  <a:pt x="2568575" y="1948180"/>
                </a:cubicBezTo>
                <a:lnTo>
                  <a:pt x="2571750" y="1948180"/>
                </a:lnTo>
                <a:cubicBezTo>
                  <a:pt x="2600960" y="1904365"/>
                  <a:pt x="2631440" y="1856740"/>
                  <a:pt x="2665096" y="1804035"/>
                </a:cubicBezTo>
                <a:cubicBezTo>
                  <a:pt x="2826385" y="1550035"/>
                  <a:pt x="2929890" y="1349375"/>
                  <a:pt x="3037840" y="1136650"/>
                </a:cubicBezTo>
                <a:cubicBezTo>
                  <a:pt x="3132455" y="966470"/>
                  <a:pt x="3296921" y="760730"/>
                  <a:pt x="3463925" y="681355"/>
                </a:cubicBezTo>
                <a:lnTo>
                  <a:pt x="3463925" y="678180"/>
                </a:lnTo>
                <a:cubicBezTo>
                  <a:pt x="3321050" y="742950"/>
                  <a:pt x="3167380" y="920115"/>
                  <a:pt x="3079750" y="1060450"/>
                </a:cubicBezTo>
                <a:close/>
                <a:moveTo>
                  <a:pt x="2969260" y="1089025"/>
                </a:moveTo>
                <a:cubicBezTo>
                  <a:pt x="2854325" y="1372235"/>
                  <a:pt x="2668271" y="1689735"/>
                  <a:pt x="2463800" y="1948180"/>
                </a:cubicBezTo>
                <a:lnTo>
                  <a:pt x="2467610" y="1948180"/>
                </a:lnTo>
                <a:cubicBezTo>
                  <a:pt x="2507615" y="1898015"/>
                  <a:pt x="2551430" y="1838960"/>
                  <a:pt x="2597150" y="1772285"/>
                </a:cubicBezTo>
                <a:cubicBezTo>
                  <a:pt x="2827021" y="1434465"/>
                  <a:pt x="2874010" y="1306195"/>
                  <a:pt x="2993390" y="1047115"/>
                </a:cubicBezTo>
                <a:cubicBezTo>
                  <a:pt x="3103880" y="831850"/>
                  <a:pt x="3278505" y="632460"/>
                  <a:pt x="3463290" y="541020"/>
                </a:cubicBezTo>
                <a:lnTo>
                  <a:pt x="3463290" y="539750"/>
                </a:lnTo>
                <a:cubicBezTo>
                  <a:pt x="3260090" y="629920"/>
                  <a:pt x="3067685" y="878840"/>
                  <a:pt x="2969260" y="1089025"/>
                </a:cubicBezTo>
                <a:close/>
                <a:moveTo>
                  <a:pt x="3280410" y="1435100"/>
                </a:moveTo>
                <a:cubicBezTo>
                  <a:pt x="3241675" y="1473200"/>
                  <a:pt x="3198496" y="1507490"/>
                  <a:pt x="3166110" y="1541780"/>
                </a:cubicBezTo>
                <a:cubicBezTo>
                  <a:pt x="3075940" y="1634490"/>
                  <a:pt x="2959735" y="1823720"/>
                  <a:pt x="2961640" y="1946275"/>
                </a:cubicBezTo>
                <a:cubicBezTo>
                  <a:pt x="2961640" y="1946910"/>
                  <a:pt x="2961640" y="1947545"/>
                  <a:pt x="2961640" y="1948180"/>
                </a:cubicBezTo>
                <a:lnTo>
                  <a:pt x="2964815" y="1948180"/>
                </a:lnTo>
                <a:cubicBezTo>
                  <a:pt x="2962275" y="1902460"/>
                  <a:pt x="2981960" y="1834515"/>
                  <a:pt x="3020696" y="1757045"/>
                </a:cubicBezTo>
                <a:cubicBezTo>
                  <a:pt x="3079115" y="1640840"/>
                  <a:pt x="3152775" y="1550670"/>
                  <a:pt x="3245485" y="1472565"/>
                </a:cubicBezTo>
                <a:cubicBezTo>
                  <a:pt x="3317875" y="1405890"/>
                  <a:pt x="3394710" y="1325245"/>
                  <a:pt x="3464560" y="1264285"/>
                </a:cubicBezTo>
                <a:lnTo>
                  <a:pt x="3464560" y="1261110"/>
                </a:lnTo>
                <a:cubicBezTo>
                  <a:pt x="3461385" y="1263650"/>
                  <a:pt x="3458210" y="1266190"/>
                  <a:pt x="3455035" y="1268730"/>
                </a:cubicBezTo>
                <a:cubicBezTo>
                  <a:pt x="3395980" y="1318260"/>
                  <a:pt x="3334385" y="1384300"/>
                  <a:pt x="3280410" y="1435100"/>
                </a:cubicBezTo>
                <a:close/>
                <a:moveTo>
                  <a:pt x="1610996" y="1073150"/>
                </a:moveTo>
                <a:cubicBezTo>
                  <a:pt x="1682115" y="1026795"/>
                  <a:pt x="1774190" y="989965"/>
                  <a:pt x="1901825" y="917575"/>
                </a:cubicBezTo>
                <a:cubicBezTo>
                  <a:pt x="2447290" y="601345"/>
                  <a:pt x="2646046" y="154305"/>
                  <a:pt x="2706371" y="635"/>
                </a:cubicBezTo>
                <a:lnTo>
                  <a:pt x="2706371" y="635"/>
                </a:lnTo>
                <a:cubicBezTo>
                  <a:pt x="2609850" y="215900"/>
                  <a:pt x="2390140" y="692150"/>
                  <a:pt x="1736090" y="1001395"/>
                </a:cubicBezTo>
                <a:cubicBezTo>
                  <a:pt x="1707515" y="1015365"/>
                  <a:pt x="1680210" y="1029970"/>
                  <a:pt x="1652271" y="1045845"/>
                </a:cubicBezTo>
                <a:cubicBezTo>
                  <a:pt x="1356996" y="1212215"/>
                  <a:pt x="1123950" y="1468120"/>
                  <a:pt x="958850" y="1791335"/>
                </a:cubicBezTo>
                <a:cubicBezTo>
                  <a:pt x="930910" y="1847850"/>
                  <a:pt x="901700" y="1903095"/>
                  <a:pt x="885190" y="1948180"/>
                </a:cubicBezTo>
                <a:lnTo>
                  <a:pt x="886460" y="1948180"/>
                </a:lnTo>
                <a:cubicBezTo>
                  <a:pt x="942340" y="1832610"/>
                  <a:pt x="1014095" y="1671955"/>
                  <a:pt x="1136015" y="1510665"/>
                </a:cubicBezTo>
                <a:cubicBezTo>
                  <a:pt x="1267460" y="1332230"/>
                  <a:pt x="1424305" y="1186815"/>
                  <a:pt x="1610996" y="1073150"/>
                </a:cubicBezTo>
                <a:close/>
                <a:moveTo>
                  <a:pt x="1993900" y="906145"/>
                </a:moveTo>
                <a:cubicBezTo>
                  <a:pt x="2491740" y="576580"/>
                  <a:pt x="2688590" y="190500"/>
                  <a:pt x="2791460" y="0"/>
                </a:cubicBezTo>
                <a:lnTo>
                  <a:pt x="2787015" y="0"/>
                </a:lnTo>
                <a:cubicBezTo>
                  <a:pt x="2724150" y="110490"/>
                  <a:pt x="2709546" y="142240"/>
                  <a:pt x="2641600" y="248285"/>
                </a:cubicBezTo>
                <a:cubicBezTo>
                  <a:pt x="2512060" y="447040"/>
                  <a:pt x="2298065" y="712470"/>
                  <a:pt x="1945640" y="930275"/>
                </a:cubicBezTo>
                <a:cubicBezTo>
                  <a:pt x="1729105" y="1054100"/>
                  <a:pt x="1616710" y="1134110"/>
                  <a:pt x="1475740" y="1275080"/>
                </a:cubicBezTo>
                <a:cubicBezTo>
                  <a:pt x="1257935" y="1492885"/>
                  <a:pt x="1117600" y="1745615"/>
                  <a:pt x="1018540" y="1939925"/>
                </a:cubicBezTo>
                <a:cubicBezTo>
                  <a:pt x="1017270" y="1942465"/>
                  <a:pt x="1016000" y="1945005"/>
                  <a:pt x="1014095" y="1947545"/>
                </a:cubicBezTo>
                <a:lnTo>
                  <a:pt x="1020445" y="1947545"/>
                </a:lnTo>
                <a:cubicBezTo>
                  <a:pt x="1020445" y="1946910"/>
                  <a:pt x="1021080" y="1946275"/>
                  <a:pt x="1021080" y="1945640"/>
                </a:cubicBezTo>
                <a:cubicBezTo>
                  <a:pt x="1361440" y="1257935"/>
                  <a:pt x="1713230" y="1073785"/>
                  <a:pt x="1993900" y="906145"/>
                </a:cubicBezTo>
                <a:close/>
                <a:moveTo>
                  <a:pt x="2329815" y="1649095"/>
                </a:moveTo>
                <a:cubicBezTo>
                  <a:pt x="2762885" y="1156970"/>
                  <a:pt x="2713355" y="883285"/>
                  <a:pt x="2832100" y="643890"/>
                </a:cubicBezTo>
                <a:cubicBezTo>
                  <a:pt x="2945130" y="386080"/>
                  <a:pt x="3192780" y="109220"/>
                  <a:pt x="3435985" y="0"/>
                </a:cubicBezTo>
                <a:lnTo>
                  <a:pt x="3429000" y="0"/>
                </a:lnTo>
                <a:cubicBezTo>
                  <a:pt x="3360421" y="28575"/>
                  <a:pt x="3284221" y="85090"/>
                  <a:pt x="3228975" y="128270"/>
                </a:cubicBezTo>
                <a:cubicBezTo>
                  <a:pt x="3028315" y="290195"/>
                  <a:pt x="2857500" y="525780"/>
                  <a:pt x="2775585" y="784860"/>
                </a:cubicBezTo>
                <a:cubicBezTo>
                  <a:pt x="2734310" y="935990"/>
                  <a:pt x="2700021" y="1075055"/>
                  <a:pt x="2625725" y="1216660"/>
                </a:cubicBezTo>
                <a:cubicBezTo>
                  <a:pt x="2484755" y="1506220"/>
                  <a:pt x="2204085" y="1824990"/>
                  <a:pt x="1950085" y="1947545"/>
                </a:cubicBezTo>
                <a:lnTo>
                  <a:pt x="1954530" y="1947545"/>
                </a:lnTo>
                <a:cubicBezTo>
                  <a:pt x="2065655" y="1899920"/>
                  <a:pt x="2219960" y="1768475"/>
                  <a:pt x="2329815" y="1649095"/>
                </a:cubicBezTo>
                <a:close/>
                <a:moveTo>
                  <a:pt x="2124075" y="863600"/>
                </a:moveTo>
                <a:cubicBezTo>
                  <a:pt x="2499996" y="572135"/>
                  <a:pt x="2682875" y="287655"/>
                  <a:pt x="2873375" y="0"/>
                </a:cubicBezTo>
                <a:lnTo>
                  <a:pt x="2869565" y="0"/>
                </a:lnTo>
                <a:cubicBezTo>
                  <a:pt x="2856230" y="19050"/>
                  <a:pt x="2840355" y="43180"/>
                  <a:pt x="2821305" y="73025"/>
                </a:cubicBezTo>
                <a:cubicBezTo>
                  <a:pt x="2560955" y="481965"/>
                  <a:pt x="2299971" y="756285"/>
                  <a:pt x="1915796" y="1007745"/>
                </a:cubicBezTo>
                <a:cubicBezTo>
                  <a:pt x="1550035" y="1270635"/>
                  <a:pt x="1331596" y="1624965"/>
                  <a:pt x="1144271" y="1947545"/>
                </a:cubicBezTo>
                <a:lnTo>
                  <a:pt x="1147446" y="1947545"/>
                </a:lnTo>
                <a:cubicBezTo>
                  <a:pt x="1159510" y="1927225"/>
                  <a:pt x="1172210" y="1906270"/>
                  <a:pt x="1185546" y="1883410"/>
                </a:cubicBezTo>
                <a:cubicBezTo>
                  <a:pt x="1607821" y="1151255"/>
                  <a:pt x="1903096" y="1035685"/>
                  <a:pt x="2124075" y="863600"/>
                </a:cubicBezTo>
                <a:close/>
                <a:moveTo>
                  <a:pt x="1897380" y="883285"/>
                </a:moveTo>
                <a:cubicBezTo>
                  <a:pt x="2282825" y="659130"/>
                  <a:pt x="2513330" y="342265"/>
                  <a:pt x="2626996" y="635"/>
                </a:cubicBezTo>
                <a:lnTo>
                  <a:pt x="2624455" y="635"/>
                </a:lnTo>
                <a:cubicBezTo>
                  <a:pt x="2618740" y="16510"/>
                  <a:pt x="2616835" y="22225"/>
                  <a:pt x="2611755" y="37465"/>
                </a:cubicBezTo>
                <a:cubicBezTo>
                  <a:pt x="2470785" y="432435"/>
                  <a:pt x="2189480" y="727075"/>
                  <a:pt x="1833246" y="916940"/>
                </a:cubicBezTo>
                <a:cubicBezTo>
                  <a:pt x="1715771" y="981710"/>
                  <a:pt x="1581785" y="1025525"/>
                  <a:pt x="1470660" y="1089660"/>
                </a:cubicBezTo>
                <a:cubicBezTo>
                  <a:pt x="1137285" y="1274445"/>
                  <a:pt x="910590" y="1557655"/>
                  <a:pt x="771525" y="1899920"/>
                </a:cubicBezTo>
                <a:cubicBezTo>
                  <a:pt x="764540" y="1917065"/>
                  <a:pt x="758190" y="1932940"/>
                  <a:pt x="751840" y="1948815"/>
                </a:cubicBezTo>
                <a:lnTo>
                  <a:pt x="754380" y="1948815"/>
                </a:lnTo>
                <a:cubicBezTo>
                  <a:pt x="798830" y="1838325"/>
                  <a:pt x="861060" y="1692275"/>
                  <a:pt x="965835" y="1544955"/>
                </a:cubicBezTo>
                <a:cubicBezTo>
                  <a:pt x="1308735" y="1069975"/>
                  <a:pt x="1666875" y="1028700"/>
                  <a:pt x="1897380" y="883285"/>
                </a:cubicBezTo>
                <a:close/>
                <a:moveTo>
                  <a:pt x="1822450" y="892810"/>
                </a:moveTo>
                <a:cubicBezTo>
                  <a:pt x="2157096" y="714375"/>
                  <a:pt x="2433321" y="420370"/>
                  <a:pt x="2538096" y="23495"/>
                </a:cubicBezTo>
                <a:cubicBezTo>
                  <a:pt x="2541271" y="13335"/>
                  <a:pt x="2543175" y="5715"/>
                  <a:pt x="2544446" y="0"/>
                </a:cubicBezTo>
                <a:lnTo>
                  <a:pt x="2541271" y="0"/>
                </a:lnTo>
                <a:cubicBezTo>
                  <a:pt x="2540000" y="3810"/>
                  <a:pt x="2538730" y="8255"/>
                  <a:pt x="2537460" y="13970"/>
                </a:cubicBezTo>
                <a:cubicBezTo>
                  <a:pt x="2429510" y="428625"/>
                  <a:pt x="2138680" y="735330"/>
                  <a:pt x="1762760" y="920115"/>
                </a:cubicBezTo>
                <a:cubicBezTo>
                  <a:pt x="1629410" y="989330"/>
                  <a:pt x="1470025" y="1031240"/>
                  <a:pt x="1341755" y="1097915"/>
                </a:cubicBezTo>
                <a:cubicBezTo>
                  <a:pt x="995680" y="1270635"/>
                  <a:pt x="756920" y="1551940"/>
                  <a:pt x="630555" y="1906905"/>
                </a:cubicBezTo>
                <a:cubicBezTo>
                  <a:pt x="625475" y="1920875"/>
                  <a:pt x="621030" y="1934210"/>
                  <a:pt x="616585" y="1947545"/>
                </a:cubicBezTo>
                <a:lnTo>
                  <a:pt x="619125" y="1947545"/>
                </a:lnTo>
                <a:cubicBezTo>
                  <a:pt x="655320" y="1844675"/>
                  <a:pt x="706755" y="1712595"/>
                  <a:pt x="796290" y="1579245"/>
                </a:cubicBezTo>
                <a:cubicBezTo>
                  <a:pt x="1151255" y="1065530"/>
                  <a:pt x="1550035" y="1052195"/>
                  <a:pt x="1822450" y="892810"/>
                </a:cubicBezTo>
                <a:close/>
                <a:moveTo>
                  <a:pt x="2179955" y="880745"/>
                </a:moveTo>
                <a:cubicBezTo>
                  <a:pt x="2495550" y="612140"/>
                  <a:pt x="2707640" y="328930"/>
                  <a:pt x="2842896" y="146685"/>
                </a:cubicBezTo>
                <a:cubicBezTo>
                  <a:pt x="2870200" y="109855"/>
                  <a:pt x="2926715" y="33020"/>
                  <a:pt x="2954655" y="0"/>
                </a:cubicBezTo>
                <a:lnTo>
                  <a:pt x="2951480" y="0"/>
                </a:lnTo>
                <a:cubicBezTo>
                  <a:pt x="2948305" y="3810"/>
                  <a:pt x="2944496" y="8255"/>
                  <a:pt x="2940685" y="12700"/>
                </a:cubicBezTo>
                <a:cubicBezTo>
                  <a:pt x="2723515" y="294005"/>
                  <a:pt x="2573021" y="532130"/>
                  <a:pt x="2193925" y="864870"/>
                </a:cubicBezTo>
                <a:cubicBezTo>
                  <a:pt x="1718946" y="1234440"/>
                  <a:pt x="1551940" y="1527810"/>
                  <a:pt x="1270635" y="1947545"/>
                </a:cubicBezTo>
                <a:lnTo>
                  <a:pt x="1273810" y="1947545"/>
                </a:lnTo>
                <a:cubicBezTo>
                  <a:pt x="1274446" y="1946910"/>
                  <a:pt x="1274446" y="1946275"/>
                  <a:pt x="1275080" y="1945640"/>
                </a:cubicBezTo>
                <a:cubicBezTo>
                  <a:pt x="1303021" y="1905635"/>
                  <a:pt x="1332865" y="1859280"/>
                  <a:pt x="1367155" y="1807210"/>
                </a:cubicBezTo>
                <a:cubicBezTo>
                  <a:pt x="1623696" y="1408430"/>
                  <a:pt x="1842135" y="1140460"/>
                  <a:pt x="2179955" y="880745"/>
                </a:cubicBezTo>
                <a:close/>
                <a:moveTo>
                  <a:pt x="2309496" y="835660"/>
                </a:moveTo>
                <a:cubicBezTo>
                  <a:pt x="2542540" y="599440"/>
                  <a:pt x="2703830" y="398145"/>
                  <a:pt x="2859405" y="206375"/>
                </a:cubicBezTo>
                <a:cubicBezTo>
                  <a:pt x="2934335" y="113665"/>
                  <a:pt x="2993390" y="42545"/>
                  <a:pt x="3035300" y="635"/>
                </a:cubicBezTo>
                <a:cubicBezTo>
                  <a:pt x="3035300" y="635"/>
                  <a:pt x="3035300" y="635"/>
                  <a:pt x="3035935" y="0"/>
                </a:cubicBezTo>
                <a:lnTo>
                  <a:pt x="3031490" y="0"/>
                </a:lnTo>
                <a:cubicBezTo>
                  <a:pt x="3029585" y="1905"/>
                  <a:pt x="3027680" y="3810"/>
                  <a:pt x="3026410" y="5080"/>
                </a:cubicBezTo>
                <a:cubicBezTo>
                  <a:pt x="2827021" y="226695"/>
                  <a:pt x="2674621" y="441960"/>
                  <a:pt x="2461260" y="671195"/>
                </a:cubicBezTo>
                <a:cubicBezTo>
                  <a:pt x="2364105" y="779780"/>
                  <a:pt x="2242185" y="897890"/>
                  <a:pt x="2135505" y="1002030"/>
                </a:cubicBezTo>
                <a:cubicBezTo>
                  <a:pt x="1800860" y="1341755"/>
                  <a:pt x="1630680" y="1646555"/>
                  <a:pt x="1395096" y="1948180"/>
                </a:cubicBezTo>
                <a:lnTo>
                  <a:pt x="1398905" y="1948180"/>
                </a:lnTo>
                <a:cubicBezTo>
                  <a:pt x="1400175" y="1946275"/>
                  <a:pt x="1401446" y="1945005"/>
                  <a:pt x="1402715" y="1943735"/>
                </a:cubicBezTo>
                <a:cubicBezTo>
                  <a:pt x="1454150" y="1879600"/>
                  <a:pt x="1512571" y="1797050"/>
                  <a:pt x="1579880" y="1701800"/>
                </a:cubicBezTo>
                <a:cubicBezTo>
                  <a:pt x="1831340" y="1341120"/>
                  <a:pt x="1998980" y="1128395"/>
                  <a:pt x="2309496" y="835660"/>
                </a:cubicBezTo>
                <a:close/>
                <a:moveTo>
                  <a:pt x="2512060" y="1176020"/>
                </a:moveTo>
                <a:cubicBezTo>
                  <a:pt x="2602230" y="1015365"/>
                  <a:pt x="2646046" y="855980"/>
                  <a:pt x="2721610" y="708025"/>
                </a:cubicBezTo>
                <a:cubicBezTo>
                  <a:pt x="2852421" y="443230"/>
                  <a:pt x="3121025" y="122555"/>
                  <a:pt x="3356610" y="635"/>
                </a:cubicBezTo>
                <a:lnTo>
                  <a:pt x="3349625" y="635"/>
                </a:lnTo>
                <a:cubicBezTo>
                  <a:pt x="3348355" y="1270"/>
                  <a:pt x="3347721" y="1905"/>
                  <a:pt x="3346450" y="1905"/>
                </a:cubicBezTo>
                <a:cubicBezTo>
                  <a:pt x="3253105" y="53975"/>
                  <a:pt x="3183255" y="112395"/>
                  <a:pt x="3094990" y="196215"/>
                </a:cubicBezTo>
                <a:cubicBezTo>
                  <a:pt x="2870200" y="415290"/>
                  <a:pt x="2714625" y="671195"/>
                  <a:pt x="2616200" y="946785"/>
                </a:cubicBezTo>
                <a:cubicBezTo>
                  <a:pt x="2475865" y="1302385"/>
                  <a:pt x="2155190" y="1760220"/>
                  <a:pt x="1850390" y="1948180"/>
                </a:cubicBezTo>
                <a:lnTo>
                  <a:pt x="1856740" y="1948180"/>
                </a:lnTo>
                <a:cubicBezTo>
                  <a:pt x="1878965" y="1936115"/>
                  <a:pt x="1900555" y="1917065"/>
                  <a:pt x="1924050" y="1901825"/>
                </a:cubicBezTo>
                <a:cubicBezTo>
                  <a:pt x="2155190" y="1724660"/>
                  <a:pt x="2364740" y="1448435"/>
                  <a:pt x="2512060" y="1176020"/>
                </a:cubicBezTo>
                <a:close/>
                <a:moveTo>
                  <a:pt x="2035175" y="1661160"/>
                </a:moveTo>
                <a:cubicBezTo>
                  <a:pt x="2426971" y="1179830"/>
                  <a:pt x="2525396" y="866775"/>
                  <a:pt x="2708275" y="607060"/>
                </a:cubicBezTo>
                <a:cubicBezTo>
                  <a:pt x="2860675" y="381635"/>
                  <a:pt x="3098165" y="108585"/>
                  <a:pt x="3277235" y="0"/>
                </a:cubicBezTo>
                <a:lnTo>
                  <a:pt x="3270250" y="0"/>
                </a:lnTo>
                <a:cubicBezTo>
                  <a:pt x="3259455" y="6985"/>
                  <a:pt x="3248660" y="15875"/>
                  <a:pt x="3235960" y="23495"/>
                </a:cubicBezTo>
                <a:cubicBezTo>
                  <a:pt x="3007360" y="191135"/>
                  <a:pt x="2766060" y="492125"/>
                  <a:pt x="2600325" y="772160"/>
                </a:cubicBezTo>
                <a:cubicBezTo>
                  <a:pt x="2499996" y="949325"/>
                  <a:pt x="2446021" y="1062990"/>
                  <a:pt x="2360296" y="1196975"/>
                </a:cubicBezTo>
                <a:cubicBezTo>
                  <a:pt x="2197735" y="1460500"/>
                  <a:pt x="1956435" y="1789430"/>
                  <a:pt x="1744346" y="1947545"/>
                </a:cubicBezTo>
                <a:lnTo>
                  <a:pt x="1747521" y="1947545"/>
                </a:lnTo>
                <a:cubicBezTo>
                  <a:pt x="1825625" y="1898650"/>
                  <a:pt x="1947546" y="1766570"/>
                  <a:pt x="2035175" y="1661160"/>
                </a:cubicBezTo>
                <a:close/>
                <a:moveTo>
                  <a:pt x="3199130" y="0"/>
                </a:moveTo>
                <a:lnTo>
                  <a:pt x="3189605" y="0"/>
                </a:lnTo>
                <a:cubicBezTo>
                  <a:pt x="3129915" y="40640"/>
                  <a:pt x="3012440" y="161925"/>
                  <a:pt x="2988946" y="186690"/>
                </a:cubicBezTo>
                <a:cubicBezTo>
                  <a:pt x="2603500" y="600075"/>
                  <a:pt x="2347596" y="1030605"/>
                  <a:pt x="2075180" y="1408430"/>
                </a:cubicBezTo>
                <a:cubicBezTo>
                  <a:pt x="1957071" y="1574800"/>
                  <a:pt x="1767205" y="1826260"/>
                  <a:pt x="1631315" y="1947545"/>
                </a:cubicBezTo>
                <a:lnTo>
                  <a:pt x="1639571" y="1947545"/>
                </a:lnTo>
                <a:cubicBezTo>
                  <a:pt x="1645285" y="1941830"/>
                  <a:pt x="1651000" y="1934845"/>
                  <a:pt x="1657350" y="1930400"/>
                </a:cubicBezTo>
                <a:cubicBezTo>
                  <a:pt x="2075180" y="1511300"/>
                  <a:pt x="2419985" y="848360"/>
                  <a:pt x="2837180" y="366395"/>
                </a:cubicBezTo>
                <a:cubicBezTo>
                  <a:pt x="2921000" y="264160"/>
                  <a:pt x="3103880" y="66040"/>
                  <a:pt x="3199130" y="0"/>
                </a:cubicBezTo>
                <a:close/>
                <a:moveTo>
                  <a:pt x="2517775" y="683895"/>
                </a:moveTo>
                <a:cubicBezTo>
                  <a:pt x="2735580" y="422275"/>
                  <a:pt x="2994660" y="103505"/>
                  <a:pt x="3115946" y="0"/>
                </a:cubicBezTo>
                <a:lnTo>
                  <a:pt x="3111500" y="0"/>
                </a:lnTo>
                <a:cubicBezTo>
                  <a:pt x="3103246" y="6985"/>
                  <a:pt x="3096260" y="15240"/>
                  <a:pt x="3086100" y="22860"/>
                </a:cubicBezTo>
                <a:cubicBezTo>
                  <a:pt x="2989580" y="107950"/>
                  <a:pt x="2732405" y="420370"/>
                  <a:pt x="2573655" y="612140"/>
                </a:cubicBezTo>
                <a:cubicBezTo>
                  <a:pt x="2506346" y="692785"/>
                  <a:pt x="2435225" y="777875"/>
                  <a:pt x="2361565" y="864870"/>
                </a:cubicBezTo>
                <a:cubicBezTo>
                  <a:pt x="1990725" y="1289685"/>
                  <a:pt x="1770380" y="1664335"/>
                  <a:pt x="1517015" y="1947545"/>
                </a:cubicBezTo>
                <a:lnTo>
                  <a:pt x="1518285" y="1947545"/>
                </a:lnTo>
                <a:cubicBezTo>
                  <a:pt x="1614805" y="1852295"/>
                  <a:pt x="1725296" y="1693545"/>
                  <a:pt x="1857375" y="1515110"/>
                </a:cubicBezTo>
                <a:cubicBezTo>
                  <a:pt x="2149475" y="1110615"/>
                  <a:pt x="2273300" y="975360"/>
                  <a:pt x="2517775" y="683895"/>
                </a:cubicBezTo>
                <a:close/>
              </a:path>
            </a:pathLst>
          </a:custGeom>
          <a:gradFill>
            <a:gsLst>
              <a:gs pos="0">
                <a:srgbClr val="08303F">
                  <a:alpha val="12549"/>
                </a:srgbClr>
              </a:gs>
              <a:gs pos="100000">
                <a:srgbClr val="000000">
                  <a:alpha val="30980"/>
                </a:srgbClr>
              </a:gs>
            </a:gsLst>
            <a:lin ang="2698631"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3" name="Google Shape;11;p2"/>
          <p:cNvSpPr/>
          <p:nvPr userDrawn="1"/>
        </p:nvSpPr>
        <p:spPr>
          <a:xfrm>
            <a:off x="0" y="2173148"/>
            <a:ext cx="4361569" cy="4289199"/>
          </a:xfrm>
          <a:custGeom>
            <a:avLst/>
            <a:gdLst/>
            <a:ahLst/>
            <a:cxnLst/>
            <a:rect l="l" t="t" r="r" b="b"/>
            <a:pathLst>
              <a:path w="3947121" h="3881628" extrusionOk="0">
                <a:moveTo>
                  <a:pt x="1064704" y="2536431"/>
                </a:moveTo>
                <a:lnTo>
                  <a:pt x="1064704" y="2505227"/>
                </a:lnTo>
                <a:lnTo>
                  <a:pt x="1095908" y="2505227"/>
                </a:lnTo>
                <a:lnTo>
                  <a:pt x="1095908" y="2473681"/>
                </a:lnTo>
                <a:lnTo>
                  <a:pt x="1064704" y="2473681"/>
                </a:lnTo>
                <a:lnTo>
                  <a:pt x="1064704" y="2442477"/>
                </a:lnTo>
                <a:lnTo>
                  <a:pt x="1033158" y="2442477"/>
                </a:lnTo>
                <a:lnTo>
                  <a:pt x="1033158" y="2473681"/>
                </a:lnTo>
                <a:lnTo>
                  <a:pt x="1001954" y="2473681"/>
                </a:lnTo>
                <a:lnTo>
                  <a:pt x="1001954" y="2505227"/>
                </a:lnTo>
                <a:lnTo>
                  <a:pt x="1033158" y="2505227"/>
                </a:lnTo>
                <a:lnTo>
                  <a:pt x="1033158" y="2536431"/>
                </a:lnTo>
                <a:lnTo>
                  <a:pt x="1064704" y="2536431"/>
                </a:lnTo>
                <a:close/>
                <a:moveTo>
                  <a:pt x="1202207" y="2537803"/>
                </a:moveTo>
                <a:lnTo>
                  <a:pt x="1202207" y="2505570"/>
                </a:lnTo>
                <a:lnTo>
                  <a:pt x="1234440" y="2505570"/>
                </a:lnTo>
                <a:lnTo>
                  <a:pt x="1234440" y="2473338"/>
                </a:lnTo>
                <a:lnTo>
                  <a:pt x="1202207" y="2473338"/>
                </a:lnTo>
                <a:lnTo>
                  <a:pt x="1202207" y="2441105"/>
                </a:lnTo>
                <a:lnTo>
                  <a:pt x="1169975" y="2441105"/>
                </a:lnTo>
                <a:lnTo>
                  <a:pt x="1169975" y="2473338"/>
                </a:lnTo>
                <a:lnTo>
                  <a:pt x="1137742" y="2473338"/>
                </a:lnTo>
                <a:lnTo>
                  <a:pt x="1137742" y="2505570"/>
                </a:lnTo>
                <a:lnTo>
                  <a:pt x="1169975" y="2505570"/>
                </a:lnTo>
                <a:lnTo>
                  <a:pt x="1169975" y="2537803"/>
                </a:lnTo>
                <a:lnTo>
                  <a:pt x="1202207" y="2537803"/>
                </a:lnTo>
                <a:close/>
                <a:moveTo>
                  <a:pt x="1270787" y="2674963"/>
                </a:moveTo>
                <a:lnTo>
                  <a:pt x="1270787" y="2642730"/>
                </a:lnTo>
                <a:lnTo>
                  <a:pt x="1303020" y="2642730"/>
                </a:lnTo>
                <a:lnTo>
                  <a:pt x="1303020" y="2610498"/>
                </a:lnTo>
                <a:lnTo>
                  <a:pt x="1270787" y="2610498"/>
                </a:lnTo>
                <a:lnTo>
                  <a:pt x="1270787" y="2578265"/>
                </a:lnTo>
                <a:lnTo>
                  <a:pt x="1238555" y="2578265"/>
                </a:lnTo>
                <a:lnTo>
                  <a:pt x="1238555" y="2610498"/>
                </a:lnTo>
                <a:lnTo>
                  <a:pt x="1206322" y="2610498"/>
                </a:lnTo>
                <a:lnTo>
                  <a:pt x="1206322" y="2642730"/>
                </a:lnTo>
                <a:lnTo>
                  <a:pt x="1238555" y="2642730"/>
                </a:lnTo>
                <a:lnTo>
                  <a:pt x="1238555" y="2674963"/>
                </a:lnTo>
                <a:lnTo>
                  <a:pt x="1270787" y="2674963"/>
                </a:lnTo>
                <a:close/>
                <a:moveTo>
                  <a:pt x="1133627" y="2400643"/>
                </a:moveTo>
                <a:lnTo>
                  <a:pt x="1133627" y="2368410"/>
                </a:lnTo>
                <a:lnTo>
                  <a:pt x="1165860" y="2368410"/>
                </a:lnTo>
                <a:lnTo>
                  <a:pt x="1165860" y="2336178"/>
                </a:lnTo>
                <a:lnTo>
                  <a:pt x="1133627" y="2336178"/>
                </a:lnTo>
                <a:lnTo>
                  <a:pt x="1133627" y="2303945"/>
                </a:lnTo>
                <a:lnTo>
                  <a:pt x="1101395" y="2303945"/>
                </a:lnTo>
                <a:lnTo>
                  <a:pt x="1101395" y="2336178"/>
                </a:lnTo>
                <a:lnTo>
                  <a:pt x="1069162" y="2336178"/>
                </a:lnTo>
                <a:lnTo>
                  <a:pt x="1069162" y="2368410"/>
                </a:lnTo>
                <a:lnTo>
                  <a:pt x="1101395" y="2368410"/>
                </a:lnTo>
                <a:lnTo>
                  <a:pt x="1101395" y="2400643"/>
                </a:lnTo>
                <a:lnTo>
                  <a:pt x="1133627" y="2400643"/>
                </a:lnTo>
                <a:close/>
                <a:moveTo>
                  <a:pt x="996124" y="2399271"/>
                </a:moveTo>
                <a:lnTo>
                  <a:pt x="996124" y="2368067"/>
                </a:lnTo>
                <a:lnTo>
                  <a:pt x="1027328" y="2368067"/>
                </a:lnTo>
                <a:lnTo>
                  <a:pt x="1027328" y="2336521"/>
                </a:lnTo>
                <a:lnTo>
                  <a:pt x="996124" y="2336521"/>
                </a:lnTo>
                <a:lnTo>
                  <a:pt x="996124" y="2305317"/>
                </a:lnTo>
                <a:lnTo>
                  <a:pt x="964578" y="2305317"/>
                </a:lnTo>
                <a:lnTo>
                  <a:pt x="964578" y="2336521"/>
                </a:lnTo>
                <a:lnTo>
                  <a:pt x="933374" y="2336521"/>
                </a:lnTo>
                <a:lnTo>
                  <a:pt x="933374" y="2368067"/>
                </a:lnTo>
                <a:lnTo>
                  <a:pt x="964578" y="2368067"/>
                </a:lnTo>
                <a:lnTo>
                  <a:pt x="964578" y="2399271"/>
                </a:lnTo>
                <a:lnTo>
                  <a:pt x="996124" y="2399271"/>
                </a:lnTo>
                <a:close/>
                <a:moveTo>
                  <a:pt x="651167" y="1981962"/>
                </a:moveTo>
                <a:lnTo>
                  <a:pt x="651167" y="1954530"/>
                </a:lnTo>
                <a:lnTo>
                  <a:pt x="678599" y="1954530"/>
                </a:lnTo>
                <a:lnTo>
                  <a:pt x="678599" y="1927098"/>
                </a:lnTo>
                <a:lnTo>
                  <a:pt x="651167" y="1927098"/>
                </a:lnTo>
                <a:lnTo>
                  <a:pt x="651167" y="1899666"/>
                </a:lnTo>
                <a:lnTo>
                  <a:pt x="623735" y="1899666"/>
                </a:lnTo>
                <a:lnTo>
                  <a:pt x="623735" y="1927098"/>
                </a:lnTo>
                <a:lnTo>
                  <a:pt x="596303" y="1927098"/>
                </a:lnTo>
                <a:lnTo>
                  <a:pt x="596303" y="1954530"/>
                </a:lnTo>
                <a:lnTo>
                  <a:pt x="623735" y="1954530"/>
                </a:lnTo>
                <a:lnTo>
                  <a:pt x="623735" y="1981962"/>
                </a:lnTo>
                <a:lnTo>
                  <a:pt x="651167" y="1981962"/>
                </a:lnTo>
                <a:close/>
                <a:moveTo>
                  <a:pt x="720090" y="2120494"/>
                </a:moveTo>
                <a:lnTo>
                  <a:pt x="720090" y="2092033"/>
                </a:lnTo>
                <a:lnTo>
                  <a:pt x="748551" y="2092033"/>
                </a:lnTo>
                <a:lnTo>
                  <a:pt x="748551" y="2063915"/>
                </a:lnTo>
                <a:lnTo>
                  <a:pt x="720090" y="2063915"/>
                </a:lnTo>
                <a:lnTo>
                  <a:pt x="720090" y="2035454"/>
                </a:lnTo>
                <a:lnTo>
                  <a:pt x="691972" y="2035454"/>
                </a:lnTo>
                <a:lnTo>
                  <a:pt x="691972" y="2063915"/>
                </a:lnTo>
                <a:lnTo>
                  <a:pt x="663511" y="2063915"/>
                </a:lnTo>
                <a:lnTo>
                  <a:pt x="663511" y="2092033"/>
                </a:lnTo>
                <a:lnTo>
                  <a:pt x="691972" y="2092033"/>
                </a:lnTo>
                <a:lnTo>
                  <a:pt x="691972" y="2120494"/>
                </a:lnTo>
                <a:lnTo>
                  <a:pt x="720090" y="2120494"/>
                </a:lnTo>
                <a:close/>
                <a:moveTo>
                  <a:pt x="858279" y="2123580"/>
                </a:moveTo>
                <a:lnTo>
                  <a:pt x="858279" y="2093062"/>
                </a:lnTo>
                <a:lnTo>
                  <a:pt x="888797" y="2093062"/>
                </a:lnTo>
                <a:lnTo>
                  <a:pt x="888797" y="2062886"/>
                </a:lnTo>
                <a:lnTo>
                  <a:pt x="858279" y="2062886"/>
                </a:lnTo>
                <a:lnTo>
                  <a:pt x="858279" y="2032368"/>
                </a:lnTo>
                <a:lnTo>
                  <a:pt x="828103" y="2032368"/>
                </a:lnTo>
                <a:lnTo>
                  <a:pt x="828103" y="2062886"/>
                </a:lnTo>
                <a:lnTo>
                  <a:pt x="797585" y="2062886"/>
                </a:lnTo>
                <a:lnTo>
                  <a:pt x="797585" y="2093062"/>
                </a:lnTo>
                <a:lnTo>
                  <a:pt x="828103" y="2093062"/>
                </a:lnTo>
                <a:lnTo>
                  <a:pt x="828103" y="2123580"/>
                </a:lnTo>
                <a:lnTo>
                  <a:pt x="858279" y="2123580"/>
                </a:lnTo>
                <a:close/>
                <a:moveTo>
                  <a:pt x="927202" y="2261768"/>
                </a:moveTo>
                <a:lnTo>
                  <a:pt x="927202" y="2230565"/>
                </a:lnTo>
                <a:lnTo>
                  <a:pt x="958405" y="2230565"/>
                </a:lnTo>
                <a:lnTo>
                  <a:pt x="958405" y="2199704"/>
                </a:lnTo>
                <a:lnTo>
                  <a:pt x="927202" y="2199704"/>
                </a:lnTo>
                <a:lnTo>
                  <a:pt x="927202" y="2168500"/>
                </a:lnTo>
                <a:lnTo>
                  <a:pt x="896341" y="2168500"/>
                </a:lnTo>
                <a:lnTo>
                  <a:pt x="896341" y="2199704"/>
                </a:lnTo>
                <a:lnTo>
                  <a:pt x="865137" y="2199704"/>
                </a:lnTo>
                <a:lnTo>
                  <a:pt x="865137" y="2230565"/>
                </a:lnTo>
                <a:lnTo>
                  <a:pt x="896341" y="2230565"/>
                </a:lnTo>
                <a:lnTo>
                  <a:pt x="896341" y="2261768"/>
                </a:lnTo>
                <a:lnTo>
                  <a:pt x="927202" y="2261768"/>
                </a:lnTo>
                <a:close/>
                <a:moveTo>
                  <a:pt x="789356" y="2259025"/>
                </a:moveTo>
                <a:lnTo>
                  <a:pt x="789356" y="2229879"/>
                </a:lnTo>
                <a:lnTo>
                  <a:pt x="818502" y="2229879"/>
                </a:lnTo>
                <a:lnTo>
                  <a:pt x="818502" y="2200389"/>
                </a:lnTo>
                <a:lnTo>
                  <a:pt x="789356" y="2200389"/>
                </a:lnTo>
                <a:lnTo>
                  <a:pt x="789356" y="2171243"/>
                </a:lnTo>
                <a:lnTo>
                  <a:pt x="759866" y="2171243"/>
                </a:lnTo>
                <a:lnTo>
                  <a:pt x="759866" y="2200389"/>
                </a:lnTo>
                <a:lnTo>
                  <a:pt x="730720" y="2200389"/>
                </a:lnTo>
                <a:lnTo>
                  <a:pt x="730720" y="2229879"/>
                </a:lnTo>
                <a:lnTo>
                  <a:pt x="759866" y="2229879"/>
                </a:lnTo>
                <a:lnTo>
                  <a:pt x="759866" y="2259025"/>
                </a:lnTo>
                <a:lnTo>
                  <a:pt x="789356" y="2259025"/>
                </a:lnTo>
                <a:close/>
                <a:moveTo>
                  <a:pt x="1888007" y="2812123"/>
                </a:moveTo>
                <a:lnTo>
                  <a:pt x="1888007" y="2779890"/>
                </a:lnTo>
                <a:lnTo>
                  <a:pt x="1920240" y="2779890"/>
                </a:lnTo>
                <a:lnTo>
                  <a:pt x="1920240" y="2747658"/>
                </a:lnTo>
                <a:lnTo>
                  <a:pt x="1888007" y="2747658"/>
                </a:lnTo>
                <a:lnTo>
                  <a:pt x="1888007" y="2715425"/>
                </a:lnTo>
                <a:lnTo>
                  <a:pt x="1855775" y="2715425"/>
                </a:lnTo>
                <a:lnTo>
                  <a:pt x="1855775" y="2747658"/>
                </a:lnTo>
                <a:lnTo>
                  <a:pt x="1823542" y="2747658"/>
                </a:lnTo>
                <a:lnTo>
                  <a:pt x="1823542" y="2779890"/>
                </a:lnTo>
                <a:lnTo>
                  <a:pt x="1855775" y="2779890"/>
                </a:lnTo>
                <a:lnTo>
                  <a:pt x="1855775" y="2812123"/>
                </a:lnTo>
                <a:lnTo>
                  <a:pt x="1888007" y="2812123"/>
                </a:lnTo>
                <a:close/>
                <a:moveTo>
                  <a:pt x="1750847" y="2812123"/>
                </a:moveTo>
                <a:lnTo>
                  <a:pt x="1750847" y="2779890"/>
                </a:lnTo>
                <a:lnTo>
                  <a:pt x="1783080" y="2779890"/>
                </a:lnTo>
                <a:lnTo>
                  <a:pt x="1783080" y="2747658"/>
                </a:lnTo>
                <a:lnTo>
                  <a:pt x="1750847" y="2747658"/>
                </a:lnTo>
                <a:lnTo>
                  <a:pt x="1750847" y="2715425"/>
                </a:lnTo>
                <a:lnTo>
                  <a:pt x="1718615" y="2715425"/>
                </a:lnTo>
                <a:lnTo>
                  <a:pt x="1718615" y="2747658"/>
                </a:lnTo>
                <a:lnTo>
                  <a:pt x="1686382" y="2747658"/>
                </a:lnTo>
                <a:lnTo>
                  <a:pt x="1686382" y="2779890"/>
                </a:lnTo>
                <a:lnTo>
                  <a:pt x="1718615" y="2779890"/>
                </a:lnTo>
                <a:lnTo>
                  <a:pt x="1718615" y="2812123"/>
                </a:lnTo>
                <a:lnTo>
                  <a:pt x="1750847" y="2812123"/>
                </a:lnTo>
                <a:close/>
                <a:moveTo>
                  <a:pt x="1819427" y="2674963"/>
                </a:moveTo>
                <a:lnTo>
                  <a:pt x="1819427" y="2642730"/>
                </a:lnTo>
                <a:lnTo>
                  <a:pt x="1851660" y="2642730"/>
                </a:lnTo>
                <a:lnTo>
                  <a:pt x="1851660" y="2610498"/>
                </a:lnTo>
                <a:lnTo>
                  <a:pt x="1819427" y="2610498"/>
                </a:lnTo>
                <a:lnTo>
                  <a:pt x="1819427" y="2578265"/>
                </a:lnTo>
                <a:lnTo>
                  <a:pt x="1787195" y="2578265"/>
                </a:lnTo>
                <a:lnTo>
                  <a:pt x="1787195" y="2610498"/>
                </a:lnTo>
                <a:lnTo>
                  <a:pt x="1754962" y="2610498"/>
                </a:lnTo>
                <a:lnTo>
                  <a:pt x="1754962" y="2642730"/>
                </a:lnTo>
                <a:lnTo>
                  <a:pt x="1787195" y="2642730"/>
                </a:lnTo>
                <a:lnTo>
                  <a:pt x="1787195" y="2674963"/>
                </a:lnTo>
                <a:lnTo>
                  <a:pt x="1819427" y="2674963"/>
                </a:lnTo>
                <a:close/>
                <a:moveTo>
                  <a:pt x="691972" y="1761134"/>
                </a:moveTo>
                <a:lnTo>
                  <a:pt x="691972" y="1789595"/>
                </a:lnTo>
                <a:lnTo>
                  <a:pt x="663511" y="1789595"/>
                </a:lnTo>
                <a:lnTo>
                  <a:pt x="663511" y="1817713"/>
                </a:lnTo>
                <a:lnTo>
                  <a:pt x="691972" y="1817713"/>
                </a:lnTo>
                <a:lnTo>
                  <a:pt x="691972" y="1846174"/>
                </a:lnTo>
                <a:lnTo>
                  <a:pt x="720090" y="1846174"/>
                </a:lnTo>
                <a:lnTo>
                  <a:pt x="720090" y="1817713"/>
                </a:lnTo>
                <a:lnTo>
                  <a:pt x="748551" y="1817713"/>
                </a:lnTo>
                <a:lnTo>
                  <a:pt x="748551" y="1789595"/>
                </a:lnTo>
                <a:lnTo>
                  <a:pt x="720090" y="1789595"/>
                </a:lnTo>
                <a:lnTo>
                  <a:pt x="720090" y="1761134"/>
                </a:lnTo>
                <a:lnTo>
                  <a:pt x="691972" y="1761134"/>
                </a:lnTo>
                <a:close/>
                <a:moveTo>
                  <a:pt x="1682267" y="2674963"/>
                </a:moveTo>
                <a:lnTo>
                  <a:pt x="1682267" y="2642730"/>
                </a:lnTo>
                <a:lnTo>
                  <a:pt x="1714500" y="2642730"/>
                </a:lnTo>
                <a:lnTo>
                  <a:pt x="1714500" y="2610498"/>
                </a:lnTo>
                <a:lnTo>
                  <a:pt x="1682267" y="2610498"/>
                </a:lnTo>
                <a:lnTo>
                  <a:pt x="1682267" y="2578265"/>
                </a:lnTo>
                <a:lnTo>
                  <a:pt x="1650035" y="2578265"/>
                </a:lnTo>
                <a:lnTo>
                  <a:pt x="1650035" y="2610498"/>
                </a:lnTo>
                <a:lnTo>
                  <a:pt x="1617802" y="2610498"/>
                </a:lnTo>
                <a:lnTo>
                  <a:pt x="1617802" y="2642730"/>
                </a:lnTo>
                <a:lnTo>
                  <a:pt x="1650035" y="2642730"/>
                </a:lnTo>
                <a:lnTo>
                  <a:pt x="1650035" y="2674963"/>
                </a:lnTo>
                <a:lnTo>
                  <a:pt x="1682267" y="2674963"/>
                </a:lnTo>
                <a:close/>
                <a:moveTo>
                  <a:pt x="1476527" y="2537803"/>
                </a:moveTo>
                <a:lnTo>
                  <a:pt x="1476527" y="2505570"/>
                </a:lnTo>
                <a:lnTo>
                  <a:pt x="1508760" y="2505570"/>
                </a:lnTo>
                <a:lnTo>
                  <a:pt x="1508760" y="2473338"/>
                </a:lnTo>
                <a:lnTo>
                  <a:pt x="1476527" y="2473338"/>
                </a:lnTo>
                <a:lnTo>
                  <a:pt x="1476527" y="2441105"/>
                </a:lnTo>
                <a:lnTo>
                  <a:pt x="1444295" y="2441105"/>
                </a:lnTo>
                <a:lnTo>
                  <a:pt x="1444295" y="2473338"/>
                </a:lnTo>
                <a:lnTo>
                  <a:pt x="1412062" y="2473338"/>
                </a:lnTo>
                <a:lnTo>
                  <a:pt x="1412062" y="2505570"/>
                </a:lnTo>
                <a:lnTo>
                  <a:pt x="1444295" y="2505570"/>
                </a:lnTo>
                <a:lnTo>
                  <a:pt x="1444295" y="2537803"/>
                </a:lnTo>
                <a:lnTo>
                  <a:pt x="1476527" y="2537803"/>
                </a:lnTo>
                <a:close/>
                <a:moveTo>
                  <a:pt x="1407947" y="2674963"/>
                </a:moveTo>
                <a:lnTo>
                  <a:pt x="1407947" y="2642730"/>
                </a:lnTo>
                <a:lnTo>
                  <a:pt x="1440180" y="2642730"/>
                </a:lnTo>
                <a:lnTo>
                  <a:pt x="1440180" y="2610498"/>
                </a:lnTo>
                <a:lnTo>
                  <a:pt x="1407947" y="2610498"/>
                </a:lnTo>
                <a:lnTo>
                  <a:pt x="1407947" y="2578265"/>
                </a:lnTo>
                <a:lnTo>
                  <a:pt x="1375715" y="2578265"/>
                </a:lnTo>
                <a:lnTo>
                  <a:pt x="1375715" y="2610498"/>
                </a:lnTo>
                <a:lnTo>
                  <a:pt x="1343482" y="2610498"/>
                </a:lnTo>
                <a:lnTo>
                  <a:pt x="1343482" y="2642730"/>
                </a:lnTo>
                <a:lnTo>
                  <a:pt x="1375715" y="2642730"/>
                </a:lnTo>
                <a:lnTo>
                  <a:pt x="1375715" y="2674963"/>
                </a:lnTo>
                <a:lnTo>
                  <a:pt x="1407947" y="2674963"/>
                </a:lnTo>
                <a:close/>
                <a:moveTo>
                  <a:pt x="1339367" y="2537803"/>
                </a:moveTo>
                <a:lnTo>
                  <a:pt x="1339367" y="2505570"/>
                </a:lnTo>
                <a:lnTo>
                  <a:pt x="1371600" y="2505570"/>
                </a:lnTo>
                <a:lnTo>
                  <a:pt x="1371600" y="2473338"/>
                </a:lnTo>
                <a:lnTo>
                  <a:pt x="1339367" y="2473338"/>
                </a:lnTo>
                <a:lnTo>
                  <a:pt x="1339367" y="2441105"/>
                </a:lnTo>
                <a:lnTo>
                  <a:pt x="1307135" y="2441105"/>
                </a:lnTo>
                <a:lnTo>
                  <a:pt x="1307135" y="2473338"/>
                </a:lnTo>
                <a:lnTo>
                  <a:pt x="1274902" y="2473338"/>
                </a:lnTo>
                <a:lnTo>
                  <a:pt x="1274902" y="2505570"/>
                </a:lnTo>
                <a:lnTo>
                  <a:pt x="1307135" y="2505570"/>
                </a:lnTo>
                <a:lnTo>
                  <a:pt x="1307135" y="2537803"/>
                </a:lnTo>
                <a:lnTo>
                  <a:pt x="1339367" y="2537803"/>
                </a:lnTo>
                <a:close/>
                <a:moveTo>
                  <a:pt x="1613687" y="2812123"/>
                </a:moveTo>
                <a:lnTo>
                  <a:pt x="1613687" y="2779890"/>
                </a:lnTo>
                <a:lnTo>
                  <a:pt x="1645920" y="2779890"/>
                </a:lnTo>
                <a:lnTo>
                  <a:pt x="1645920" y="2747658"/>
                </a:lnTo>
                <a:lnTo>
                  <a:pt x="1613687" y="2747658"/>
                </a:lnTo>
                <a:lnTo>
                  <a:pt x="1613687" y="2715425"/>
                </a:lnTo>
                <a:lnTo>
                  <a:pt x="1581455" y="2715425"/>
                </a:lnTo>
                <a:lnTo>
                  <a:pt x="1581455" y="2747658"/>
                </a:lnTo>
                <a:lnTo>
                  <a:pt x="1549222" y="2747658"/>
                </a:lnTo>
                <a:lnTo>
                  <a:pt x="1549222" y="2779890"/>
                </a:lnTo>
                <a:lnTo>
                  <a:pt x="1581455" y="2779890"/>
                </a:lnTo>
                <a:lnTo>
                  <a:pt x="1581455" y="2812123"/>
                </a:lnTo>
                <a:lnTo>
                  <a:pt x="1613687" y="2812123"/>
                </a:lnTo>
                <a:close/>
                <a:moveTo>
                  <a:pt x="1956587" y="2674963"/>
                </a:moveTo>
                <a:lnTo>
                  <a:pt x="1956587" y="2642730"/>
                </a:lnTo>
                <a:lnTo>
                  <a:pt x="1988820" y="2642730"/>
                </a:lnTo>
                <a:lnTo>
                  <a:pt x="1988820" y="2610498"/>
                </a:lnTo>
                <a:lnTo>
                  <a:pt x="1956587" y="2610498"/>
                </a:lnTo>
                <a:lnTo>
                  <a:pt x="1956587" y="2578265"/>
                </a:lnTo>
                <a:lnTo>
                  <a:pt x="1924355" y="2578265"/>
                </a:lnTo>
                <a:lnTo>
                  <a:pt x="1924355" y="2610498"/>
                </a:lnTo>
                <a:lnTo>
                  <a:pt x="1892122" y="2610498"/>
                </a:lnTo>
                <a:lnTo>
                  <a:pt x="1892122" y="2642730"/>
                </a:lnTo>
                <a:lnTo>
                  <a:pt x="1924355" y="2642730"/>
                </a:lnTo>
                <a:lnTo>
                  <a:pt x="1924355" y="2674963"/>
                </a:lnTo>
                <a:lnTo>
                  <a:pt x="1956587" y="2674963"/>
                </a:lnTo>
                <a:close/>
                <a:moveTo>
                  <a:pt x="2130095" y="1069505"/>
                </a:moveTo>
                <a:lnTo>
                  <a:pt x="2130095" y="1101738"/>
                </a:lnTo>
                <a:lnTo>
                  <a:pt x="2097862" y="1101738"/>
                </a:lnTo>
                <a:lnTo>
                  <a:pt x="2097862" y="1133970"/>
                </a:lnTo>
                <a:lnTo>
                  <a:pt x="2130095" y="1133970"/>
                </a:lnTo>
                <a:lnTo>
                  <a:pt x="2130095" y="1166203"/>
                </a:lnTo>
                <a:lnTo>
                  <a:pt x="2162327" y="1166203"/>
                </a:lnTo>
                <a:lnTo>
                  <a:pt x="2162327" y="1133970"/>
                </a:lnTo>
                <a:lnTo>
                  <a:pt x="2194560" y="1133970"/>
                </a:lnTo>
                <a:lnTo>
                  <a:pt x="2194560" y="1101738"/>
                </a:lnTo>
                <a:lnTo>
                  <a:pt x="2162327" y="1101738"/>
                </a:lnTo>
                <a:lnTo>
                  <a:pt x="2162327" y="1069505"/>
                </a:lnTo>
                <a:lnTo>
                  <a:pt x="2130095" y="1069505"/>
                </a:lnTo>
                <a:close/>
                <a:moveTo>
                  <a:pt x="1444295" y="1069505"/>
                </a:moveTo>
                <a:lnTo>
                  <a:pt x="1444295" y="1101738"/>
                </a:lnTo>
                <a:lnTo>
                  <a:pt x="1412062" y="1101738"/>
                </a:lnTo>
                <a:lnTo>
                  <a:pt x="1412062" y="1133970"/>
                </a:lnTo>
                <a:lnTo>
                  <a:pt x="1444295" y="1133970"/>
                </a:lnTo>
                <a:lnTo>
                  <a:pt x="1444295" y="1166203"/>
                </a:lnTo>
                <a:lnTo>
                  <a:pt x="1476527" y="1166203"/>
                </a:lnTo>
                <a:lnTo>
                  <a:pt x="1476527" y="1133970"/>
                </a:lnTo>
                <a:lnTo>
                  <a:pt x="1508760" y="1133970"/>
                </a:lnTo>
                <a:lnTo>
                  <a:pt x="1508760" y="1101738"/>
                </a:lnTo>
                <a:lnTo>
                  <a:pt x="1476527" y="1101738"/>
                </a:lnTo>
                <a:lnTo>
                  <a:pt x="1476527" y="1069505"/>
                </a:lnTo>
                <a:lnTo>
                  <a:pt x="1444295" y="1069505"/>
                </a:lnTo>
                <a:close/>
                <a:moveTo>
                  <a:pt x="1718615" y="1069505"/>
                </a:moveTo>
                <a:lnTo>
                  <a:pt x="1718615" y="1101738"/>
                </a:lnTo>
                <a:lnTo>
                  <a:pt x="1686382" y="1101738"/>
                </a:lnTo>
                <a:lnTo>
                  <a:pt x="1686382" y="1133970"/>
                </a:lnTo>
                <a:lnTo>
                  <a:pt x="1718615" y="1133970"/>
                </a:lnTo>
                <a:lnTo>
                  <a:pt x="1718615" y="1166203"/>
                </a:lnTo>
                <a:lnTo>
                  <a:pt x="1750847" y="1166203"/>
                </a:lnTo>
                <a:lnTo>
                  <a:pt x="1750847" y="1133970"/>
                </a:lnTo>
                <a:lnTo>
                  <a:pt x="1783080" y="1133970"/>
                </a:lnTo>
                <a:lnTo>
                  <a:pt x="1783080" y="1101738"/>
                </a:lnTo>
                <a:lnTo>
                  <a:pt x="1750847" y="1101738"/>
                </a:lnTo>
                <a:lnTo>
                  <a:pt x="1750847" y="1069505"/>
                </a:lnTo>
                <a:lnTo>
                  <a:pt x="1718615" y="1069505"/>
                </a:lnTo>
                <a:close/>
                <a:moveTo>
                  <a:pt x="1787195" y="1206665"/>
                </a:moveTo>
                <a:lnTo>
                  <a:pt x="1787195" y="1238898"/>
                </a:lnTo>
                <a:lnTo>
                  <a:pt x="1754962" y="1238898"/>
                </a:lnTo>
                <a:lnTo>
                  <a:pt x="1754962" y="1271130"/>
                </a:lnTo>
                <a:lnTo>
                  <a:pt x="1787195" y="1271130"/>
                </a:lnTo>
                <a:lnTo>
                  <a:pt x="1787195" y="1303363"/>
                </a:lnTo>
                <a:lnTo>
                  <a:pt x="1819427" y="1303363"/>
                </a:lnTo>
                <a:lnTo>
                  <a:pt x="1819427" y="1271130"/>
                </a:lnTo>
                <a:lnTo>
                  <a:pt x="1851660" y="1271130"/>
                </a:lnTo>
                <a:lnTo>
                  <a:pt x="1851660" y="1238898"/>
                </a:lnTo>
                <a:lnTo>
                  <a:pt x="1819427" y="1238898"/>
                </a:lnTo>
                <a:lnTo>
                  <a:pt x="1819427" y="1206665"/>
                </a:lnTo>
                <a:lnTo>
                  <a:pt x="1787195" y="1206665"/>
                </a:lnTo>
                <a:close/>
                <a:moveTo>
                  <a:pt x="1512875" y="1206665"/>
                </a:moveTo>
                <a:lnTo>
                  <a:pt x="1512875" y="1238898"/>
                </a:lnTo>
                <a:lnTo>
                  <a:pt x="1480642" y="1238898"/>
                </a:lnTo>
                <a:lnTo>
                  <a:pt x="1480642" y="1271130"/>
                </a:lnTo>
                <a:lnTo>
                  <a:pt x="1512875" y="1271130"/>
                </a:lnTo>
                <a:lnTo>
                  <a:pt x="1512875" y="1303363"/>
                </a:lnTo>
                <a:lnTo>
                  <a:pt x="1545107" y="1303363"/>
                </a:lnTo>
                <a:lnTo>
                  <a:pt x="1545107" y="1271130"/>
                </a:lnTo>
                <a:lnTo>
                  <a:pt x="1577340" y="1271130"/>
                </a:lnTo>
                <a:lnTo>
                  <a:pt x="1577340" y="1238898"/>
                </a:lnTo>
                <a:lnTo>
                  <a:pt x="1545107" y="1238898"/>
                </a:lnTo>
                <a:lnTo>
                  <a:pt x="1545107" y="1206665"/>
                </a:lnTo>
                <a:lnTo>
                  <a:pt x="1512875" y="1206665"/>
                </a:lnTo>
                <a:close/>
                <a:moveTo>
                  <a:pt x="1650035" y="1206665"/>
                </a:moveTo>
                <a:lnTo>
                  <a:pt x="1650035" y="1238898"/>
                </a:lnTo>
                <a:lnTo>
                  <a:pt x="1617802" y="1238898"/>
                </a:lnTo>
                <a:lnTo>
                  <a:pt x="1617802" y="1271130"/>
                </a:lnTo>
                <a:lnTo>
                  <a:pt x="1650035" y="1271130"/>
                </a:lnTo>
                <a:lnTo>
                  <a:pt x="1650035" y="1303363"/>
                </a:lnTo>
                <a:lnTo>
                  <a:pt x="1682267" y="1303363"/>
                </a:lnTo>
                <a:lnTo>
                  <a:pt x="1682267" y="1271130"/>
                </a:lnTo>
                <a:lnTo>
                  <a:pt x="1714500" y="1271130"/>
                </a:lnTo>
                <a:lnTo>
                  <a:pt x="1714500" y="1238898"/>
                </a:lnTo>
                <a:lnTo>
                  <a:pt x="1682267" y="1238898"/>
                </a:lnTo>
                <a:lnTo>
                  <a:pt x="1682267" y="1206665"/>
                </a:lnTo>
                <a:lnTo>
                  <a:pt x="1650035" y="1206665"/>
                </a:lnTo>
                <a:close/>
                <a:moveTo>
                  <a:pt x="2061515" y="1206665"/>
                </a:moveTo>
                <a:lnTo>
                  <a:pt x="2061515" y="1238898"/>
                </a:lnTo>
                <a:lnTo>
                  <a:pt x="2029282" y="1238898"/>
                </a:lnTo>
                <a:lnTo>
                  <a:pt x="2029282" y="1271130"/>
                </a:lnTo>
                <a:lnTo>
                  <a:pt x="2061515" y="1271130"/>
                </a:lnTo>
                <a:lnTo>
                  <a:pt x="2061515" y="1303363"/>
                </a:lnTo>
                <a:lnTo>
                  <a:pt x="2093747" y="1303363"/>
                </a:lnTo>
                <a:lnTo>
                  <a:pt x="2093747" y="1271130"/>
                </a:lnTo>
                <a:lnTo>
                  <a:pt x="2125980" y="1271130"/>
                </a:lnTo>
                <a:lnTo>
                  <a:pt x="2125980" y="1238898"/>
                </a:lnTo>
                <a:lnTo>
                  <a:pt x="2093747" y="1238898"/>
                </a:lnTo>
                <a:lnTo>
                  <a:pt x="2093747" y="1206665"/>
                </a:lnTo>
                <a:lnTo>
                  <a:pt x="2061515" y="1206665"/>
                </a:lnTo>
                <a:close/>
                <a:moveTo>
                  <a:pt x="1855775" y="1069505"/>
                </a:moveTo>
                <a:lnTo>
                  <a:pt x="1855775" y="1101738"/>
                </a:lnTo>
                <a:lnTo>
                  <a:pt x="1823542" y="1101738"/>
                </a:lnTo>
                <a:lnTo>
                  <a:pt x="1823542" y="1133970"/>
                </a:lnTo>
                <a:lnTo>
                  <a:pt x="1855775" y="1133970"/>
                </a:lnTo>
                <a:lnTo>
                  <a:pt x="1855775" y="1166203"/>
                </a:lnTo>
                <a:lnTo>
                  <a:pt x="1888007" y="1166203"/>
                </a:lnTo>
                <a:lnTo>
                  <a:pt x="1888007" y="1133970"/>
                </a:lnTo>
                <a:lnTo>
                  <a:pt x="1920240" y="1133970"/>
                </a:lnTo>
                <a:lnTo>
                  <a:pt x="1920240" y="1101738"/>
                </a:lnTo>
                <a:lnTo>
                  <a:pt x="1888007" y="1101738"/>
                </a:lnTo>
                <a:lnTo>
                  <a:pt x="1888007" y="1069505"/>
                </a:lnTo>
                <a:lnTo>
                  <a:pt x="1855775" y="1069505"/>
                </a:lnTo>
                <a:close/>
                <a:moveTo>
                  <a:pt x="1992935" y="1069505"/>
                </a:moveTo>
                <a:lnTo>
                  <a:pt x="1992935" y="1101738"/>
                </a:lnTo>
                <a:lnTo>
                  <a:pt x="1960702" y="1101738"/>
                </a:lnTo>
                <a:lnTo>
                  <a:pt x="1960702" y="1133970"/>
                </a:lnTo>
                <a:lnTo>
                  <a:pt x="1992935" y="1133970"/>
                </a:lnTo>
                <a:lnTo>
                  <a:pt x="1992935" y="1166203"/>
                </a:lnTo>
                <a:lnTo>
                  <a:pt x="2025167" y="1166203"/>
                </a:lnTo>
                <a:lnTo>
                  <a:pt x="2025167" y="1133970"/>
                </a:lnTo>
                <a:lnTo>
                  <a:pt x="2057400" y="1133970"/>
                </a:lnTo>
                <a:lnTo>
                  <a:pt x="2057400" y="1101738"/>
                </a:lnTo>
                <a:lnTo>
                  <a:pt x="2025167" y="1101738"/>
                </a:lnTo>
                <a:lnTo>
                  <a:pt x="2025167" y="1069505"/>
                </a:lnTo>
                <a:lnTo>
                  <a:pt x="1992935" y="1069505"/>
                </a:lnTo>
                <a:close/>
                <a:moveTo>
                  <a:pt x="1924355" y="1206665"/>
                </a:moveTo>
                <a:lnTo>
                  <a:pt x="1924355" y="1238898"/>
                </a:lnTo>
                <a:lnTo>
                  <a:pt x="1892122" y="1238898"/>
                </a:lnTo>
                <a:lnTo>
                  <a:pt x="1892122" y="1271130"/>
                </a:lnTo>
                <a:lnTo>
                  <a:pt x="1924355" y="1271130"/>
                </a:lnTo>
                <a:lnTo>
                  <a:pt x="1924355" y="1303363"/>
                </a:lnTo>
                <a:lnTo>
                  <a:pt x="1956587" y="1303363"/>
                </a:lnTo>
                <a:lnTo>
                  <a:pt x="1956587" y="1271130"/>
                </a:lnTo>
                <a:lnTo>
                  <a:pt x="1988820" y="1271130"/>
                </a:lnTo>
                <a:lnTo>
                  <a:pt x="1988820" y="1238898"/>
                </a:lnTo>
                <a:lnTo>
                  <a:pt x="1956587" y="1238898"/>
                </a:lnTo>
                <a:lnTo>
                  <a:pt x="1956587" y="1206665"/>
                </a:lnTo>
                <a:lnTo>
                  <a:pt x="1924355" y="1206665"/>
                </a:lnTo>
                <a:close/>
                <a:moveTo>
                  <a:pt x="1169975" y="1343825"/>
                </a:moveTo>
                <a:lnTo>
                  <a:pt x="1169975" y="1376058"/>
                </a:lnTo>
                <a:lnTo>
                  <a:pt x="1137742" y="1376058"/>
                </a:lnTo>
                <a:lnTo>
                  <a:pt x="1137742" y="1408290"/>
                </a:lnTo>
                <a:lnTo>
                  <a:pt x="1169975" y="1408290"/>
                </a:lnTo>
                <a:lnTo>
                  <a:pt x="1169975" y="1440523"/>
                </a:lnTo>
                <a:lnTo>
                  <a:pt x="1202207" y="1440523"/>
                </a:lnTo>
                <a:lnTo>
                  <a:pt x="1202207" y="1408290"/>
                </a:lnTo>
                <a:lnTo>
                  <a:pt x="1234440" y="1408290"/>
                </a:lnTo>
                <a:lnTo>
                  <a:pt x="1234440" y="1376058"/>
                </a:lnTo>
                <a:lnTo>
                  <a:pt x="1202207" y="1376058"/>
                </a:lnTo>
                <a:lnTo>
                  <a:pt x="1202207" y="1343825"/>
                </a:lnTo>
                <a:lnTo>
                  <a:pt x="1169975" y="1343825"/>
                </a:lnTo>
                <a:close/>
                <a:moveTo>
                  <a:pt x="964578" y="1482357"/>
                </a:moveTo>
                <a:lnTo>
                  <a:pt x="964578" y="1513561"/>
                </a:lnTo>
                <a:lnTo>
                  <a:pt x="933374" y="1513561"/>
                </a:lnTo>
                <a:lnTo>
                  <a:pt x="933374" y="1545107"/>
                </a:lnTo>
                <a:lnTo>
                  <a:pt x="964578" y="1545107"/>
                </a:lnTo>
                <a:lnTo>
                  <a:pt x="964578" y="1576311"/>
                </a:lnTo>
                <a:lnTo>
                  <a:pt x="996124" y="1576311"/>
                </a:lnTo>
                <a:lnTo>
                  <a:pt x="996124" y="1545107"/>
                </a:lnTo>
                <a:lnTo>
                  <a:pt x="1027328" y="1545107"/>
                </a:lnTo>
                <a:lnTo>
                  <a:pt x="1027328" y="1513561"/>
                </a:lnTo>
                <a:lnTo>
                  <a:pt x="996124" y="1513561"/>
                </a:lnTo>
                <a:lnTo>
                  <a:pt x="996124" y="1482357"/>
                </a:lnTo>
                <a:lnTo>
                  <a:pt x="964578" y="1482357"/>
                </a:lnTo>
                <a:close/>
                <a:moveTo>
                  <a:pt x="896341" y="1619860"/>
                </a:moveTo>
                <a:lnTo>
                  <a:pt x="896341" y="1651064"/>
                </a:lnTo>
                <a:lnTo>
                  <a:pt x="865137" y="1651064"/>
                </a:lnTo>
                <a:lnTo>
                  <a:pt x="865137" y="1681925"/>
                </a:lnTo>
                <a:lnTo>
                  <a:pt x="896341" y="1681925"/>
                </a:lnTo>
                <a:lnTo>
                  <a:pt x="896341" y="1713128"/>
                </a:lnTo>
                <a:lnTo>
                  <a:pt x="927202" y="1713128"/>
                </a:lnTo>
                <a:lnTo>
                  <a:pt x="927202" y="1681925"/>
                </a:lnTo>
                <a:lnTo>
                  <a:pt x="958405" y="1681925"/>
                </a:lnTo>
                <a:lnTo>
                  <a:pt x="958405" y="1651064"/>
                </a:lnTo>
                <a:lnTo>
                  <a:pt x="927202" y="1651064"/>
                </a:lnTo>
                <a:lnTo>
                  <a:pt x="927202" y="1619860"/>
                </a:lnTo>
                <a:lnTo>
                  <a:pt x="896341" y="1619860"/>
                </a:lnTo>
                <a:close/>
                <a:moveTo>
                  <a:pt x="1033158" y="1345197"/>
                </a:moveTo>
                <a:lnTo>
                  <a:pt x="1033158" y="1376401"/>
                </a:lnTo>
                <a:lnTo>
                  <a:pt x="1001954" y="1376401"/>
                </a:lnTo>
                <a:lnTo>
                  <a:pt x="1001954" y="1407947"/>
                </a:lnTo>
                <a:lnTo>
                  <a:pt x="1033158" y="1407947"/>
                </a:lnTo>
                <a:lnTo>
                  <a:pt x="1033158" y="1439151"/>
                </a:lnTo>
                <a:lnTo>
                  <a:pt x="1064704" y="1439151"/>
                </a:lnTo>
                <a:lnTo>
                  <a:pt x="1064704" y="1407947"/>
                </a:lnTo>
                <a:lnTo>
                  <a:pt x="1095908" y="1407947"/>
                </a:lnTo>
                <a:lnTo>
                  <a:pt x="1095908" y="1376401"/>
                </a:lnTo>
                <a:lnTo>
                  <a:pt x="1064704" y="1376401"/>
                </a:lnTo>
                <a:lnTo>
                  <a:pt x="1064704" y="1345197"/>
                </a:lnTo>
                <a:lnTo>
                  <a:pt x="1033158" y="1345197"/>
                </a:lnTo>
                <a:close/>
                <a:moveTo>
                  <a:pt x="1375715" y="1206665"/>
                </a:moveTo>
                <a:lnTo>
                  <a:pt x="1375715" y="1238898"/>
                </a:lnTo>
                <a:lnTo>
                  <a:pt x="1343482" y="1238898"/>
                </a:lnTo>
                <a:lnTo>
                  <a:pt x="1343482" y="1271130"/>
                </a:lnTo>
                <a:lnTo>
                  <a:pt x="1375715" y="1271130"/>
                </a:lnTo>
                <a:lnTo>
                  <a:pt x="1375715" y="1303363"/>
                </a:lnTo>
                <a:lnTo>
                  <a:pt x="1407947" y="1303363"/>
                </a:lnTo>
                <a:lnTo>
                  <a:pt x="1407947" y="1271130"/>
                </a:lnTo>
                <a:lnTo>
                  <a:pt x="1440180" y="1271130"/>
                </a:lnTo>
                <a:lnTo>
                  <a:pt x="1440180" y="1238898"/>
                </a:lnTo>
                <a:lnTo>
                  <a:pt x="1407947" y="1238898"/>
                </a:lnTo>
                <a:lnTo>
                  <a:pt x="1407947" y="1206665"/>
                </a:lnTo>
                <a:lnTo>
                  <a:pt x="1375715" y="1206665"/>
                </a:lnTo>
                <a:close/>
                <a:moveTo>
                  <a:pt x="828446" y="1485100"/>
                </a:moveTo>
                <a:lnTo>
                  <a:pt x="828446" y="1514589"/>
                </a:lnTo>
                <a:lnTo>
                  <a:pt x="798957" y="1514589"/>
                </a:lnTo>
                <a:lnTo>
                  <a:pt x="798957" y="1544079"/>
                </a:lnTo>
                <a:lnTo>
                  <a:pt x="828446" y="1544079"/>
                </a:lnTo>
                <a:lnTo>
                  <a:pt x="828446" y="1573568"/>
                </a:lnTo>
                <a:lnTo>
                  <a:pt x="857936" y="1573568"/>
                </a:lnTo>
                <a:lnTo>
                  <a:pt x="857936" y="1544079"/>
                </a:lnTo>
                <a:lnTo>
                  <a:pt x="887425" y="1544079"/>
                </a:lnTo>
                <a:lnTo>
                  <a:pt x="887425" y="1514589"/>
                </a:lnTo>
                <a:lnTo>
                  <a:pt x="857936" y="1514589"/>
                </a:lnTo>
                <a:lnTo>
                  <a:pt x="857936" y="1485100"/>
                </a:lnTo>
                <a:lnTo>
                  <a:pt x="828446" y="1485100"/>
                </a:lnTo>
                <a:close/>
                <a:moveTo>
                  <a:pt x="1238555" y="1206665"/>
                </a:moveTo>
                <a:lnTo>
                  <a:pt x="1238555" y="1238898"/>
                </a:lnTo>
                <a:lnTo>
                  <a:pt x="1206322" y="1238898"/>
                </a:lnTo>
                <a:lnTo>
                  <a:pt x="1206322" y="1271130"/>
                </a:lnTo>
                <a:lnTo>
                  <a:pt x="1238555" y="1271130"/>
                </a:lnTo>
                <a:lnTo>
                  <a:pt x="1238555" y="1303363"/>
                </a:lnTo>
                <a:lnTo>
                  <a:pt x="1270787" y="1303363"/>
                </a:lnTo>
                <a:lnTo>
                  <a:pt x="1270787" y="1271130"/>
                </a:lnTo>
                <a:lnTo>
                  <a:pt x="1303020" y="1271130"/>
                </a:lnTo>
                <a:lnTo>
                  <a:pt x="1303020" y="1238898"/>
                </a:lnTo>
                <a:lnTo>
                  <a:pt x="1270787" y="1238898"/>
                </a:lnTo>
                <a:lnTo>
                  <a:pt x="1270787" y="1206665"/>
                </a:lnTo>
                <a:lnTo>
                  <a:pt x="1238555" y="1206665"/>
                </a:lnTo>
                <a:close/>
                <a:moveTo>
                  <a:pt x="1307135" y="1343825"/>
                </a:moveTo>
                <a:lnTo>
                  <a:pt x="1307135" y="1376058"/>
                </a:lnTo>
                <a:lnTo>
                  <a:pt x="1274902" y="1376058"/>
                </a:lnTo>
                <a:lnTo>
                  <a:pt x="1274902" y="1408290"/>
                </a:lnTo>
                <a:lnTo>
                  <a:pt x="1307135" y="1408290"/>
                </a:lnTo>
                <a:lnTo>
                  <a:pt x="1307135" y="1440523"/>
                </a:lnTo>
                <a:lnTo>
                  <a:pt x="1339367" y="1440523"/>
                </a:lnTo>
                <a:lnTo>
                  <a:pt x="1339367" y="1408290"/>
                </a:lnTo>
                <a:lnTo>
                  <a:pt x="1371600" y="1408290"/>
                </a:lnTo>
                <a:lnTo>
                  <a:pt x="1371600" y="1376058"/>
                </a:lnTo>
                <a:lnTo>
                  <a:pt x="1339367" y="1376058"/>
                </a:lnTo>
                <a:lnTo>
                  <a:pt x="1339367" y="1343825"/>
                </a:lnTo>
                <a:lnTo>
                  <a:pt x="1307135" y="1343825"/>
                </a:lnTo>
                <a:close/>
                <a:moveTo>
                  <a:pt x="1101395" y="1480985"/>
                </a:moveTo>
                <a:lnTo>
                  <a:pt x="1101395" y="1513218"/>
                </a:lnTo>
                <a:lnTo>
                  <a:pt x="1069162" y="1513218"/>
                </a:lnTo>
                <a:lnTo>
                  <a:pt x="1069162" y="1545450"/>
                </a:lnTo>
                <a:lnTo>
                  <a:pt x="1101395" y="1545450"/>
                </a:lnTo>
                <a:lnTo>
                  <a:pt x="1101395" y="1577683"/>
                </a:lnTo>
                <a:lnTo>
                  <a:pt x="1133627" y="1577683"/>
                </a:lnTo>
                <a:lnTo>
                  <a:pt x="1133627" y="1545450"/>
                </a:lnTo>
                <a:lnTo>
                  <a:pt x="1165860" y="1545450"/>
                </a:lnTo>
                <a:lnTo>
                  <a:pt x="1165860" y="1513218"/>
                </a:lnTo>
                <a:lnTo>
                  <a:pt x="1133627" y="1513218"/>
                </a:lnTo>
                <a:lnTo>
                  <a:pt x="1133627" y="1480985"/>
                </a:lnTo>
                <a:lnTo>
                  <a:pt x="1101395" y="1480985"/>
                </a:lnTo>
                <a:close/>
                <a:moveTo>
                  <a:pt x="759866" y="1622603"/>
                </a:moveTo>
                <a:lnTo>
                  <a:pt x="759866" y="1651749"/>
                </a:lnTo>
                <a:lnTo>
                  <a:pt x="730720" y="1651749"/>
                </a:lnTo>
                <a:lnTo>
                  <a:pt x="730720" y="1681239"/>
                </a:lnTo>
                <a:lnTo>
                  <a:pt x="759866" y="1681239"/>
                </a:lnTo>
                <a:lnTo>
                  <a:pt x="759866" y="1710385"/>
                </a:lnTo>
                <a:lnTo>
                  <a:pt x="789356" y="1710385"/>
                </a:lnTo>
                <a:lnTo>
                  <a:pt x="789356" y="1681239"/>
                </a:lnTo>
                <a:lnTo>
                  <a:pt x="818502" y="1681239"/>
                </a:lnTo>
                <a:lnTo>
                  <a:pt x="818502" y="1651749"/>
                </a:lnTo>
                <a:lnTo>
                  <a:pt x="789356" y="1651749"/>
                </a:lnTo>
                <a:lnTo>
                  <a:pt x="789356" y="1622603"/>
                </a:lnTo>
                <a:lnTo>
                  <a:pt x="759866" y="1622603"/>
                </a:lnTo>
                <a:close/>
                <a:moveTo>
                  <a:pt x="1545107" y="2674963"/>
                </a:moveTo>
                <a:lnTo>
                  <a:pt x="1545107" y="2642730"/>
                </a:lnTo>
                <a:lnTo>
                  <a:pt x="1577340" y="2642730"/>
                </a:lnTo>
                <a:lnTo>
                  <a:pt x="1577340" y="2610498"/>
                </a:lnTo>
                <a:lnTo>
                  <a:pt x="1545107" y="2610498"/>
                </a:lnTo>
                <a:lnTo>
                  <a:pt x="1545107" y="2578265"/>
                </a:lnTo>
                <a:lnTo>
                  <a:pt x="1512875" y="2578265"/>
                </a:lnTo>
                <a:lnTo>
                  <a:pt x="1512875" y="2610498"/>
                </a:lnTo>
                <a:lnTo>
                  <a:pt x="1480642" y="2610498"/>
                </a:lnTo>
                <a:lnTo>
                  <a:pt x="1480642" y="2642730"/>
                </a:lnTo>
                <a:lnTo>
                  <a:pt x="1512875" y="2642730"/>
                </a:lnTo>
                <a:lnTo>
                  <a:pt x="1512875" y="2674963"/>
                </a:lnTo>
                <a:lnTo>
                  <a:pt x="1545107" y="2674963"/>
                </a:lnTo>
                <a:close/>
                <a:moveTo>
                  <a:pt x="2679764" y="1072248"/>
                </a:moveTo>
                <a:lnTo>
                  <a:pt x="2679764" y="1102766"/>
                </a:lnTo>
                <a:lnTo>
                  <a:pt x="2649245" y="1102766"/>
                </a:lnTo>
                <a:lnTo>
                  <a:pt x="2649245" y="1132942"/>
                </a:lnTo>
                <a:lnTo>
                  <a:pt x="2679764" y="1132942"/>
                </a:lnTo>
                <a:lnTo>
                  <a:pt x="2679764" y="1163460"/>
                </a:lnTo>
                <a:lnTo>
                  <a:pt x="2709939" y="1163460"/>
                </a:lnTo>
                <a:lnTo>
                  <a:pt x="2709939" y="1132942"/>
                </a:lnTo>
                <a:lnTo>
                  <a:pt x="2740457" y="1132942"/>
                </a:lnTo>
                <a:lnTo>
                  <a:pt x="2740457" y="1102766"/>
                </a:lnTo>
                <a:lnTo>
                  <a:pt x="2709939" y="1102766"/>
                </a:lnTo>
                <a:lnTo>
                  <a:pt x="2709939" y="1072248"/>
                </a:lnTo>
                <a:lnTo>
                  <a:pt x="2679764" y="1072248"/>
                </a:lnTo>
                <a:close/>
                <a:moveTo>
                  <a:pt x="2748001" y="1208380"/>
                </a:moveTo>
                <a:lnTo>
                  <a:pt x="2748001" y="1239584"/>
                </a:lnTo>
                <a:lnTo>
                  <a:pt x="2716797" y="1239584"/>
                </a:lnTo>
                <a:lnTo>
                  <a:pt x="2716797" y="1270445"/>
                </a:lnTo>
                <a:lnTo>
                  <a:pt x="2748001" y="1270445"/>
                </a:lnTo>
                <a:lnTo>
                  <a:pt x="2748001" y="1301648"/>
                </a:lnTo>
                <a:lnTo>
                  <a:pt x="2778862" y="1301648"/>
                </a:lnTo>
                <a:lnTo>
                  <a:pt x="2778862" y="1270445"/>
                </a:lnTo>
                <a:lnTo>
                  <a:pt x="2810066" y="1270445"/>
                </a:lnTo>
                <a:lnTo>
                  <a:pt x="2810066" y="1239584"/>
                </a:lnTo>
                <a:lnTo>
                  <a:pt x="2778862" y="1239584"/>
                </a:lnTo>
                <a:lnTo>
                  <a:pt x="2778862" y="1208380"/>
                </a:lnTo>
                <a:lnTo>
                  <a:pt x="2748001" y="1208380"/>
                </a:lnTo>
                <a:close/>
                <a:moveTo>
                  <a:pt x="2611526" y="936803"/>
                </a:moveTo>
                <a:lnTo>
                  <a:pt x="2611526" y="965949"/>
                </a:lnTo>
                <a:lnTo>
                  <a:pt x="2582380" y="965949"/>
                </a:lnTo>
                <a:lnTo>
                  <a:pt x="2582380" y="995439"/>
                </a:lnTo>
                <a:lnTo>
                  <a:pt x="2611526" y="995439"/>
                </a:lnTo>
                <a:lnTo>
                  <a:pt x="2611526" y="1024585"/>
                </a:lnTo>
                <a:lnTo>
                  <a:pt x="2641016" y="1024585"/>
                </a:lnTo>
                <a:lnTo>
                  <a:pt x="2641016" y="995439"/>
                </a:lnTo>
                <a:lnTo>
                  <a:pt x="2670163" y="995439"/>
                </a:lnTo>
                <a:lnTo>
                  <a:pt x="2670163" y="965949"/>
                </a:lnTo>
                <a:lnTo>
                  <a:pt x="2641016" y="965949"/>
                </a:lnTo>
                <a:lnTo>
                  <a:pt x="2641016" y="936803"/>
                </a:lnTo>
                <a:lnTo>
                  <a:pt x="2611526" y="936803"/>
                </a:lnTo>
                <a:close/>
                <a:moveTo>
                  <a:pt x="2473681" y="934745"/>
                </a:moveTo>
                <a:lnTo>
                  <a:pt x="2473681" y="965264"/>
                </a:lnTo>
                <a:lnTo>
                  <a:pt x="2443163" y="965264"/>
                </a:lnTo>
                <a:lnTo>
                  <a:pt x="2443163" y="996125"/>
                </a:lnTo>
                <a:lnTo>
                  <a:pt x="2473681" y="996125"/>
                </a:lnTo>
                <a:lnTo>
                  <a:pt x="2473681" y="1026643"/>
                </a:lnTo>
                <a:lnTo>
                  <a:pt x="2504542" y="1026643"/>
                </a:lnTo>
                <a:lnTo>
                  <a:pt x="2504542" y="996125"/>
                </a:lnTo>
                <a:lnTo>
                  <a:pt x="2535060" y="996125"/>
                </a:lnTo>
                <a:lnTo>
                  <a:pt x="2535060" y="965264"/>
                </a:lnTo>
                <a:lnTo>
                  <a:pt x="2504542" y="965264"/>
                </a:lnTo>
                <a:lnTo>
                  <a:pt x="2504542" y="934745"/>
                </a:lnTo>
                <a:lnTo>
                  <a:pt x="2473681" y="934745"/>
                </a:lnTo>
                <a:close/>
                <a:moveTo>
                  <a:pt x="2404415" y="1069505"/>
                </a:moveTo>
                <a:lnTo>
                  <a:pt x="2404415" y="1101738"/>
                </a:lnTo>
                <a:lnTo>
                  <a:pt x="2372182" y="1101738"/>
                </a:lnTo>
                <a:lnTo>
                  <a:pt x="2372182" y="1133970"/>
                </a:lnTo>
                <a:lnTo>
                  <a:pt x="2404415" y="1133970"/>
                </a:lnTo>
                <a:lnTo>
                  <a:pt x="2404415" y="1166203"/>
                </a:lnTo>
                <a:lnTo>
                  <a:pt x="2436647" y="1166203"/>
                </a:lnTo>
                <a:lnTo>
                  <a:pt x="2436647" y="1133970"/>
                </a:lnTo>
                <a:lnTo>
                  <a:pt x="2468880" y="1133970"/>
                </a:lnTo>
                <a:lnTo>
                  <a:pt x="2468880" y="1101738"/>
                </a:lnTo>
                <a:lnTo>
                  <a:pt x="2436647" y="1101738"/>
                </a:lnTo>
                <a:lnTo>
                  <a:pt x="2436647" y="1069505"/>
                </a:lnTo>
                <a:lnTo>
                  <a:pt x="2404415" y="1069505"/>
                </a:lnTo>
                <a:close/>
                <a:moveTo>
                  <a:pt x="2541918" y="1070534"/>
                </a:moveTo>
                <a:lnTo>
                  <a:pt x="2541918" y="1102081"/>
                </a:lnTo>
                <a:lnTo>
                  <a:pt x="2510371" y="1102081"/>
                </a:lnTo>
                <a:lnTo>
                  <a:pt x="2510371" y="1133627"/>
                </a:lnTo>
                <a:lnTo>
                  <a:pt x="2541918" y="1133627"/>
                </a:lnTo>
                <a:lnTo>
                  <a:pt x="2541918" y="1165174"/>
                </a:lnTo>
                <a:lnTo>
                  <a:pt x="2573465" y="1165174"/>
                </a:lnTo>
                <a:lnTo>
                  <a:pt x="2573465" y="1133627"/>
                </a:lnTo>
                <a:lnTo>
                  <a:pt x="2605012" y="1133627"/>
                </a:lnTo>
                <a:lnTo>
                  <a:pt x="2605012" y="1102081"/>
                </a:lnTo>
                <a:lnTo>
                  <a:pt x="2573465" y="1102081"/>
                </a:lnTo>
                <a:lnTo>
                  <a:pt x="2573465" y="1070534"/>
                </a:lnTo>
                <a:lnTo>
                  <a:pt x="2541918" y="1070534"/>
                </a:lnTo>
                <a:close/>
                <a:moveTo>
                  <a:pt x="2954426" y="1347597"/>
                </a:moveTo>
                <a:lnTo>
                  <a:pt x="2954426" y="1377429"/>
                </a:lnTo>
                <a:lnTo>
                  <a:pt x="2924594" y="1377429"/>
                </a:lnTo>
                <a:lnTo>
                  <a:pt x="2924594" y="1406919"/>
                </a:lnTo>
                <a:lnTo>
                  <a:pt x="2954426" y="1406919"/>
                </a:lnTo>
                <a:lnTo>
                  <a:pt x="2954426" y="1436751"/>
                </a:lnTo>
                <a:lnTo>
                  <a:pt x="2983916" y="1436751"/>
                </a:lnTo>
                <a:lnTo>
                  <a:pt x="2983916" y="1406919"/>
                </a:lnTo>
                <a:lnTo>
                  <a:pt x="3013748" y="1406919"/>
                </a:lnTo>
                <a:lnTo>
                  <a:pt x="3013748" y="1377429"/>
                </a:lnTo>
                <a:lnTo>
                  <a:pt x="2983916" y="1377429"/>
                </a:lnTo>
                <a:lnTo>
                  <a:pt x="2983916" y="1347597"/>
                </a:lnTo>
                <a:lnTo>
                  <a:pt x="2954426" y="1347597"/>
                </a:lnTo>
                <a:close/>
                <a:moveTo>
                  <a:pt x="3023006" y="1485100"/>
                </a:moveTo>
                <a:lnTo>
                  <a:pt x="3023006" y="1514589"/>
                </a:lnTo>
                <a:lnTo>
                  <a:pt x="2993517" y="1514589"/>
                </a:lnTo>
                <a:lnTo>
                  <a:pt x="2993517" y="1544079"/>
                </a:lnTo>
                <a:lnTo>
                  <a:pt x="3023006" y="1544079"/>
                </a:lnTo>
                <a:lnTo>
                  <a:pt x="3023006" y="1573568"/>
                </a:lnTo>
                <a:lnTo>
                  <a:pt x="3052496" y="1573568"/>
                </a:lnTo>
                <a:lnTo>
                  <a:pt x="3052496" y="1544079"/>
                </a:lnTo>
                <a:lnTo>
                  <a:pt x="3081985" y="1544079"/>
                </a:lnTo>
                <a:lnTo>
                  <a:pt x="3081985" y="1514589"/>
                </a:lnTo>
                <a:lnTo>
                  <a:pt x="3052496" y="1514589"/>
                </a:lnTo>
                <a:lnTo>
                  <a:pt x="3052496" y="1485100"/>
                </a:lnTo>
                <a:lnTo>
                  <a:pt x="3023006" y="1485100"/>
                </a:lnTo>
                <a:close/>
                <a:moveTo>
                  <a:pt x="2817610" y="1074649"/>
                </a:moveTo>
                <a:lnTo>
                  <a:pt x="2817610" y="1103452"/>
                </a:lnTo>
                <a:lnTo>
                  <a:pt x="2788806" y="1103452"/>
                </a:lnTo>
                <a:lnTo>
                  <a:pt x="2788806" y="1132256"/>
                </a:lnTo>
                <a:lnTo>
                  <a:pt x="2817610" y="1132256"/>
                </a:lnTo>
                <a:lnTo>
                  <a:pt x="2817610" y="1161059"/>
                </a:lnTo>
                <a:lnTo>
                  <a:pt x="2846413" y="1161059"/>
                </a:lnTo>
                <a:lnTo>
                  <a:pt x="2846413" y="1132256"/>
                </a:lnTo>
                <a:lnTo>
                  <a:pt x="2875217" y="1132256"/>
                </a:lnTo>
                <a:lnTo>
                  <a:pt x="2875217" y="1103452"/>
                </a:lnTo>
                <a:lnTo>
                  <a:pt x="2846413" y="1103452"/>
                </a:lnTo>
                <a:lnTo>
                  <a:pt x="2846413" y="1074649"/>
                </a:lnTo>
                <a:lnTo>
                  <a:pt x="2817610" y="1074649"/>
                </a:lnTo>
                <a:close/>
                <a:moveTo>
                  <a:pt x="2885846" y="1211123"/>
                </a:moveTo>
                <a:lnTo>
                  <a:pt x="2885846" y="1240269"/>
                </a:lnTo>
                <a:lnTo>
                  <a:pt x="2856700" y="1240269"/>
                </a:lnTo>
                <a:lnTo>
                  <a:pt x="2856700" y="1269759"/>
                </a:lnTo>
                <a:lnTo>
                  <a:pt x="2885846" y="1269759"/>
                </a:lnTo>
                <a:lnTo>
                  <a:pt x="2885846" y="1298905"/>
                </a:lnTo>
                <a:lnTo>
                  <a:pt x="2915336" y="1298905"/>
                </a:lnTo>
                <a:lnTo>
                  <a:pt x="2915336" y="1269759"/>
                </a:lnTo>
                <a:lnTo>
                  <a:pt x="2944483" y="1269759"/>
                </a:lnTo>
                <a:lnTo>
                  <a:pt x="2944483" y="1240269"/>
                </a:lnTo>
                <a:lnTo>
                  <a:pt x="2915336" y="1240269"/>
                </a:lnTo>
                <a:lnTo>
                  <a:pt x="2915336" y="1211123"/>
                </a:lnTo>
                <a:lnTo>
                  <a:pt x="2885846" y="1211123"/>
                </a:lnTo>
                <a:close/>
                <a:moveTo>
                  <a:pt x="1856461" y="797585"/>
                </a:moveTo>
                <a:lnTo>
                  <a:pt x="1856461" y="828104"/>
                </a:lnTo>
                <a:lnTo>
                  <a:pt x="1825942" y="828104"/>
                </a:lnTo>
                <a:lnTo>
                  <a:pt x="1825942" y="858965"/>
                </a:lnTo>
                <a:lnTo>
                  <a:pt x="1856461" y="858965"/>
                </a:lnTo>
                <a:lnTo>
                  <a:pt x="1856461" y="889483"/>
                </a:lnTo>
                <a:lnTo>
                  <a:pt x="1887322" y="889483"/>
                </a:lnTo>
                <a:lnTo>
                  <a:pt x="1887322" y="858965"/>
                </a:lnTo>
                <a:lnTo>
                  <a:pt x="1917840" y="858965"/>
                </a:lnTo>
                <a:lnTo>
                  <a:pt x="1917840" y="828104"/>
                </a:lnTo>
                <a:lnTo>
                  <a:pt x="1887322" y="828104"/>
                </a:lnTo>
                <a:lnTo>
                  <a:pt x="1887322" y="797585"/>
                </a:lnTo>
                <a:lnTo>
                  <a:pt x="1856461" y="797585"/>
                </a:lnTo>
                <a:close/>
                <a:moveTo>
                  <a:pt x="1993621" y="797585"/>
                </a:moveTo>
                <a:lnTo>
                  <a:pt x="1993621" y="828104"/>
                </a:lnTo>
                <a:lnTo>
                  <a:pt x="1963102" y="828104"/>
                </a:lnTo>
                <a:lnTo>
                  <a:pt x="1963102" y="858965"/>
                </a:lnTo>
                <a:lnTo>
                  <a:pt x="1993621" y="858965"/>
                </a:lnTo>
                <a:lnTo>
                  <a:pt x="1993621" y="889483"/>
                </a:lnTo>
                <a:lnTo>
                  <a:pt x="2024482" y="889483"/>
                </a:lnTo>
                <a:lnTo>
                  <a:pt x="2024482" y="858965"/>
                </a:lnTo>
                <a:lnTo>
                  <a:pt x="2055000" y="858965"/>
                </a:lnTo>
                <a:lnTo>
                  <a:pt x="2055000" y="828104"/>
                </a:lnTo>
                <a:lnTo>
                  <a:pt x="2024482" y="828104"/>
                </a:lnTo>
                <a:lnTo>
                  <a:pt x="2024482" y="797585"/>
                </a:lnTo>
                <a:lnTo>
                  <a:pt x="1993621" y="797585"/>
                </a:lnTo>
                <a:close/>
                <a:moveTo>
                  <a:pt x="1924355" y="932345"/>
                </a:moveTo>
                <a:lnTo>
                  <a:pt x="1924355" y="964578"/>
                </a:lnTo>
                <a:lnTo>
                  <a:pt x="1892122" y="964578"/>
                </a:lnTo>
                <a:lnTo>
                  <a:pt x="1892122" y="996810"/>
                </a:lnTo>
                <a:lnTo>
                  <a:pt x="1924355" y="996810"/>
                </a:lnTo>
                <a:lnTo>
                  <a:pt x="1924355" y="1029043"/>
                </a:lnTo>
                <a:lnTo>
                  <a:pt x="1956587" y="1029043"/>
                </a:lnTo>
                <a:lnTo>
                  <a:pt x="1956587" y="996810"/>
                </a:lnTo>
                <a:lnTo>
                  <a:pt x="1988820" y="996810"/>
                </a:lnTo>
                <a:lnTo>
                  <a:pt x="1988820" y="964578"/>
                </a:lnTo>
                <a:lnTo>
                  <a:pt x="1956587" y="964578"/>
                </a:lnTo>
                <a:lnTo>
                  <a:pt x="1956587" y="932345"/>
                </a:lnTo>
                <a:lnTo>
                  <a:pt x="1924355" y="932345"/>
                </a:lnTo>
                <a:close/>
                <a:moveTo>
                  <a:pt x="2336178" y="933717"/>
                </a:moveTo>
                <a:lnTo>
                  <a:pt x="2336178" y="964921"/>
                </a:lnTo>
                <a:lnTo>
                  <a:pt x="2304974" y="964921"/>
                </a:lnTo>
                <a:lnTo>
                  <a:pt x="2304974" y="996467"/>
                </a:lnTo>
                <a:lnTo>
                  <a:pt x="2336178" y="996467"/>
                </a:lnTo>
                <a:lnTo>
                  <a:pt x="2336178" y="1027671"/>
                </a:lnTo>
                <a:lnTo>
                  <a:pt x="2367725" y="1027671"/>
                </a:lnTo>
                <a:lnTo>
                  <a:pt x="2367725" y="996467"/>
                </a:lnTo>
                <a:lnTo>
                  <a:pt x="2398928" y="996467"/>
                </a:lnTo>
                <a:lnTo>
                  <a:pt x="2398928" y="964921"/>
                </a:lnTo>
                <a:lnTo>
                  <a:pt x="2367725" y="964921"/>
                </a:lnTo>
                <a:lnTo>
                  <a:pt x="2367725" y="933717"/>
                </a:lnTo>
                <a:lnTo>
                  <a:pt x="2336178" y="933717"/>
                </a:lnTo>
                <a:close/>
                <a:moveTo>
                  <a:pt x="1787195" y="932345"/>
                </a:moveTo>
                <a:lnTo>
                  <a:pt x="1787195" y="964578"/>
                </a:lnTo>
                <a:lnTo>
                  <a:pt x="1754962" y="964578"/>
                </a:lnTo>
                <a:lnTo>
                  <a:pt x="1754962" y="996810"/>
                </a:lnTo>
                <a:lnTo>
                  <a:pt x="1787195" y="996810"/>
                </a:lnTo>
                <a:lnTo>
                  <a:pt x="1787195" y="1029043"/>
                </a:lnTo>
                <a:lnTo>
                  <a:pt x="1819427" y="1029043"/>
                </a:lnTo>
                <a:lnTo>
                  <a:pt x="1819427" y="996810"/>
                </a:lnTo>
                <a:lnTo>
                  <a:pt x="1851660" y="996810"/>
                </a:lnTo>
                <a:lnTo>
                  <a:pt x="1851660" y="964578"/>
                </a:lnTo>
                <a:lnTo>
                  <a:pt x="1819427" y="964578"/>
                </a:lnTo>
                <a:lnTo>
                  <a:pt x="1819427" y="932345"/>
                </a:lnTo>
                <a:lnTo>
                  <a:pt x="1787195" y="932345"/>
                </a:lnTo>
                <a:close/>
                <a:moveTo>
                  <a:pt x="3092615" y="1350683"/>
                </a:moveTo>
                <a:lnTo>
                  <a:pt x="3092615" y="1378458"/>
                </a:lnTo>
                <a:lnTo>
                  <a:pt x="3064840" y="1378458"/>
                </a:lnTo>
                <a:lnTo>
                  <a:pt x="3064840" y="1405890"/>
                </a:lnTo>
                <a:lnTo>
                  <a:pt x="3092615" y="1405890"/>
                </a:lnTo>
                <a:lnTo>
                  <a:pt x="3092615" y="1433665"/>
                </a:lnTo>
                <a:lnTo>
                  <a:pt x="3120047" y="1433665"/>
                </a:lnTo>
                <a:lnTo>
                  <a:pt x="3120047" y="1405890"/>
                </a:lnTo>
                <a:lnTo>
                  <a:pt x="3147822" y="1405890"/>
                </a:lnTo>
                <a:lnTo>
                  <a:pt x="3147822" y="1378458"/>
                </a:lnTo>
                <a:lnTo>
                  <a:pt x="3120047" y="1378458"/>
                </a:lnTo>
                <a:lnTo>
                  <a:pt x="3120047" y="1350683"/>
                </a:lnTo>
                <a:lnTo>
                  <a:pt x="3092615" y="1350683"/>
                </a:lnTo>
                <a:close/>
                <a:moveTo>
                  <a:pt x="2061515" y="932345"/>
                </a:moveTo>
                <a:lnTo>
                  <a:pt x="2061515" y="964578"/>
                </a:lnTo>
                <a:lnTo>
                  <a:pt x="2029282" y="964578"/>
                </a:lnTo>
                <a:lnTo>
                  <a:pt x="2029282" y="996810"/>
                </a:lnTo>
                <a:lnTo>
                  <a:pt x="2061515" y="996810"/>
                </a:lnTo>
                <a:lnTo>
                  <a:pt x="2061515" y="1029043"/>
                </a:lnTo>
                <a:lnTo>
                  <a:pt x="2093747" y="1029043"/>
                </a:lnTo>
                <a:lnTo>
                  <a:pt x="2093747" y="996810"/>
                </a:lnTo>
                <a:lnTo>
                  <a:pt x="2125980" y="996810"/>
                </a:lnTo>
                <a:lnTo>
                  <a:pt x="2125980" y="964578"/>
                </a:lnTo>
                <a:lnTo>
                  <a:pt x="2093747" y="964578"/>
                </a:lnTo>
                <a:lnTo>
                  <a:pt x="2093747" y="932345"/>
                </a:lnTo>
                <a:lnTo>
                  <a:pt x="2061515" y="932345"/>
                </a:lnTo>
                <a:close/>
                <a:moveTo>
                  <a:pt x="2268284" y="798614"/>
                </a:moveTo>
                <a:lnTo>
                  <a:pt x="2268284" y="828446"/>
                </a:lnTo>
                <a:lnTo>
                  <a:pt x="2238451" y="828446"/>
                </a:lnTo>
                <a:lnTo>
                  <a:pt x="2238451" y="858622"/>
                </a:lnTo>
                <a:lnTo>
                  <a:pt x="2268284" y="858622"/>
                </a:lnTo>
                <a:lnTo>
                  <a:pt x="2268284" y="888454"/>
                </a:lnTo>
                <a:lnTo>
                  <a:pt x="2298459" y="888454"/>
                </a:lnTo>
                <a:lnTo>
                  <a:pt x="2298459" y="858622"/>
                </a:lnTo>
                <a:lnTo>
                  <a:pt x="2328291" y="858622"/>
                </a:lnTo>
                <a:lnTo>
                  <a:pt x="2328291" y="828446"/>
                </a:lnTo>
                <a:lnTo>
                  <a:pt x="2298459" y="828446"/>
                </a:lnTo>
                <a:lnTo>
                  <a:pt x="2298459" y="798614"/>
                </a:lnTo>
                <a:lnTo>
                  <a:pt x="2268284" y="798614"/>
                </a:lnTo>
                <a:close/>
                <a:moveTo>
                  <a:pt x="2198675" y="932688"/>
                </a:moveTo>
                <a:lnTo>
                  <a:pt x="2198675" y="964578"/>
                </a:lnTo>
                <a:lnTo>
                  <a:pt x="2166785" y="964578"/>
                </a:lnTo>
                <a:lnTo>
                  <a:pt x="2166785" y="996810"/>
                </a:lnTo>
                <a:lnTo>
                  <a:pt x="2198675" y="996810"/>
                </a:lnTo>
                <a:lnTo>
                  <a:pt x="2198675" y="1028700"/>
                </a:lnTo>
                <a:lnTo>
                  <a:pt x="2230907" y="1028700"/>
                </a:lnTo>
                <a:lnTo>
                  <a:pt x="2230907" y="996810"/>
                </a:lnTo>
                <a:lnTo>
                  <a:pt x="2262797" y="996810"/>
                </a:lnTo>
                <a:lnTo>
                  <a:pt x="2262797" y="964578"/>
                </a:lnTo>
                <a:lnTo>
                  <a:pt x="2230907" y="964578"/>
                </a:lnTo>
                <a:lnTo>
                  <a:pt x="2230907" y="932688"/>
                </a:lnTo>
                <a:lnTo>
                  <a:pt x="2198675" y="932688"/>
                </a:lnTo>
                <a:close/>
                <a:moveTo>
                  <a:pt x="2131124" y="797928"/>
                </a:moveTo>
                <a:lnTo>
                  <a:pt x="2131124" y="828446"/>
                </a:lnTo>
                <a:lnTo>
                  <a:pt x="2100605" y="828446"/>
                </a:lnTo>
                <a:lnTo>
                  <a:pt x="2100605" y="858622"/>
                </a:lnTo>
                <a:lnTo>
                  <a:pt x="2131124" y="858622"/>
                </a:lnTo>
                <a:lnTo>
                  <a:pt x="2131124" y="889140"/>
                </a:lnTo>
                <a:lnTo>
                  <a:pt x="2161299" y="889140"/>
                </a:lnTo>
                <a:lnTo>
                  <a:pt x="2161299" y="858622"/>
                </a:lnTo>
                <a:lnTo>
                  <a:pt x="2191817" y="858622"/>
                </a:lnTo>
                <a:lnTo>
                  <a:pt x="2191817" y="828446"/>
                </a:lnTo>
                <a:lnTo>
                  <a:pt x="2161299" y="828446"/>
                </a:lnTo>
                <a:lnTo>
                  <a:pt x="2161299" y="797928"/>
                </a:lnTo>
                <a:lnTo>
                  <a:pt x="2131124" y="797928"/>
                </a:lnTo>
                <a:close/>
                <a:moveTo>
                  <a:pt x="2847785" y="2536431"/>
                </a:moveTo>
                <a:lnTo>
                  <a:pt x="2847785" y="2505227"/>
                </a:lnTo>
                <a:lnTo>
                  <a:pt x="2878988" y="2505227"/>
                </a:lnTo>
                <a:lnTo>
                  <a:pt x="2878988" y="2473681"/>
                </a:lnTo>
                <a:lnTo>
                  <a:pt x="2847785" y="2473681"/>
                </a:lnTo>
                <a:lnTo>
                  <a:pt x="2847785" y="2442477"/>
                </a:lnTo>
                <a:lnTo>
                  <a:pt x="2816238" y="2442477"/>
                </a:lnTo>
                <a:lnTo>
                  <a:pt x="2816238" y="2473681"/>
                </a:lnTo>
                <a:lnTo>
                  <a:pt x="2785034" y="2473681"/>
                </a:lnTo>
                <a:lnTo>
                  <a:pt x="2785034" y="2505227"/>
                </a:lnTo>
                <a:lnTo>
                  <a:pt x="2816238" y="2505227"/>
                </a:lnTo>
                <a:lnTo>
                  <a:pt x="2816238" y="2536431"/>
                </a:lnTo>
                <a:lnTo>
                  <a:pt x="2847785" y="2536431"/>
                </a:lnTo>
                <a:close/>
                <a:moveTo>
                  <a:pt x="2710967" y="2537803"/>
                </a:moveTo>
                <a:lnTo>
                  <a:pt x="2710967" y="2505570"/>
                </a:lnTo>
                <a:lnTo>
                  <a:pt x="2743200" y="2505570"/>
                </a:lnTo>
                <a:lnTo>
                  <a:pt x="2743200" y="2473338"/>
                </a:lnTo>
                <a:lnTo>
                  <a:pt x="2710967" y="2473338"/>
                </a:lnTo>
                <a:lnTo>
                  <a:pt x="2710967" y="2441105"/>
                </a:lnTo>
                <a:lnTo>
                  <a:pt x="2678735" y="2441105"/>
                </a:lnTo>
                <a:lnTo>
                  <a:pt x="2678735" y="2473338"/>
                </a:lnTo>
                <a:lnTo>
                  <a:pt x="2646502" y="2473338"/>
                </a:lnTo>
                <a:lnTo>
                  <a:pt x="2646502" y="2505570"/>
                </a:lnTo>
                <a:lnTo>
                  <a:pt x="2678735" y="2505570"/>
                </a:lnTo>
                <a:lnTo>
                  <a:pt x="2678735" y="2537803"/>
                </a:lnTo>
                <a:lnTo>
                  <a:pt x="2710967" y="2537803"/>
                </a:lnTo>
                <a:close/>
                <a:moveTo>
                  <a:pt x="2368067" y="2674963"/>
                </a:moveTo>
                <a:lnTo>
                  <a:pt x="2368067" y="2642730"/>
                </a:lnTo>
                <a:lnTo>
                  <a:pt x="2400300" y="2642730"/>
                </a:lnTo>
                <a:lnTo>
                  <a:pt x="2400300" y="2610498"/>
                </a:lnTo>
                <a:lnTo>
                  <a:pt x="2368067" y="2610498"/>
                </a:lnTo>
                <a:lnTo>
                  <a:pt x="2368067" y="2578265"/>
                </a:lnTo>
                <a:lnTo>
                  <a:pt x="2335835" y="2578265"/>
                </a:lnTo>
                <a:lnTo>
                  <a:pt x="2335835" y="2610498"/>
                </a:lnTo>
                <a:lnTo>
                  <a:pt x="2303602" y="2610498"/>
                </a:lnTo>
                <a:lnTo>
                  <a:pt x="2303602" y="2642730"/>
                </a:lnTo>
                <a:lnTo>
                  <a:pt x="2335835" y="2642730"/>
                </a:lnTo>
                <a:lnTo>
                  <a:pt x="2335835" y="2674963"/>
                </a:lnTo>
                <a:lnTo>
                  <a:pt x="2368067" y="2674963"/>
                </a:lnTo>
                <a:close/>
                <a:moveTo>
                  <a:pt x="2505227" y="2674963"/>
                </a:moveTo>
                <a:lnTo>
                  <a:pt x="2505227" y="2642730"/>
                </a:lnTo>
                <a:lnTo>
                  <a:pt x="2537460" y="2642730"/>
                </a:lnTo>
                <a:lnTo>
                  <a:pt x="2537460" y="2610498"/>
                </a:lnTo>
                <a:lnTo>
                  <a:pt x="2505227" y="2610498"/>
                </a:lnTo>
                <a:lnTo>
                  <a:pt x="2505227" y="2578265"/>
                </a:lnTo>
                <a:lnTo>
                  <a:pt x="2472995" y="2578265"/>
                </a:lnTo>
                <a:lnTo>
                  <a:pt x="2472995" y="2610498"/>
                </a:lnTo>
                <a:lnTo>
                  <a:pt x="2440762" y="2610498"/>
                </a:lnTo>
                <a:lnTo>
                  <a:pt x="2440762" y="2642730"/>
                </a:lnTo>
                <a:lnTo>
                  <a:pt x="2472995" y="2642730"/>
                </a:lnTo>
                <a:lnTo>
                  <a:pt x="2472995" y="2674963"/>
                </a:lnTo>
                <a:lnTo>
                  <a:pt x="2505227" y="2674963"/>
                </a:lnTo>
                <a:close/>
                <a:moveTo>
                  <a:pt x="2642387" y="2674963"/>
                </a:moveTo>
                <a:lnTo>
                  <a:pt x="2642387" y="2642730"/>
                </a:lnTo>
                <a:lnTo>
                  <a:pt x="2674620" y="2642730"/>
                </a:lnTo>
                <a:lnTo>
                  <a:pt x="2674620" y="2610498"/>
                </a:lnTo>
                <a:lnTo>
                  <a:pt x="2642387" y="2610498"/>
                </a:lnTo>
                <a:lnTo>
                  <a:pt x="2642387" y="2578265"/>
                </a:lnTo>
                <a:lnTo>
                  <a:pt x="2610155" y="2578265"/>
                </a:lnTo>
                <a:lnTo>
                  <a:pt x="2610155" y="2610498"/>
                </a:lnTo>
                <a:lnTo>
                  <a:pt x="2577922" y="2610498"/>
                </a:lnTo>
                <a:lnTo>
                  <a:pt x="2577922" y="2642730"/>
                </a:lnTo>
                <a:lnTo>
                  <a:pt x="2610155" y="2642730"/>
                </a:lnTo>
                <a:lnTo>
                  <a:pt x="2610155" y="2674963"/>
                </a:lnTo>
                <a:lnTo>
                  <a:pt x="2642387" y="2674963"/>
                </a:lnTo>
                <a:close/>
                <a:moveTo>
                  <a:pt x="2573807" y="2537803"/>
                </a:moveTo>
                <a:lnTo>
                  <a:pt x="2573807" y="2505570"/>
                </a:lnTo>
                <a:lnTo>
                  <a:pt x="2606040" y="2505570"/>
                </a:lnTo>
                <a:lnTo>
                  <a:pt x="2606040" y="2473338"/>
                </a:lnTo>
                <a:lnTo>
                  <a:pt x="2573807" y="2473338"/>
                </a:lnTo>
                <a:lnTo>
                  <a:pt x="2573807" y="2441105"/>
                </a:lnTo>
                <a:lnTo>
                  <a:pt x="2541575" y="2441105"/>
                </a:lnTo>
                <a:lnTo>
                  <a:pt x="2541575" y="2473338"/>
                </a:lnTo>
                <a:lnTo>
                  <a:pt x="2509342" y="2473338"/>
                </a:lnTo>
                <a:lnTo>
                  <a:pt x="2509342" y="2505570"/>
                </a:lnTo>
                <a:lnTo>
                  <a:pt x="2541575" y="2505570"/>
                </a:lnTo>
                <a:lnTo>
                  <a:pt x="2541575" y="2537803"/>
                </a:lnTo>
                <a:lnTo>
                  <a:pt x="2573807" y="2537803"/>
                </a:lnTo>
                <a:close/>
                <a:moveTo>
                  <a:pt x="2436647" y="2812123"/>
                </a:moveTo>
                <a:lnTo>
                  <a:pt x="2436647" y="2779890"/>
                </a:lnTo>
                <a:lnTo>
                  <a:pt x="2468880" y="2779890"/>
                </a:lnTo>
                <a:lnTo>
                  <a:pt x="2468880" y="2747658"/>
                </a:lnTo>
                <a:lnTo>
                  <a:pt x="2436647" y="2747658"/>
                </a:lnTo>
                <a:lnTo>
                  <a:pt x="2436647" y="2715425"/>
                </a:lnTo>
                <a:lnTo>
                  <a:pt x="2404415" y="2715425"/>
                </a:lnTo>
                <a:lnTo>
                  <a:pt x="2404415" y="2747658"/>
                </a:lnTo>
                <a:lnTo>
                  <a:pt x="2372182" y="2747658"/>
                </a:lnTo>
                <a:lnTo>
                  <a:pt x="2372182" y="2779890"/>
                </a:lnTo>
                <a:lnTo>
                  <a:pt x="2404415" y="2779890"/>
                </a:lnTo>
                <a:lnTo>
                  <a:pt x="2404415" y="2812123"/>
                </a:lnTo>
                <a:lnTo>
                  <a:pt x="2436647" y="2812123"/>
                </a:lnTo>
                <a:close/>
                <a:moveTo>
                  <a:pt x="2162327" y="2812123"/>
                </a:moveTo>
                <a:lnTo>
                  <a:pt x="2162327" y="2779890"/>
                </a:lnTo>
                <a:lnTo>
                  <a:pt x="2194560" y="2779890"/>
                </a:lnTo>
                <a:lnTo>
                  <a:pt x="2194560" y="2747658"/>
                </a:lnTo>
                <a:lnTo>
                  <a:pt x="2162327" y="2747658"/>
                </a:lnTo>
                <a:lnTo>
                  <a:pt x="2162327" y="2715425"/>
                </a:lnTo>
                <a:lnTo>
                  <a:pt x="2130095" y="2715425"/>
                </a:lnTo>
                <a:lnTo>
                  <a:pt x="2130095" y="2747658"/>
                </a:lnTo>
                <a:lnTo>
                  <a:pt x="2097862" y="2747658"/>
                </a:lnTo>
                <a:lnTo>
                  <a:pt x="2097862" y="2779890"/>
                </a:lnTo>
                <a:lnTo>
                  <a:pt x="2130095" y="2779890"/>
                </a:lnTo>
                <a:lnTo>
                  <a:pt x="2130095" y="2812123"/>
                </a:lnTo>
                <a:lnTo>
                  <a:pt x="2162327" y="2812123"/>
                </a:lnTo>
                <a:close/>
                <a:moveTo>
                  <a:pt x="3161195" y="1488186"/>
                </a:moveTo>
                <a:lnTo>
                  <a:pt x="3161195" y="1515618"/>
                </a:lnTo>
                <a:lnTo>
                  <a:pt x="3133763" y="1515618"/>
                </a:lnTo>
                <a:lnTo>
                  <a:pt x="3133763" y="1543050"/>
                </a:lnTo>
                <a:lnTo>
                  <a:pt x="3161195" y="1543050"/>
                </a:lnTo>
                <a:lnTo>
                  <a:pt x="3161195" y="1570482"/>
                </a:lnTo>
                <a:lnTo>
                  <a:pt x="3188627" y="1570482"/>
                </a:lnTo>
                <a:lnTo>
                  <a:pt x="3188627" y="1543050"/>
                </a:lnTo>
                <a:lnTo>
                  <a:pt x="3216059" y="1543050"/>
                </a:lnTo>
                <a:lnTo>
                  <a:pt x="3216059" y="1515618"/>
                </a:lnTo>
                <a:lnTo>
                  <a:pt x="3188627" y="1515618"/>
                </a:lnTo>
                <a:lnTo>
                  <a:pt x="3188627" y="1488186"/>
                </a:lnTo>
                <a:lnTo>
                  <a:pt x="3161195" y="1488186"/>
                </a:lnTo>
                <a:close/>
                <a:moveTo>
                  <a:pt x="2093747" y="2674963"/>
                </a:moveTo>
                <a:lnTo>
                  <a:pt x="2093747" y="2642730"/>
                </a:lnTo>
                <a:lnTo>
                  <a:pt x="2125980" y="2642730"/>
                </a:lnTo>
                <a:lnTo>
                  <a:pt x="2125980" y="2610498"/>
                </a:lnTo>
                <a:lnTo>
                  <a:pt x="2093747" y="2610498"/>
                </a:lnTo>
                <a:lnTo>
                  <a:pt x="2093747" y="2578265"/>
                </a:lnTo>
                <a:lnTo>
                  <a:pt x="2061515" y="2578265"/>
                </a:lnTo>
                <a:lnTo>
                  <a:pt x="2061515" y="2610498"/>
                </a:lnTo>
                <a:lnTo>
                  <a:pt x="2029282" y="2610498"/>
                </a:lnTo>
                <a:lnTo>
                  <a:pt x="2029282" y="2642730"/>
                </a:lnTo>
                <a:lnTo>
                  <a:pt x="2061515" y="2642730"/>
                </a:lnTo>
                <a:lnTo>
                  <a:pt x="2061515" y="2674963"/>
                </a:lnTo>
                <a:lnTo>
                  <a:pt x="2093747" y="2674963"/>
                </a:lnTo>
                <a:close/>
                <a:moveTo>
                  <a:pt x="2230907" y="2674963"/>
                </a:moveTo>
                <a:lnTo>
                  <a:pt x="2230907" y="2642730"/>
                </a:lnTo>
                <a:lnTo>
                  <a:pt x="2263140" y="2642730"/>
                </a:lnTo>
                <a:lnTo>
                  <a:pt x="2263140" y="2610498"/>
                </a:lnTo>
                <a:lnTo>
                  <a:pt x="2230907" y="2610498"/>
                </a:lnTo>
                <a:lnTo>
                  <a:pt x="2230907" y="2578265"/>
                </a:lnTo>
                <a:lnTo>
                  <a:pt x="2198675" y="2578265"/>
                </a:lnTo>
                <a:lnTo>
                  <a:pt x="2198675" y="2610498"/>
                </a:lnTo>
                <a:lnTo>
                  <a:pt x="2166442" y="2610498"/>
                </a:lnTo>
                <a:lnTo>
                  <a:pt x="2166442" y="2642730"/>
                </a:lnTo>
                <a:lnTo>
                  <a:pt x="2198675" y="2642730"/>
                </a:lnTo>
                <a:lnTo>
                  <a:pt x="2198675" y="2674963"/>
                </a:lnTo>
                <a:lnTo>
                  <a:pt x="2230907" y="2674963"/>
                </a:lnTo>
                <a:close/>
                <a:moveTo>
                  <a:pt x="2299487" y="2812123"/>
                </a:moveTo>
                <a:lnTo>
                  <a:pt x="2299487" y="2779890"/>
                </a:lnTo>
                <a:lnTo>
                  <a:pt x="2331720" y="2779890"/>
                </a:lnTo>
                <a:lnTo>
                  <a:pt x="2331720" y="2747658"/>
                </a:lnTo>
                <a:lnTo>
                  <a:pt x="2299487" y="2747658"/>
                </a:lnTo>
                <a:lnTo>
                  <a:pt x="2299487" y="2715425"/>
                </a:lnTo>
                <a:lnTo>
                  <a:pt x="2267255" y="2715425"/>
                </a:lnTo>
                <a:lnTo>
                  <a:pt x="2267255" y="2747658"/>
                </a:lnTo>
                <a:lnTo>
                  <a:pt x="2235022" y="2747658"/>
                </a:lnTo>
                <a:lnTo>
                  <a:pt x="2235022" y="2779890"/>
                </a:lnTo>
                <a:lnTo>
                  <a:pt x="2267255" y="2779890"/>
                </a:lnTo>
                <a:lnTo>
                  <a:pt x="2267255" y="2812123"/>
                </a:lnTo>
                <a:lnTo>
                  <a:pt x="2299487" y="2812123"/>
                </a:lnTo>
                <a:close/>
                <a:moveTo>
                  <a:pt x="3189313" y="2120837"/>
                </a:moveTo>
                <a:lnTo>
                  <a:pt x="3189313" y="2092376"/>
                </a:lnTo>
                <a:lnTo>
                  <a:pt x="3217774" y="2092376"/>
                </a:lnTo>
                <a:lnTo>
                  <a:pt x="3217774" y="2063572"/>
                </a:lnTo>
                <a:lnTo>
                  <a:pt x="3189313" y="2063572"/>
                </a:lnTo>
                <a:lnTo>
                  <a:pt x="3189313" y="2035112"/>
                </a:lnTo>
                <a:lnTo>
                  <a:pt x="3160510" y="2035112"/>
                </a:lnTo>
                <a:lnTo>
                  <a:pt x="3160510" y="2063572"/>
                </a:lnTo>
                <a:lnTo>
                  <a:pt x="3132049" y="2063572"/>
                </a:lnTo>
                <a:lnTo>
                  <a:pt x="3132049" y="2092376"/>
                </a:lnTo>
                <a:lnTo>
                  <a:pt x="3160510" y="2092376"/>
                </a:lnTo>
                <a:lnTo>
                  <a:pt x="3160510" y="2120837"/>
                </a:lnTo>
                <a:lnTo>
                  <a:pt x="3189313" y="2120837"/>
                </a:lnTo>
                <a:close/>
                <a:moveTo>
                  <a:pt x="3229775" y="1899666"/>
                </a:moveTo>
                <a:lnTo>
                  <a:pt x="3229775" y="1927098"/>
                </a:lnTo>
                <a:lnTo>
                  <a:pt x="3202343" y="1927098"/>
                </a:lnTo>
                <a:lnTo>
                  <a:pt x="3202343" y="1954530"/>
                </a:lnTo>
                <a:lnTo>
                  <a:pt x="3229775" y="1954530"/>
                </a:lnTo>
                <a:lnTo>
                  <a:pt x="3229775" y="1981962"/>
                </a:lnTo>
                <a:lnTo>
                  <a:pt x="3257207" y="1981962"/>
                </a:lnTo>
                <a:lnTo>
                  <a:pt x="3257207" y="1954530"/>
                </a:lnTo>
                <a:lnTo>
                  <a:pt x="3284639" y="1954530"/>
                </a:lnTo>
                <a:lnTo>
                  <a:pt x="3284639" y="1927098"/>
                </a:lnTo>
                <a:lnTo>
                  <a:pt x="3257207" y="1927098"/>
                </a:lnTo>
                <a:lnTo>
                  <a:pt x="3257207" y="1899666"/>
                </a:lnTo>
                <a:lnTo>
                  <a:pt x="3229775" y="1899666"/>
                </a:lnTo>
                <a:close/>
                <a:moveTo>
                  <a:pt x="3120733" y="2258682"/>
                </a:moveTo>
                <a:lnTo>
                  <a:pt x="3120733" y="2229536"/>
                </a:lnTo>
                <a:lnTo>
                  <a:pt x="3149879" y="2229536"/>
                </a:lnTo>
                <a:lnTo>
                  <a:pt x="3149879" y="2200732"/>
                </a:lnTo>
                <a:lnTo>
                  <a:pt x="3120733" y="2200732"/>
                </a:lnTo>
                <a:lnTo>
                  <a:pt x="3120733" y="2171586"/>
                </a:lnTo>
                <a:lnTo>
                  <a:pt x="3091930" y="2171586"/>
                </a:lnTo>
                <a:lnTo>
                  <a:pt x="3091930" y="2200732"/>
                </a:lnTo>
                <a:lnTo>
                  <a:pt x="3062783" y="2200732"/>
                </a:lnTo>
                <a:lnTo>
                  <a:pt x="3062783" y="2229536"/>
                </a:lnTo>
                <a:lnTo>
                  <a:pt x="3091930" y="2229536"/>
                </a:lnTo>
                <a:lnTo>
                  <a:pt x="3091930" y="2258682"/>
                </a:lnTo>
                <a:lnTo>
                  <a:pt x="3120733" y="2258682"/>
                </a:lnTo>
                <a:close/>
                <a:moveTo>
                  <a:pt x="3230118" y="1626375"/>
                </a:moveTo>
                <a:lnTo>
                  <a:pt x="3230118" y="1653121"/>
                </a:lnTo>
                <a:lnTo>
                  <a:pt x="3203372" y="1653121"/>
                </a:lnTo>
                <a:lnTo>
                  <a:pt x="3203372" y="1679867"/>
                </a:lnTo>
                <a:lnTo>
                  <a:pt x="3230118" y="1679867"/>
                </a:lnTo>
                <a:lnTo>
                  <a:pt x="3230118" y="1706613"/>
                </a:lnTo>
                <a:lnTo>
                  <a:pt x="3256864" y="1706613"/>
                </a:lnTo>
                <a:lnTo>
                  <a:pt x="3256864" y="1679867"/>
                </a:lnTo>
                <a:lnTo>
                  <a:pt x="3283610" y="1679867"/>
                </a:lnTo>
                <a:lnTo>
                  <a:pt x="3283610" y="1653121"/>
                </a:lnTo>
                <a:lnTo>
                  <a:pt x="3256864" y="1653121"/>
                </a:lnTo>
                <a:lnTo>
                  <a:pt x="3256864" y="1626375"/>
                </a:lnTo>
                <a:lnTo>
                  <a:pt x="3230118" y="1626375"/>
                </a:lnTo>
                <a:close/>
                <a:moveTo>
                  <a:pt x="2025167" y="2812123"/>
                </a:moveTo>
                <a:lnTo>
                  <a:pt x="2025167" y="2779890"/>
                </a:lnTo>
                <a:lnTo>
                  <a:pt x="2057400" y="2779890"/>
                </a:lnTo>
                <a:lnTo>
                  <a:pt x="2057400" y="2747658"/>
                </a:lnTo>
                <a:lnTo>
                  <a:pt x="2025167" y="2747658"/>
                </a:lnTo>
                <a:lnTo>
                  <a:pt x="2025167" y="2715425"/>
                </a:lnTo>
                <a:lnTo>
                  <a:pt x="1992935" y="2715425"/>
                </a:lnTo>
                <a:lnTo>
                  <a:pt x="1992935" y="2747658"/>
                </a:lnTo>
                <a:lnTo>
                  <a:pt x="1960702" y="2747658"/>
                </a:lnTo>
                <a:lnTo>
                  <a:pt x="1960702" y="2779890"/>
                </a:lnTo>
                <a:lnTo>
                  <a:pt x="1992935" y="2779890"/>
                </a:lnTo>
                <a:lnTo>
                  <a:pt x="1992935" y="2812123"/>
                </a:lnTo>
                <a:lnTo>
                  <a:pt x="2025167" y="2812123"/>
                </a:lnTo>
                <a:close/>
                <a:moveTo>
                  <a:pt x="2779547" y="2400643"/>
                </a:moveTo>
                <a:lnTo>
                  <a:pt x="2779547" y="2368410"/>
                </a:lnTo>
                <a:lnTo>
                  <a:pt x="2811780" y="2368410"/>
                </a:lnTo>
                <a:lnTo>
                  <a:pt x="2811780" y="2336178"/>
                </a:lnTo>
                <a:lnTo>
                  <a:pt x="2779547" y="2336178"/>
                </a:lnTo>
                <a:lnTo>
                  <a:pt x="2779547" y="2303945"/>
                </a:lnTo>
                <a:lnTo>
                  <a:pt x="2747315" y="2303945"/>
                </a:lnTo>
                <a:lnTo>
                  <a:pt x="2747315" y="2336178"/>
                </a:lnTo>
                <a:lnTo>
                  <a:pt x="2715082" y="2336178"/>
                </a:lnTo>
                <a:lnTo>
                  <a:pt x="2715082" y="2368410"/>
                </a:lnTo>
                <a:lnTo>
                  <a:pt x="2747315" y="2368410"/>
                </a:lnTo>
                <a:lnTo>
                  <a:pt x="2747315" y="2400643"/>
                </a:lnTo>
                <a:lnTo>
                  <a:pt x="2779547" y="2400643"/>
                </a:lnTo>
                <a:close/>
                <a:moveTo>
                  <a:pt x="2916365" y="2399271"/>
                </a:moveTo>
                <a:lnTo>
                  <a:pt x="2916365" y="2368067"/>
                </a:lnTo>
                <a:lnTo>
                  <a:pt x="2947568" y="2368067"/>
                </a:lnTo>
                <a:lnTo>
                  <a:pt x="2947568" y="2336521"/>
                </a:lnTo>
                <a:lnTo>
                  <a:pt x="2916365" y="2336521"/>
                </a:lnTo>
                <a:lnTo>
                  <a:pt x="2916365" y="2305317"/>
                </a:lnTo>
                <a:lnTo>
                  <a:pt x="2884818" y="2305317"/>
                </a:lnTo>
                <a:lnTo>
                  <a:pt x="2884818" y="2336521"/>
                </a:lnTo>
                <a:lnTo>
                  <a:pt x="2853614" y="2336521"/>
                </a:lnTo>
                <a:lnTo>
                  <a:pt x="2853614" y="2368067"/>
                </a:lnTo>
                <a:lnTo>
                  <a:pt x="2884818" y="2368067"/>
                </a:lnTo>
                <a:lnTo>
                  <a:pt x="2884818" y="2399271"/>
                </a:lnTo>
                <a:lnTo>
                  <a:pt x="2916365" y="2399271"/>
                </a:lnTo>
                <a:close/>
                <a:moveTo>
                  <a:pt x="2984602" y="2261768"/>
                </a:moveTo>
                <a:lnTo>
                  <a:pt x="2984602" y="2230565"/>
                </a:lnTo>
                <a:lnTo>
                  <a:pt x="3015806" y="2230565"/>
                </a:lnTo>
                <a:lnTo>
                  <a:pt x="3015806" y="2199704"/>
                </a:lnTo>
                <a:lnTo>
                  <a:pt x="2984602" y="2199704"/>
                </a:lnTo>
                <a:lnTo>
                  <a:pt x="2984602" y="2168500"/>
                </a:lnTo>
                <a:lnTo>
                  <a:pt x="2953741" y="2168500"/>
                </a:lnTo>
                <a:lnTo>
                  <a:pt x="2953741" y="2199704"/>
                </a:lnTo>
                <a:lnTo>
                  <a:pt x="2922537" y="2199704"/>
                </a:lnTo>
                <a:lnTo>
                  <a:pt x="2922537" y="2230565"/>
                </a:lnTo>
                <a:lnTo>
                  <a:pt x="2953741" y="2230565"/>
                </a:lnTo>
                <a:lnTo>
                  <a:pt x="2953741" y="2261768"/>
                </a:lnTo>
                <a:lnTo>
                  <a:pt x="2984602" y="2261768"/>
                </a:lnTo>
                <a:close/>
                <a:moveTo>
                  <a:pt x="3052496" y="2396871"/>
                </a:moveTo>
                <a:lnTo>
                  <a:pt x="3052496" y="2367039"/>
                </a:lnTo>
                <a:lnTo>
                  <a:pt x="3082328" y="2367039"/>
                </a:lnTo>
                <a:lnTo>
                  <a:pt x="3082328" y="2337549"/>
                </a:lnTo>
                <a:lnTo>
                  <a:pt x="3052496" y="2337549"/>
                </a:lnTo>
                <a:lnTo>
                  <a:pt x="3052496" y="2307717"/>
                </a:lnTo>
                <a:lnTo>
                  <a:pt x="3023006" y="2307717"/>
                </a:lnTo>
                <a:lnTo>
                  <a:pt x="3023006" y="2337549"/>
                </a:lnTo>
                <a:lnTo>
                  <a:pt x="2993174" y="2337549"/>
                </a:lnTo>
                <a:lnTo>
                  <a:pt x="2993174" y="2367039"/>
                </a:lnTo>
                <a:lnTo>
                  <a:pt x="3023006" y="2367039"/>
                </a:lnTo>
                <a:lnTo>
                  <a:pt x="3023006" y="2396871"/>
                </a:lnTo>
                <a:lnTo>
                  <a:pt x="3052496" y="2396871"/>
                </a:lnTo>
                <a:close/>
                <a:moveTo>
                  <a:pt x="1855775" y="1343825"/>
                </a:moveTo>
                <a:lnTo>
                  <a:pt x="1855775" y="1376058"/>
                </a:lnTo>
                <a:lnTo>
                  <a:pt x="1823542" y="1376058"/>
                </a:lnTo>
                <a:lnTo>
                  <a:pt x="1823542" y="1408290"/>
                </a:lnTo>
                <a:lnTo>
                  <a:pt x="1855775" y="1408290"/>
                </a:lnTo>
                <a:lnTo>
                  <a:pt x="1855775" y="1440523"/>
                </a:lnTo>
                <a:lnTo>
                  <a:pt x="1888007" y="1440523"/>
                </a:lnTo>
                <a:lnTo>
                  <a:pt x="1888007" y="1408290"/>
                </a:lnTo>
                <a:lnTo>
                  <a:pt x="1920240" y="1408290"/>
                </a:lnTo>
                <a:lnTo>
                  <a:pt x="1920240" y="1376058"/>
                </a:lnTo>
                <a:lnTo>
                  <a:pt x="1888007" y="1376058"/>
                </a:lnTo>
                <a:lnTo>
                  <a:pt x="1888007" y="1343825"/>
                </a:lnTo>
                <a:lnTo>
                  <a:pt x="1855775" y="1343825"/>
                </a:lnTo>
                <a:close/>
                <a:moveTo>
                  <a:pt x="1238555" y="1480985"/>
                </a:moveTo>
                <a:lnTo>
                  <a:pt x="1238555" y="1513218"/>
                </a:lnTo>
                <a:lnTo>
                  <a:pt x="1206322" y="1513218"/>
                </a:lnTo>
                <a:lnTo>
                  <a:pt x="1206322" y="1545450"/>
                </a:lnTo>
                <a:lnTo>
                  <a:pt x="1238555" y="1545450"/>
                </a:lnTo>
                <a:lnTo>
                  <a:pt x="1238555" y="1577683"/>
                </a:lnTo>
                <a:lnTo>
                  <a:pt x="1270787" y="1577683"/>
                </a:lnTo>
                <a:lnTo>
                  <a:pt x="1270787" y="1545450"/>
                </a:lnTo>
                <a:lnTo>
                  <a:pt x="1303020" y="1545450"/>
                </a:lnTo>
                <a:lnTo>
                  <a:pt x="1303020" y="1513218"/>
                </a:lnTo>
                <a:lnTo>
                  <a:pt x="1270787" y="1513218"/>
                </a:lnTo>
                <a:lnTo>
                  <a:pt x="1270787" y="1480985"/>
                </a:lnTo>
                <a:lnTo>
                  <a:pt x="1238555" y="1480985"/>
                </a:lnTo>
                <a:close/>
                <a:moveTo>
                  <a:pt x="1307135" y="1618145"/>
                </a:moveTo>
                <a:lnTo>
                  <a:pt x="1307135" y="1650378"/>
                </a:lnTo>
                <a:lnTo>
                  <a:pt x="1274902" y="1650378"/>
                </a:lnTo>
                <a:lnTo>
                  <a:pt x="1274902" y="1682610"/>
                </a:lnTo>
                <a:lnTo>
                  <a:pt x="1307135" y="1682610"/>
                </a:lnTo>
                <a:lnTo>
                  <a:pt x="1307135" y="1714843"/>
                </a:lnTo>
                <a:lnTo>
                  <a:pt x="1339367" y="1714843"/>
                </a:lnTo>
                <a:lnTo>
                  <a:pt x="1339367" y="1682610"/>
                </a:lnTo>
                <a:lnTo>
                  <a:pt x="1371600" y="1682610"/>
                </a:lnTo>
                <a:lnTo>
                  <a:pt x="1371600" y="1650378"/>
                </a:lnTo>
                <a:lnTo>
                  <a:pt x="1339367" y="1650378"/>
                </a:lnTo>
                <a:lnTo>
                  <a:pt x="1339367" y="1618145"/>
                </a:lnTo>
                <a:lnTo>
                  <a:pt x="1307135" y="1618145"/>
                </a:lnTo>
                <a:close/>
                <a:moveTo>
                  <a:pt x="1032815" y="1618145"/>
                </a:moveTo>
                <a:lnTo>
                  <a:pt x="1032815" y="1650378"/>
                </a:lnTo>
                <a:lnTo>
                  <a:pt x="1000582" y="1650378"/>
                </a:lnTo>
                <a:lnTo>
                  <a:pt x="1000582" y="1682610"/>
                </a:lnTo>
                <a:lnTo>
                  <a:pt x="1032815" y="1682610"/>
                </a:lnTo>
                <a:lnTo>
                  <a:pt x="1032815" y="1714843"/>
                </a:lnTo>
                <a:lnTo>
                  <a:pt x="1065047" y="1714843"/>
                </a:lnTo>
                <a:lnTo>
                  <a:pt x="1065047" y="1682610"/>
                </a:lnTo>
                <a:lnTo>
                  <a:pt x="1097280" y="1682610"/>
                </a:lnTo>
                <a:lnTo>
                  <a:pt x="1097280" y="1650378"/>
                </a:lnTo>
                <a:lnTo>
                  <a:pt x="1065047" y="1650378"/>
                </a:lnTo>
                <a:lnTo>
                  <a:pt x="1065047" y="1618145"/>
                </a:lnTo>
                <a:lnTo>
                  <a:pt x="1032815" y="1618145"/>
                </a:lnTo>
                <a:close/>
                <a:moveTo>
                  <a:pt x="1169975" y="1618145"/>
                </a:moveTo>
                <a:lnTo>
                  <a:pt x="1169975" y="1650378"/>
                </a:lnTo>
                <a:lnTo>
                  <a:pt x="1137742" y="1650378"/>
                </a:lnTo>
                <a:lnTo>
                  <a:pt x="1137742" y="1682610"/>
                </a:lnTo>
                <a:lnTo>
                  <a:pt x="1169975" y="1682610"/>
                </a:lnTo>
                <a:lnTo>
                  <a:pt x="1169975" y="1714843"/>
                </a:lnTo>
                <a:lnTo>
                  <a:pt x="1202207" y="1714843"/>
                </a:lnTo>
                <a:lnTo>
                  <a:pt x="1202207" y="1682610"/>
                </a:lnTo>
                <a:lnTo>
                  <a:pt x="1234440" y="1682610"/>
                </a:lnTo>
                <a:lnTo>
                  <a:pt x="1234440" y="1650378"/>
                </a:lnTo>
                <a:lnTo>
                  <a:pt x="1202207" y="1650378"/>
                </a:lnTo>
                <a:lnTo>
                  <a:pt x="1202207" y="1618145"/>
                </a:lnTo>
                <a:lnTo>
                  <a:pt x="1169975" y="1618145"/>
                </a:lnTo>
                <a:close/>
                <a:moveTo>
                  <a:pt x="1375715" y="1480985"/>
                </a:moveTo>
                <a:lnTo>
                  <a:pt x="1375715" y="1513218"/>
                </a:lnTo>
                <a:lnTo>
                  <a:pt x="1343482" y="1513218"/>
                </a:lnTo>
                <a:lnTo>
                  <a:pt x="1343482" y="1545450"/>
                </a:lnTo>
                <a:lnTo>
                  <a:pt x="1375715" y="1545450"/>
                </a:lnTo>
                <a:lnTo>
                  <a:pt x="1375715" y="1577683"/>
                </a:lnTo>
                <a:lnTo>
                  <a:pt x="1407947" y="1577683"/>
                </a:lnTo>
                <a:lnTo>
                  <a:pt x="1407947" y="1545450"/>
                </a:lnTo>
                <a:lnTo>
                  <a:pt x="1440180" y="1545450"/>
                </a:lnTo>
                <a:lnTo>
                  <a:pt x="1440180" y="1513218"/>
                </a:lnTo>
                <a:lnTo>
                  <a:pt x="1407947" y="1513218"/>
                </a:lnTo>
                <a:lnTo>
                  <a:pt x="1407947" y="1480985"/>
                </a:lnTo>
                <a:lnTo>
                  <a:pt x="1375715" y="1480985"/>
                </a:lnTo>
                <a:close/>
                <a:moveTo>
                  <a:pt x="1101395" y="1755305"/>
                </a:moveTo>
                <a:lnTo>
                  <a:pt x="1101395" y="1787538"/>
                </a:lnTo>
                <a:lnTo>
                  <a:pt x="1069162" y="1787538"/>
                </a:lnTo>
                <a:lnTo>
                  <a:pt x="1069162" y="1819770"/>
                </a:lnTo>
                <a:lnTo>
                  <a:pt x="1101395" y="1819770"/>
                </a:lnTo>
                <a:lnTo>
                  <a:pt x="1101395" y="1852003"/>
                </a:lnTo>
                <a:lnTo>
                  <a:pt x="1133627" y="1852003"/>
                </a:lnTo>
                <a:lnTo>
                  <a:pt x="1133627" y="1819770"/>
                </a:lnTo>
                <a:lnTo>
                  <a:pt x="1165860" y="1819770"/>
                </a:lnTo>
                <a:lnTo>
                  <a:pt x="1165860" y="1787538"/>
                </a:lnTo>
                <a:lnTo>
                  <a:pt x="1133627" y="1787538"/>
                </a:lnTo>
                <a:lnTo>
                  <a:pt x="1133627" y="1755305"/>
                </a:lnTo>
                <a:lnTo>
                  <a:pt x="1101395" y="1755305"/>
                </a:lnTo>
                <a:close/>
                <a:moveTo>
                  <a:pt x="1444295" y="1343825"/>
                </a:moveTo>
                <a:lnTo>
                  <a:pt x="1444295" y="1376058"/>
                </a:lnTo>
                <a:lnTo>
                  <a:pt x="1412062" y="1376058"/>
                </a:lnTo>
                <a:lnTo>
                  <a:pt x="1412062" y="1408290"/>
                </a:lnTo>
                <a:lnTo>
                  <a:pt x="1444295" y="1408290"/>
                </a:lnTo>
                <a:lnTo>
                  <a:pt x="1444295" y="1440523"/>
                </a:lnTo>
                <a:lnTo>
                  <a:pt x="1476527" y="1440523"/>
                </a:lnTo>
                <a:lnTo>
                  <a:pt x="1476527" y="1408290"/>
                </a:lnTo>
                <a:lnTo>
                  <a:pt x="1508760" y="1408290"/>
                </a:lnTo>
                <a:lnTo>
                  <a:pt x="1508760" y="1376058"/>
                </a:lnTo>
                <a:lnTo>
                  <a:pt x="1476527" y="1376058"/>
                </a:lnTo>
                <a:lnTo>
                  <a:pt x="1476527" y="1343825"/>
                </a:lnTo>
                <a:lnTo>
                  <a:pt x="1444295" y="1343825"/>
                </a:lnTo>
                <a:close/>
                <a:moveTo>
                  <a:pt x="1650035" y="1480985"/>
                </a:moveTo>
                <a:lnTo>
                  <a:pt x="1650035" y="1513218"/>
                </a:lnTo>
                <a:lnTo>
                  <a:pt x="1617802" y="1513218"/>
                </a:lnTo>
                <a:lnTo>
                  <a:pt x="1617802" y="1545450"/>
                </a:lnTo>
                <a:lnTo>
                  <a:pt x="1650035" y="1545450"/>
                </a:lnTo>
                <a:lnTo>
                  <a:pt x="1650035" y="1577683"/>
                </a:lnTo>
                <a:lnTo>
                  <a:pt x="1682267" y="1577683"/>
                </a:lnTo>
                <a:lnTo>
                  <a:pt x="1682267" y="1545450"/>
                </a:lnTo>
                <a:lnTo>
                  <a:pt x="1714500" y="1545450"/>
                </a:lnTo>
                <a:lnTo>
                  <a:pt x="1714500" y="1513218"/>
                </a:lnTo>
                <a:lnTo>
                  <a:pt x="1682267" y="1513218"/>
                </a:lnTo>
                <a:lnTo>
                  <a:pt x="1682267" y="1480985"/>
                </a:lnTo>
                <a:lnTo>
                  <a:pt x="1650035" y="1480985"/>
                </a:lnTo>
                <a:close/>
                <a:moveTo>
                  <a:pt x="1581455" y="1343825"/>
                </a:moveTo>
                <a:lnTo>
                  <a:pt x="1581455" y="1376058"/>
                </a:lnTo>
                <a:lnTo>
                  <a:pt x="1549222" y="1376058"/>
                </a:lnTo>
                <a:lnTo>
                  <a:pt x="1549222" y="1408290"/>
                </a:lnTo>
                <a:lnTo>
                  <a:pt x="1581455" y="1408290"/>
                </a:lnTo>
                <a:lnTo>
                  <a:pt x="1581455" y="1440523"/>
                </a:lnTo>
                <a:lnTo>
                  <a:pt x="1613687" y="1440523"/>
                </a:lnTo>
                <a:lnTo>
                  <a:pt x="1613687" y="1408290"/>
                </a:lnTo>
                <a:lnTo>
                  <a:pt x="1645920" y="1408290"/>
                </a:lnTo>
                <a:lnTo>
                  <a:pt x="1645920" y="1376058"/>
                </a:lnTo>
                <a:lnTo>
                  <a:pt x="1613687" y="1376058"/>
                </a:lnTo>
                <a:lnTo>
                  <a:pt x="1613687" y="1343825"/>
                </a:lnTo>
                <a:lnTo>
                  <a:pt x="1581455" y="1343825"/>
                </a:lnTo>
                <a:close/>
                <a:moveTo>
                  <a:pt x="1512875" y="1480985"/>
                </a:moveTo>
                <a:lnTo>
                  <a:pt x="1512875" y="1513218"/>
                </a:lnTo>
                <a:lnTo>
                  <a:pt x="1480642" y="1513218"/>
                </a:lnTo>
                <a:lnTo>
                  <a:pt x="1480642" y="1545450"/>
                </a:lnTo>
                <a:lnTo>
                  <a:pt x="1512875" y="1545450"/>
                </a:lnTo>
                <a:lnTo>
                  <a:pt x="1512875" y="1577683"/>
                </a:lnTo>
                <a:lnTo>
                  <a:pt x="1545107" y="1577683"/>
                </a:lnTo>
                <a:lnTo>
                  <a:pt x="1545107" y="1545450"/>
                </a:lnTo>
                <a:lnTo>
                  <a:pt x="1577340" y="1545450"/>
                </a:lnTo>
                <a:lnTo>
                  <a:pt x="1577340" y="1513218"/>
                </a:lnTo>
                <a:lnTo>
                  <a:pt x="1545107" y="1513218"/>
                </a:lnTo>
                <a:lnTo>
                  <a:pt x="1545107" y="1480985"/>
                </a:lnTo>
                <a:lnTo>
                  <a:pt x="1512875" y="1480985"/>
                </a:lnTo>
                <a:close/>
                <a:moveTo>
                  <a:pt x="1133627" y="2126323"/>
                </a:moveTo>
                <a:lnTo>
                  <a:pt x="1133627" y="2094090"/>
                </a:lnTo>
                <a:lnTo>
                  <a:pt x="1165860" y="2094090"/>
                </a:lnTo>
                <a:lnTo>
                  <a:pt x="1165860" y="2061858"/>
                </a:lnTo>
                <a:lnTo>
                  <a:pt x="1133627" y="2061858"/>
                </a:lnTo>
                <a:lnTo>
                  <a:pt x="1133627" y="2029625"/>
                </a:lnTo>
                <a:lnTo>
                  <a:pt x="1101395" y="2029625"/>
                </a:lnTo>
                <a:lnTo>
                  <a:pt x="1101395" y="2061858"/>
                </a:lnTo>
                <a:lnTo>
                  <a:pt x="1069162" y="2061858"/>
                </a:lnTo>
                <a:lnTo>
                  <a:pt x="1069162" y="2094090"/>
                </a:lnTo>
                <a:lnTo>
                  <a:pt x="1101395" y="2094090"/>
                </a:lnTo>
                <a:lnTo>
                  <a:pt x="1101395" y="2126323"/>
                </a:lnTo>
                <a:lnTo>
                  <a:pt x="1133627" y="2126323"/>
                </a:lnTo>
                <a:close/>
                <a:moveTo>
                  <a:pt x="1202207" y="2263483"/>
                </a:moveTo>
                <a:lnTo>
                  <a:pt x="1202207" y="2231250"/>
                </a:lnTo>
                <a:lnTo>
                  <a:pt x="1234440" y="2231250"/>
                </a:lnTo>
                <a:lnTo>
                  <a:pt x="1234440" y="2199018"/>
                </a:lnTo>
                <a:lnTo>
                  <a:pt x="1202207" y="2199018"/>
                </a:lnTo>
                <a:lnTo>
                  <a:pt x="1202207" y="2166785"/>
                </a:lnTo>
                <a:lnTo>
                  <a:pt x="1169975" y="2166785"/>
                </a:lnTo>
                <a:lnTo>
                  <a:pt x="1169975" y="2199018"/>
                </a:lnTo>
                <a:lnTo>
                  <a:pt x="1137742" y="2199018"/>
                </a:lnTo>
                <a:lnTo>
                  <a:pt x="1137742" y="2231250"/>
                </a:lnTo>
                <a:lnTo>
                  <a:pt x="1169975" y="2231250"/>
                </a:lnTo>
                <a:lnTo>
                  <a:pt x="1169975" y="2263483"/>
                </a:lnTo>
                <a:lnTo>
                  <a:pt x="1202207" y="2263483"/>
                </a:lnTo>
                <a:close/>
                <a:moveTo>
                  <a:pt x="1718615" y="1343825"/>
                </a:moveTo>
                <a:lnTo>
                  <a:pt x="1718615" y="1376058"/>
                </a:lnTo>
                <a:lnTo>
                  <a:pt x="1686382" y="1376058"/>
                </a:lnTo>
                <a:lnTo>
                  <a:pt x="1686382" y="1408290"/>
                </a:lnTo>
                <a:lnTo>
                  <a:pt x="1718615" y="1408290"/>
                </a:lnTo>
                <a:lnTo>
                  <a:pt x="1718615" y="1440523"/>
                </a:lnTo>
                <a:lnTo>
                  <a:pt x="1750847" y="1440523"/>
                </a:lnTo>
                <a:lnTo>
                  <a:pt x="1750847" y="1408290"/>
                </a:lnTo>
                <a:lnTo>
                  <a:pt x="1783080" y="1408290"/>
                </a:lnTo>
                <a:lnTo>
                  <a:pt x="1783080" y="1376058"/>
                </a:lnTo>
                <a:lnTo>
                  <a:pt x="1750847" y="1376058"/>
                </a:lnTo>
                <a:lnTo>
                  <a:pt x="1750847" y="1343825"/>
                </a:lnTo>
                <a:lnTo>
                  <a:pt x="1718615" y="1343825"/>
                </a:lnTo>
                <a:close/>
                <a:moveTo>
                  <a:pt x="1270787" y="2400643"/>
                </a:moveTo>
                <a:lnTo>
                  <a:pt x="1270787" y="2368410"/>
                </a:lnTo>
                <a:lnTo>
                  <a:pt x="1303020" y="2368410"/>
                </a:lnTo>
                <a:lnTo>
                  <a:pt x="1303020" y="2336178"/>
                </a:lnTo>
                <a:lnTo>
                  <a:pt x="1270787" y="2336178"/>
                </a:lnTo>
                <a:lnTo>
                  <a:pt x="1270787" y="2303945"/>
                </a:lnTo>
                <a:lnTo>
                  <a:pt x="1238555" y="2303945"/>
                </a:lnTo>
                <a:lnTo>
                  <a:pt x="1238555" y="2336178"/>
                </a:lnTo>
                <a:lnTo>
                  <a:pt x="1206322" y="2336178"/>
                </a:lnTo>
                <a:lnTo>
                  <a:pt x="1206322" y="2368410"/>
                </a:lnTo>
                <a:lnTo>
                  <a:pt x="1238555" y="2368410"/>
                </a:lnTo>
                <a:lnTo>
                  <a:pt x="1238555" y="2400643"/>
                </a:lnTo>
                <a:lnTo>
                  <a:pt x="1270787" y="2400643"/>
                </a:lnTo>
                <a:close/>
                <a:moveTo>
                  <a:pt x="1065047" y="2263483"/>
                </a:moveTo>
                <a:lnTo>
                  <a:pt x="1065047" y="2231250"/>
                </a:lnTo>
                <a:lnTo>
                  <a:pt x="1097280" y="2231250"/>
                </a:lnTo>
                <a:lnTo>
                  <a:pt x="1097280" y="2199018"/>
                </a:lnTo>
                <a:lnTo>
                  <a:pt x="1065047" y="2199018"/>
                </a:lnTo>
                <a:lnTo>
                  <a:pt x="1065047" y="2166785"/>
                </a:lnTo>
                <a:lnTo>
                  <a:pt x="1032815" y="2166785"/>
                </a:lnTo>
                <a:lnTo>
                  <a:pt x="1032815" y="2199018"/>
                </a:lnTo>
                <a:lnTo>
                  <a:pt x="1000582" y="2199018"/>
                </a:lnTo>
                <a:lnTo>
                  <a:pt x="1000582" y="2231250"/>
                </a:lnTo>
                <a:lnTo>
                  <a:pt x="1032815" y="2231250"/>
                </a:lnTo>
                <a:lnTo>
                  <a:pt x="1032815" y="2263483"/>
                </a:lnTo>
                <a:lnTo>
                  <a:pt x="1065047" y="2263483"/>
                </a:lnTo>
                <a:close/>
                <a:moveTo>
                  <a:pt x="1339367" y="2263483"/>
                </a:moveTo>
                <a:lnTo>
                  <a:pt x="1339367" y="2231250"/>
                </a:lnTo>
                <a:lnTo>
                  <a:pt x="1371600" y="2231250"/>
                </a:lnTo>
                <a:lnTo>
                  <a:pt x="1371600" y="2199018"/>
                </a:lnTo>
                <a:lnTo>
                  <a:pt x="1339367" y="2199018"/>
                </a:lnTo>
                <a:lnTo>
                  <a:pt x="1339367" y="2166785"/>
                </a:lnTo>
                <a:lnTo>
                  <a:pt x="1307135" y="2166785"/>
                </a:lnTo>
                <a:lnTo>
                  <a:pt x="1307135" y="2199018"/>
                </a:lnTo>
                <a:lnTo>
                  <a:pt x="1274902" y="2199018"/>
                </a:lnTo>
                <a:lnTo>
                  <a:pt x="1274902" y="2231250"/>
                </a:lnTo>
                <a:lnTo>
                  <a:pt x="1307135" y="2231250"/>
                </a:lnTo>
                <a:lnTo>
                  <a:pt x="1307135" y="2263483"/>
                </a:lnTo>
                <a:lnTo>
                  <a:pt x="1339367" y="2263483"/>
                </a:lnTo>
                <a:close/>
                <a:moveTo>
                  <a:pt x="858622" y="1849603"/>
                </a:moveTo>
                <a:lnTo>
                  <a:pt x="858622" y="1819085"/>
                </a:lnTo>
                <a:lnTo>
                  <a:pt x="889140" y="1819085"/>
                </a:lnTo>
                <a:lnTo>
                  <a:pt x="889140" y="1788224"/>
                </a:lnTo>
                <a:lnTo>
                  <a:pt x="858622" y="1788224"/>
                </a:lnTo>
                <a:lnTo>
                  <a:pt x="858622" y="1757705"/>
                </a:lnTo>
                <a:lnTo>
                  <a:pt x="827761" y="1757705"/>
                </a:lnTo>
                <a:lnTo>
                  <a:pt x="827761" y="1788224"/>
                </a:lnTo>
                <a:lnTo>
                  <a:pt x="797242" y="1788224"/>
                </a:lnTo>
                <a:lnTo>
                  <a:pt x="797242" y="1819085"/>
                </a:lnTo>
                <a:lnTo>
                  <a:pt x="827761" y="1819085"/>
                </a:lnTo>
                <a:lnTo>
                  <a:pt x="827761" y="1849603"/>
                </a:lnTo>
                <a:lnTo>
                  <a:pt x="858622" y="1849603"/>
                </a:lnTo>
                <a:close/>
                <a:moveTo>
                  <a:pt x="996467" y="2126323"/>
                </a:moveTo>
                <a:lnTo>
                  <a:pt x="996467" y="2094090"/>
                </a:lnTo>
                <a:lnTo>
                  <a:pt x="1028700" y="2094090"/>
                </a:lnTo>
                <a:lnTo>
                  <a:pt x="1028700" y="2061858"/>
                </a:lnTo>
                <a:lnTo>
                  <a:pt x="996467" y="2061858"/>
                </a:lnTo>
                <a:lnTo>
                  <a:pt x="996467" y="2029625"/>
                </a:lnTo>
                <a:lnTo>
                  <a:pt x="964235" y="2029625"/>
                </a:lnTo>
                <a:lnTo>
                  <a:pt x="964235" y="2061858"/>
                </a:lnTo>
                <a:lnTo>
                  <a:pt x="932002" y="2061858"/>
                </a:lnTo>
                <a:lnTo>
                  <a:pt x="932002" y="2094090"/>
                </a:lnTo>
                <a:lnTo>
                  <a:pt x="964235" y="2094090"/>
                </a:lnTo>
                <a:lnTo>
                  <a:pt x="964235" y="2126323"/>
                </a:lnTo>
                <a:lnTo>
                  <a:pt x="996467" y="2126323"/>
                </a:lnTo>
                <a:close/>
                <a:moveTo>
                  <a:pt x="964235" y="1755648"/>
                </a:moveTo>
                <a:lnTo>
                  <a:pt x="964235" y="1787538"/>
                </a:lnTo>
                <a:lnTo>
                  <a:pt x="932345" y="1787538"/>
                </a:lnTo>
                <a:lnTo>
                  <a:pt x="932345" y="1819770"/>
                </a:lnTo>
                <a:lnTo>
                  <a:pt x="964235" y="1819770"/>
                </a:lnTo>
                <a:lnTo>
                  <a:pt x="964235" y="1851660"/>
                </a:lnTo>
                <a:lnTo>
                  <a:pt x="996467" y="1851660"/>
                </a:lnTo>
                <a:lnTo>
                  <a:pt x="996467" y="1819770"/>
                </a:lnTo>
                <a:lnTo>
                  <a:pt x="1028357" y="1819770"/>
                </a:lnTo>
                <a:lnTo>
                  <a:pt x="1028357" y="1787538"/>
                </a:lnTo>
                <a:lnTo>
                  <a:pt x="996467" y="1787538"/>
                </a:lnTo>
                <a:lnTo>
                  <a:pt x="996467" y="1755648"/>
                </a:lnTo>
                <a:lnTo>
                  <a:pt x="964235" y="1755648"/>
                </a:lnTo>
                <a:close/>
                <a:moveTo>
                  <a:pt x="927544" y="1988134"/>
                </a:moveTo>
                <a:lnTo>
                  <a:pt x="927544" y="1956587"/>
                </a:lnTo>
                <a:lnTo>
                  <a:pt x="959091" y="1956587"/>
                </a:lnTo>
                <a:lnTo>
                  <a:pt x="959091" y="1925041"/>
                </a:lnTo>
                <a:lnTo>
                  <a:pt x="927544" y="1925041"/>
                </a:lnTo>
                <a:lnTo>
                  <a:pt x="927544" y="1893494"/>
                </a:lnTo>
                <a:lnTo>
                  <a:pt x="895998" y="1893494"/>
                </a:lnTo>
                <a:lnTo>
                  <a:pt x="895998" y="1925041"/>
                </a:lnTo>
                <a:lnTo>
                  <a:pt x="864451" y="1925041"/>
                </a:lnTo>
                <a:lnTo>
                  <a:pt x="864451" y="1956587"/>
                </a:lnTo>
                <a:lnTo>
                  <a:pt x="895998" y="1956587"/>
                </a:lnTo>
                <a:lnTo>
                  <a:pt x="895998" y="1988134"/>
                </a:lnTo>
                <a:lnTo>
                  <a:pt x="927544" y="1988134"/>
                </a:lnTo>
                <a:close/>
                <a:moveTo>
                  <a:pt x="789356" y="1985391"/>
                </a:moveTo>
                <a:lnTo>
                  <a:pt x="789356" y="1955559"/>
                </a:lnTo>
                <a:lnTo>
                  <a:pt x="819188" y="1955559"/>
                </a:lnTo>
                <a:lnTo>
                  <a:pt x="819188" y="1926069"/>
                </a:lnTo>
                <a:lnTo>
                  <a:pt x="789356" y="1926069"/>
                </a:lnTo>
                <a:lnTo>
                  <a:pt x="789356" y="1896237"/>
                </a:lnTo>
                <a:lnTo>
                  <a:pt x="759866" y="1896237"/>
                </a:lnTo>
                <a:lnTo>
                  <a:pt x="759866" y="1926069"/>
                </a:lnTo>
                <a:lnTo>
                  <a:pt x="730034" y="1926069"/>
                </a:lnTo>
                <a:lnTo>
                  <a:pt x="730034" y="1955559"/>
                </a:lnTo>
                <a:lnTo>
                  <a:pt x="759866" y="1955559"/>
                </a:lnTo>
                <a:lnTo>
                  <a:pt x="759866" y="1985391"/>
                </a:lnTo>
                <a:lnTo>
                  <a:pt x="789356" y="1985391"/>
                </a:lnTo>
                <a:close/>
                <a:moveTo>
                  <a:pt x="2747315" y="1755305"/>
                </a:moveTo>
                <a:lnTo>
                  <a:pt x="2747315" y="1787538"/>
                </a:lnTo>
                <a:lnTo>
                  <a:pt x="2715082" y="1787538"/>
                </a:lnTo>
                <a:lnTo>
                  <a:pt x="2715082" y="1819770"/>
                </a:lnTo>
                <a:lnTo>
                  <a:pt x="2747315" y="1819770"/>
                </a:lnTo>
                <a:lnTo>
                  <a:pt x="2747315" y="1852003"/>
                </a:lnTo>
                <a:lnTo>
                  <a:pt x="2779547" y="1852003"/>
                </a:lnTo>
                <a:lnTo>
                  <a:pt x="2779547" y="1819770"/>
                </a:lnTo>
                <a:lnTo>
                  <a:pt x="2811780" y="1819770"/>
                </a:lnTo>
                <a:lnTo>
                  <a:pt x="2811780" y="1787538"/>
                </a:lnTo>
                <a:lnTo>
                  <a:pt x="2779547" y="1787538"/>
                </a:lnTo>
                <a:lnTo>
                  <a:pt x="2779547" y="1755305"/>
                </a:lnTo>
                <a:lnTo>
                  <a:pt x="2747315" y="1755305"/>
                </a:lnTo>
                <a:close/>
                <a:moveTo>
                  <a:pt x="2815895" y="1618145"/>
                </a:moveTo>
                <a:lnTo>
                  <a:pt x="2815895" y="1650378"/>
                </a:lnTo>
                <a:lnTo>
                  <a:pt x="2783662" y="1650378"/>
                </a:lnTo>
                <a:lnTo>
                  <a:pt x="2783662" y="1682610"/>
                </a:lnTo>
                <a:lnTo>
                  <a:pt x="2815895" y="1682610"/>
                </a:lnTo>
                <a:lnTo>
                  <a:pt x="2815895" y="1714843"/>
                </a:lnTo>
                <a:lnTo>
                  <a:pt x="2848127" y="1714843"/>
                </a:lnTo>
                <a:lnTo>
                  <a:pt x="2848127" y="1682610"/>
                </a:lnTo>
                <a:lnTo>
                  <a:pt x="2880360" y="1682610"/>
                </a:lnTo>
                <a:lnTo>
                  <a:pt x="2880360" y="1650378"/>
                </a:lnTo>
                <a:lnTo>
                  <a:pt x="2848127" y="1650378"/>
                </a:lnTo>
                <a:lnTo>
                  <a:pt x="2848127" y="1618145"/>
                </a:lnTo>
                <a:lnTo>
                  <a:pt x="2815895" y="1618145"/>
                </a:lnTo>
                <a:close/>
                <a:moveTo>
                  <a:pt x="2472995" y="1480985"/>
                </a:moveTo>
                <a:lnTo>
                  <a:pt x="2472995" y="1513218"/>
                </a:lnTo>
                <a:lnTo>
                  <a:pt x="2440762" y="1513218"/>
                </a:lnTo>
                <a:lnTo>
                  <a:pt x="2440762" y="1545450"/>
                </a:lnTo>
                <a:lnTo>
                  <a:pt x="2472995" y="1545450"/>
                </a:lnTo>
                <a:lnTo>
                  <a:pt x="2472995" y="1577683"/>
                </a:lnTo>
                <a:lnTo>
                  <a:pt x="2505227" y="1577683"/>
                </a:lnTo>
                <a:lnTo>
                  <a:pt x="2505227" y="1545450"/>
                </a:lnTo>
                <a:lnTo>
                  <a:pt x="2537460" y="1545450"/>
                </a:lnTo>
                <a:lnTo>
                  <a:pt x="2537460" y="1513218"/>
                </a:lnTo>
                <a:lnTo>
                  <a:pt x="2505227" y="1513218"/>
                </a:lnTo>
                <a:lnTo>
                  <a:pt x="2505227" y="1480985"/>
                </a:lnTo>
                <a:lnTo>
                  <a:pt x="2472995" y="1480985"/>
                </a:lnTo>
                <a:close/>
                <a:moveTo>
                  <a:pt x="2610155" y="1480985"/>
                </a:moveTo>
                <a:lnTo>
                  <a:pt x="2610155" y="1513218"/>
                </a:lnTo>
                <a:lnTo>
                  <a:pt x="2577922" y="1513218"/>
                </a:lnTo>
                <a:lnTo>
                  <a:pt x="2577922" y="1545450"/>
                </a:lnTo>
                <a:lnTo>
                  <a:pt x="2610155" y="1545450"/>
                </a:lnTo>
                <a:lnTo>
                  <a:pt x="2610155" y="1577683"/>
                </a:lnTo>
                <a:lnTo>
                  <a:pt x="2642387" y="1577683"/>
                </a:lnTo>
                <a:lnTo>
                  <a:pt x="2642387" y="1545450"/>
                </a:lnTo>
                <a:lnTo>
                  <a:pt x="2674620" y="1545450"/>
                </a:lnTo>
                <a:lnTo>
                  <a:pt x="2674620" y="1513218"/>
                </a:lnTo>
                <a:lnTo>
                  <a:pt x="2642387" y="1513218"/>
                </a:lnTo>
                <a:lnTo>
                  <a:pt x="2642387" y="1480985"/>
                </a:lnTo>
                <a:lnTo>
                  <a:pt x="2610155" y="1480985"/>
                </a:lnTo>
                <a:close/>
                <a:moveTo>
                  <a:pt x="1787195" y="1480985"/>
                </a:moveTo>
                <a:lnTo>
                  <a:pt x="1787195" y="1513218"/>
                </a:lnTo>
                <a:lnTo>
                  <a:pt x="1754962" y="1513218"/>
                </a:lnTo>
                <a:lnTo>
                  <a:pt x="1754962" y="1545450"/>
                </a:lnTo>
                <a:lnTo>
                  <a:pt x="1787195" y="1545450"/>
                </a:lnTo>
                <a:lnTo>
                  <a:pt x="1787195" y="1577683"/>
                </a:lnTo>
                <a:lnTo>
                  <a:pt x="1819427" y="1577683"/>
                </a:lnTo>
                <a:lnTo>
                  <a:pt x="1819427" y="1545450"/>
                </a:lnTo>
                <a:lnTo>
                  <a:pt x="1851660" y="1545450"/>
                </a:lnTo>
                <a:lnTo>
                  <a:pt x="1851660" y="1513218"/>
                </a:lnTo>
                <a:lnTo>
                  <a:pt x="1819427" y="1513218"/>
                </a:lnTo>
                <a:lnTo>
                  <a:pt x="1819427" y="1480985"/>
                </a:lnTo>
                <a:lnTo>
                  <a:pt x="1787195" y="1480985"/>
                </a:lnTo>
                <a:close/>
                <a:moveTo>
                  <a:pt x="2198675" y="1206665"/>
                </a:moveTo>
                <a:lnTo>
                  <a:pt x="2198675" y="1238898"/>
                </a:lnTo>
                <a:lnTo>
                  <a:pt x="2166442" y="1238898"/>
                </a:lnTo>
                <a:lnTo>
                  <a:pt x="2166442" y="1271130"/>
                </a:lnTo>
                <a:lnTo>
                  <a:pt x="2198675" y="1271130"/>
                </a:lnTo>
                <a:lnTo>
                  <a:pt x="2198675" y="1303363"/>
                </a:lnTo>
                <a:lnTo>
                  <a:pt x="2230907" y="1303363"/>
                </a:lnTo>
                <a:lnTo>
                  <a:pt x="2230907" y="1271130"/>
                </a:lnTo>
                <a:lnTo>
                  <a:pt x="2263140" y="1271130"/>
                </a:lnTo>
                <a:lnTo>
                  <a:pt x="2263140" y="1238898"/>
                </a:lnTo>
                <a:lnTo>
                  <a:pt x="2230907" y="1238898"/>
                </a:lnTo>
                <a:lnTo>
                  <a:pt x="2230907" y="1206665"/>
                </a:lnTo>
                <a:lnTo>
                  <a:pt x="2198675" y="1206665"/>
                </a:lnTo>
                <a:close/>
                <a:moveTo>
                  <a:pt x="2884475" y="1755305"/>
                </a:moveTo>
                <a:lnTo>
                  <a:pt x="2884475" y="1787538"/>
                </a:lnTo>
                <a:lnTo>
                  <a:pt x="2852242" y="1787538"/>
                </a:lnTo>
                <a:lnTo>
                  <a:pt x="2852242" y="1819770"/>
                </a:lnTo>
                <a:lnTo>
                  <a:pt x="2884475" y="1819770"/>
                </a:lnTo>
                <a:lnTo>
                  <a:pt x="2884475" y="1852003"/>
                </a:lnTo>
                <a:lnTo>
                  <a:pt x="2916707" y="1852003"/>
                </a:lnTo>
                <a:lnTo>
                  <a:pt x="2916707" y="1819770"/>
                </a:lnTo>
                <a:lnTo>
                  <a:pt x="2948940" y="1819770"/>
                </a:lnTo>
                <a:lnTo>
                  <a:pt x="2948940" y="1787538"/>
                </a:lnTo>
                <a:lnTo>
                  <a:pt x="2916707" y="1787538"/>
                </a:lnTo>
                <a:lnTo>
                  <a:pt x="2916707" y="1755305"/>
                </a:lnTo>
                <a:lnTo>
                  <a:pt x="2884475" y="1755305"/>
                </a:lnTo>
                <a:close/>
                <a:moveTo>
                  <a:pt x="2642387" y="2126323"/>
                </a:moveTo>
                <a:lnTo>
                  <a:pt x="2642387" y="2094090"/>
                </a:lnTo>
                <a:lnTo>
                  <a:pt x="2674620" y="2094090"/>
                </a:lnTo>
                <a:lnTo>
                  <a:pt x="2674620" y="2061858"/>
                </a:lnTo>
                <a:lnTo>
                  <a:pt x="2642387" y="2061858"/>
                </a:lnTo>
                <a:lnTo>
                  <a:pt x="2642387" y="2029625"/>
                </a:lnTo>
                <a:lnTo>
                  <a:pt x="2610155" y="2029625"/>
                </a:lnTo>
                <a:lnTo>
                  <a:pt x="2610155" y="2061858"/>
                </a:lnTo>
                <a:lnTo>
                  <a:pt x="2577922" y="2061858"/>
                </a:lnTo>
                <a:lnTo>
                  <a:pt x="2577922" y="2094090"/>
                </a:lnTo>
                <a:lnTo>
                  <a:pt x="2610155" y="2094090"/>
                </a:lnTo>
                <a:lnTo>
                  <a:pt x="2610155" y="2126323"/>
                </a:lnTo>
                <a:lnTo>
                  <a:pt x="2642387" y="2126323"/>
                </a:lnTo>
                <a:close/>
                <a:moveTo>
                  <a:pt x="2710967" y="1989163"/>
                </a:moveTo>
                <a:lnTo>
                  <a:pt x="2710967" y="1956930"/>
                </a:lnTo>
                <a:lnTo>
                  <a:pt x="2743200" y="1956930"/>
                </a:lnTo>
                <a:lnTo>
                  <a:pt x="2743200" y="1924698"/>
                </a:lnTo>
                <a:lnTo>
                  <a:pt x="2710967" y="1924698"/>
                </a:lnTo>
                <a:lnTo>
                  <a:pt x="2710967" y="1892465"/>
                </a:lnTo>
                <a:lnTo>
                  <a:pt x="2678735" y="1892465"/>
                </a:lnTo>
                <a:lnTo>
                  <a:pt x="2678735" y="1924698"/>
                </a:lnTo>
                <a:lnTo>
                  <a:pt x="2646502" y="1924698"/>
                </a:lnTo>
                <a:lnTo>
                  <a:pt x="2646502" y="1956930"/>
                </a:lnTo>
                <a:lnTo>
                  <a:pt x="2678735" y="1956930"/>
                </a:lnTo>
                <a:lnTo>
                  <a:pt x="2678735" y="1989163"/>
                </a:lnTo>
                <a:lnTo>
                  <a:pt x="2710967" y="1989163"/>
                </a:lnTo>
                <a:close/>
                <a:moveTo>
                  <a:pt x="2848127" y="1989163"/>
                </a:moveTo>
                <a:lnTo>
                  <a:pt x="2848127" y="1956930"/>
                </a:lnTo>
                <a:lnTo>
                  <a:pt x="2880360" y="1956930"/>
                </a:lnTo>
                <a:lnTo>
                  <a:pt x="2880360" y="1924698"/>
                </a:lnTo>
                <a:lnTo>
                  <a:pt x="2848127" y="1924698"/>
                </a:lnTo>
                <a:lnTo>
                  <a:pt x="2848127" y="1892465"/>
                </a:lnTo>
                <a:lnTo>
                  <a:pt x="2815895" y="1892465"/>
                </a:lnTo>
                <a:lnTo>
                  <a:pt x="2815895" y="1924698"/>
                </a:lnTo>
                <a:lnTo>
                  <a:pt x="2783662" y="1924698"/>
                </a:lnTo>
                <a:lnTo>
                  <a:pt x="2783662" y="1956930"/>
                </a:lnTo>
                <a:lnTo>
                  <a:pt x="2815895" y="1956930"/>
                </a:lnTo>
                <a:lnTo>
                  <a:pt x="2815895" y="1989163"/>
                </a:lnTo>
                <a:lnTo>
                  <a:pt x="2848127" y="1989163"/>
                </a:lnTo>
                <a:close/>
                <a:moveTo>
                  <a:pt x="2541575" y="1618145"/>
                </a:moveTo>
                <a:lnTo>
                  <a:pt x="2541575" y="1650378"/>
                </a:lnTo>
                <a:lnTo>
                  <a:pt x="2509342" y="1650378"/>
                </a:lnTo>
                <a:lnTo>
                  <a:pt x="2509342" y="1682610"/>
                </a:lnTo>
                <a:lnTo>
                  <a:pt x="2541575" y="1682610"/>
                </a:lnTo>
                <a:lnTo>
                  <a:pt x="2541575" y="1714843"/>
                </a:lnTo>
                <a:lnTo>
                  <a:pt x="2573807" y="1714843"/>
                </a:lnTo>
                <a:lnTo>
                  <a:pt x="2573807" y="1682610"/>
                </a:lnTo>
                <a:lnTo>
                  <a:pt x="2606040" y="1682610"/>
                </a:lnTo>
                <a:lnTo>
                  <a:pt x="2606040" y="1650378"/>
                </a:lnTo>
                <a:lnTo>
                  <a:pt x="2573807" y="1650378"/>
                </a:lnTo>
                <a:lnTo>
                  <a:pt x="2573807" y="1618145"/>
                </a:lnTo>
                <a:lnTo>
                  <a:pt x="2541575" y="1618145"/>
                </a:lnTo>
                <a:close/>
                <a:moveTo>
                  <a:pt x="1924355" y="1480985"/>
                </a:moveTo>
                <a:lnTo>
                  <a:pt x="1924355" y="1513218"/>
                </a:lnTo>
                <a:lnTo>
                  <a:pt x="1892122" y="1513218"/>
                </a:lnTo>
                <a:lnTo>
                  <a:pt x="1892122" y="1545450"/>
                </a:lnTo>
                <a:lnTo>
                  <a:pt x="1924355" y="1545450"/>
                </a:lnTo>
                <a:lnTo>
                  <a:pt x="1924355" y="1577683"/>
                </a:lnTo>
                <a:lnTo>
                  <a:pt x="1956587" y="1577683"/>
                </a:lnTo>
                <a:lnTo>
                  <a:pt x="1956587" y="1545450"/>
                </a:lnTo>
                <a:lnTo>
                  <a:pt x="1988820" y="1545450"/>
                </a:lnTo>
                <a:lnTo>
                  <a:pt x="1988820" y="1513218"/>
                </a:lnTo>
                <a:lnTo>
                  <a:pt x="1956587" y="1513218"/>
                </a:lnTo>
                <a:lnTo>
                  <a:pt x="1956587" y="1480985"/>
                </a:lnTo>
                <a:lnTo>
                  <a:pt x="1924355" y="1480985"/>
                </a:lnTo>
                <a:close/>
                <a:moveTo>
                  <a:pt x="1992935" y="1343825"/>
                </a:moveTo>
                <a:lnTo>
                  <a:pt x="1992935" y="1376058"/>
                </a:lnTo>
                <a:lnTo>
                  <a:pt x="1960702" y="1376058"/>
                </a:lnTo>
                <a:lnTo>
                  <a:pt x="1960702" y="1408290"/>
                </a:lnTo>
                <a:lnTo>
                  <a:pt x="1992935" y="1408290"/>
                </a:lnTo>
                <a:lnTo>
                  <a:pt x="1992935" y="1440523"/>
                </a:lnTo>
                <a:lnTo>
                  <a:pt x="2025167" y="1440523"/>
                </a:lnTo>
                <a:lnTo>
                  <a:pt x="2025167" y="1408290"/>
                </a:lnTo>
                <a:lnTo>
                  <a:pt x="2057400" y="1408290"/>
                </a:lnTo>
                <a:lnTo>
                  <a:pt x="2057400" y="1376058"/>
                </a:lnTo>
                <a:lnTo>
                  <a:pt x="2025167" y="1376058"/>
                </a:lnTo>
                <a:lnTo>
                  <a:pt x="2025167" y="1343825"/>
                </a:lnTo>
                <a:lnTo>
                  <a:pt x="1992935" y="1343825"/>
                </a:lnTo>
                <a:close/>
                <a:moveTo>
                  <a:pt x="2061515" y="1480985"/>
                </a:moveTo>
                <a:lnTo>
                  <a:pt x="2061515" y="1513218"/>
                </a:lnTo>
                <a:lnTo>
                  <a:pt x="2029282" y="1513218"/>
                </a:lnTo>
                <a:lnTo>
                  <a:pt x="2029282" y="1545450"/>
                </a:lnTo>
                <a:lnTo>
                  <a:pt x="2061515" y="1545450"/>
                </a:lnTo>
                <a:lnTo>
                  <a:pt x="2061515" y="1577683"/>
                </a:lnTo>
                <a:lnTo>
                  <a:pt x="2093747" y="1577683"/>
                </a:lnTo>
                <a:lnTo>
                  <a:pt x="2093747" y="1545450"/>
                </a:lnTo>
                <a:lnTo>
                  <a:pt x="2125980" y="1545450"/>
                </a:lnTo>
                <a:lnTo>
                  <a:pt x="2125980" y="1513218"/>
                </a:lnTo>
                <a:lnTo>
                  <a:pt x="2093747" y="1513218"/>
                </a:lnTo>
                <a:lnTo>
                  <a:pt x="2093747" y="1480985"/>
                </a:lnTo>
                <a:lnTo>
                  <a:pt x="2061515" y="1480985"/>
                </a:lnTo>
                <a:close/>
                <a:moveTo>
                  <a:pt x="1719643" y="797928"/>
                </a:moveTo>
                <a:lnTo>
                  <a:pt x="1719643" y="828446"/>
                </a:lnTo>
                <a:lnTo>
                  <a:pt x="1689125" y="828446"/>
                </a:lnTo>
                <a:lnTo>
                  <a:pt x="1689125" y="858622"/>
                </a:lnTo>
                <a:lnTo>
                  <a:pt x="1719643" y="858622"/>
                </a:lnTo>
                <a:lnTo>
                  <a:pt x="1719643" y="889140"/>
                </a:lnTo>
                <a:lnTo>
                  <a:pt x="1749819" y="889140"/>
                </a:lnTo>
                <a:lnTo>
                  <a:pt x="1749819" y="858622"/>
                </a:lnTo>
                <a:lnTo>
                  <a:pt x="1780337" y="858622"/>
                </a:lnTo>
                <a:lnTo>
                  <a:pt x="1780337" y="828446"/>
                </a:lnTo>
                <a:lnTo>
                  <a:pt x="1749819" y="828446"/>
                </a:lnTo>
                <a:lnTo>
                  <a:pt x="1749819" y="797928"/>
                </a:lnTo>
                <a:lnTo>
                  <a:pt x="1719643" y="797928"/>
                </a:lnTo>
                <a:close/>
                <a:moveTo>
                  <a:pt x="2404415" y="1618145"/>
                </a:moveTo>
                <a:lnTo>
                  <a:pt x="2404415" y="1650378"/>
                </a:lnTo>
                <a:lnTo>
                  <a:pt x="2372182" y="1650378"/>
                </a:lnTo>
                <a:lnTo>
                  <a:pt x="2372182" y="1682610"/>
                </a:lnTo>
                <a:lnTo>
                  <a:pt x="2404415" y="1682610"/>
                </a:lnTo>
                <a:lnTo>
                  <a:pt x="2404415" y="1714843"/>
                </a:lnTo>
                <a:lnTo>
                  <a:pt x="2436647" y="1714843"/>
                </a:lnTo>
                <a:lnTo>
                  <a:pt x="2436647" y="1682610"/>
                </a:lnTo>
                <a:lnTo>
                  <a:pt x="2468880" y="1682610"/>
                </a:lnTo>
                <a:lnTo>
                  <a:pt x="2468880" y="1650378"/>
                </a:lnTo>
                <a:lnTo>
                  <a:pt x="2436647" y="1650378"/>
                </a:lnTo>
                <a:lnTo>
                  <a:pt x="2436647" y="1618145"/>
                </a:lnTo>
                <a:lnTo>
                  <a:pt x="2404415" y="1618145"/>
                </a:lnTo>
                <a:close/>
                <a:moveTo>
                  <a:pt x="2130095" y="1343825"/>
                </a:moveTo>
                <a:lnTo>
                  <a:pt x="2130095" y="1376058"/>
                </a:lnTo>
                <a:lnTo>
                  <a:pt x="2097862" y="1376058"/>
                </a:lnTo>
                <a:lnTo>
                  <a:pt x="2097862" y="1408290"/>
                </a:lnTo>
                <a:lnTo>
                  <a:pt x="2130095" y="1408290"/>
                </a:lnTo>
                <a:lnTo>
                  <a:pt x="2130095" y="1440523"/>
                </a:lnTo>
                <a:lnTo>
                  <a:pt x="2162327" y="1440523"/>
                </a:lnTo>
                <a:lnTo>
                  <a:pt x="2162327" y="1408290"/>
                </a:lnTo>
                <a:lnTo>
                  <a:pt x="2194560" y="1408290"/>
                </a:lnTo>
                <a:lnTo>
                  <a:pt x="2194560" y="1376058"/>
                </a:lnTo>
                <a:lnTo>
                  <a:pt x="2162327" y="1376058"/>
                </a:lnTo>
                <a:lnTo>
                  <a:pt x="2162327" y="1343825"/>
                </a:lnTo>
                <a:lnTo>
                  <a:pt x="2130095" y="1343825"/>
                </a:lnTo>
                <a:close/>
                <a:moveTo>
                  <a:pt x="2335835" y="1480985"/>
                </a:moveTo>
                <a:lnTo>
                  <a:pt x="2335835" y="1513218"/>
                </a:lnTo>
                <a:lnTo>
                  <a:pt x="2303602" y="1513218"/>
                </a:lnTo>
                <a:lnTo>
                  <a:pt x="2303602" y="1545450"/>
                </a:lnTo>
                <a:lnTo>
                  <a:pt x="2335835" y="1545450"/>
                </a:lnTo>
                <a:lnTo>
                  <a:pt x="2335835" y="1577683"/>
                </a:lnTo>
                <a:lnTo>
                  <a:pt x="2368067" y="1577683"/>
                </a:lnTo>
                <a:lnTo>
                  <a:pt x="2368067" y="1545450"/>
                </a:lnTo>
                <a:lnTo>
                  <a:pt x="2400300" y="1545450"/>
                </a:lnTo>
                <a:lnTo>
                  <a:pt x="2400300" y="1513218"/>
                </a:lnTo>
                <a:lnTo>
                  <a:pt x="2368067" y="1513218"/>
                </a:lnTo>
                <a:lnTo>
                  <a:pt x="2368067" y="1480985"/>
                </a:lnTo>
                <a:lnTo>
                  <a:pt x="2335835" y="1480985"/>
                </a:lnTo>
                <a:close/>
                <a:moveTo>
                  <a:pt x="2267255" y="1343825"/>
                </a:moveTo>
                <a:lnTo>
                  <a:pt x="2267255" y="1376058"/>
                </a:lnTo>
                <a:lnTo>
                  <a:pt x="2235022" y="1376058"/>
                </a:lnTo>
                <a:lnTo>
                  <a:pt x="2235022" y="1408290"/>
                </a:lnTo>
                <a:lnTo>
                  <a:pt x="2267255" y="1408290"/>
                </a:lnTo>
                <a:lnTo>
                  <a:pt x="2267255" y="1440523"/>
                </a:lnTo>
                <a:lnTo>
                  <a:pt x="2299487" y="1440523"/>
                </a:lnTo>
                <a:lnTo>
                  <a:pt x="2299487" y="1408290"/>
                </a:lnTo>
                <a:lnTo>
                  <a:pt x="2331720" y="1408290"/>
                </a:lnTo>
                <a:lnTo>
                  <a:pt x="2331720" y="1376058"/>
                </a:lnTo>
                <a:lnTo>
                  <a:pt x="2299487" y="1376058"/>
                </a:lnTo>
                <a:lnTo>
                  <a:pt x="2299487" y="1343825"/>
                </a:lnTo>
                <a:lnTo>
                  <a:pt x="2267255" y="1343825"/>
                </a:lnTo>
                <a:close/>
                <a:moveTo>
                  <a:pt x="2198675" y="1480985"/>
                </a:moveTo>
                <a:lnTo>
                  <a:pt x="2198675" y="1513218"/>
                </a:lnTo>
                <a:lnTo>
                  <a:pt x="2166442" y="1513218"/>
                </a:lnTo>
                <a:lnTo>
                  <a:pt x="2166442" y="1545450"/>
                </a:lnTo>
                <a:lnTo>
                  <a:pt x="2198675" y="1545450"/>
                </a:lnTo>
                <a:lnTo>
                  <a:pt x="2198675" y="1577683"/>
                </a:lnTo>
                <a:lnTo>
                  <a:pt x="2230907" y="1577683"/>
                </a:lnTo>
                <a:lnTo>
                  <a:pt x="2230907" y="1545450"/>
                </a:lnTo>
                <a:lnTo>
                  <a:pt x="2263140" y="1545450"/>
                </a:lnTo>
                <a:lnTo>
                  <a:pt x="2263140" y="1513218"/>
                </a:lnTo>
                <a:lnTo>
                  <a:pt x="2230907" y="1513218"/>
                </a:lnTo>
                <a:lnTo>
                  <a:pt x="2230907" y="1480985"/>
                </a:lnTo>
                <a:lnTo>
                  <a:pt x="2198675" y="1480985"/>
                </a:lnTo>
                <a:close/>
                <a:moveTo>
                  <a:pt x="2678735" y="1618145"/>
                </a:moveTo>
                <a:lnTo>
                  <a:pt x="2678735" y="1650378"/>
                </a:lnTo>
                <a:lnTo>
                  <a:pt x="2646502" y="1650378"/>
                </a:lnTo>
                <a:lnTo>
                  <a:pt x="2646502" y="1682610"/>
                </a:lnTo>
                <a:lnTo>
                  <a:pt x="2678735" y="1682610"/>
                </a:lnTo>
                <a:lnTo>
                  <a:pt x="2678735" y="1714843"/>
                </a:lnTo>
                <a:lnTo>
                  <a:pt x="2710967" y="1714843"/>
                </a:lnTo>
                <a:lnTo>
                  <a:pt x="2710967" y="1682610"/>
                </a:lnTo>
                <a:lnTo>
                  <a:pt x="2743200" y="1682610"/>
                </a:lnTo>
                <a:lnTo>
                  <a:pt x="2743200" y="1650378"/>
                </a:lnTo>
                <a:lnTo>
                  <a:pt x="2710967" y="1650378"/>
                </a:lnTo>
                <a:lnTo>
                  <a:pt x="2710967" y="1618145"/>
                </a:lnTo>
                <a:lnTo>
                  <a:pt x="2678735" y="1618145"/>
                </a:lnTo>
                <a:close/>
                <a:moveTo>
                  <a:pt x="3121076" y="1985391"/>
                </a:moveTo>
                <a:lnTo>
                  <a:pt x="3121076" y="1955559"/>
                </a:lnTo>
                <a:lnTo>
                  <a:pt x="3150908" y="1955559"/>
                </a:lnTo>
                <a:lnTo>
                  <a:pt x="3150908" y="1926069"/>
                </a:lnTo>
                <a:lnTo>
                  <a:pt x="3121076" y="1926069"/>
                </a:lnTo>
                <a:lnTo>
                  <a:pt x="3121076" y="1896237"/>
                </a:lnTo>
                <a:lnTo>
                  <a:pt x="3091586" y="1896237"/>
                </a:lnTo>
                <a:lnTo>
                  <a:pt x="3091586" y="1926069"/>
                </a:lnTo>
                <a:lnTo>
                  <a:pt x="3061754" y="1926069"/>
                </a:lnTo>
                <a:lnTo>
                  <a:pt x="3061754" y="1955559"/>
                </a:lnTo>
                <a:lnTo>
                  <a:pt x="3091586" y="1955559"/>
                </a:lnTo>
                <a:lnTo>
                  <a:pt x="3091586" y="1985391"/>
                </a:lnTo>
                <a:lnTo>
                  <a:pt x="3121076" y="1985391"/>
                </a:lnTo>
                <a:close/>
                <a:moveTo>
                  <a:pt x="3160852" y="1761134"/>
                </a:moveTo>
                <a:lnTo>
                  <a:pt x="3160852" y="1789595"/>
                </a:lnTo>
                <a:lnTo>
                  <a:pt x="3132392" y="1789595"/>
                </a:lnTo>
                <a:lnTo>
                  <a:pt x="3132392" y="1817713"/>
                </a:lnTo>
                <a:lnTo>
                  <a:pt x="3160852" y="1817713"/>
                </a:lnTo>
                <a:lnTo>
                  <a:pt x="3160852" y="1846174"/>
                </a:lnTo>
                <a:lnTo>
                  <a:pt x="3188970" y="1846174"/>
                </a:lnTo>
                <a:lnTo>
                  <a:pt x="3188970" y="1817713"/>
                </a:lnTo>
                <a:lnTo>
                  <a:pt x="3217431" y="1817713"/>
                </a:lnTo>
                <a:lnTo>
                  <a:pt x="3217431" y="1789595"/>
                </a:lnTo>
                <a:lnTo>
                  <a:pt x="3188970" y="1789595"/>
                </a:lnTo>
                <a:lnTo>
                  <a:pt x="3188970" y="1761134"/>
                </a:lnTo>
                <a:lnTo>
                  <a:pt x="3160852" y="1761134"/>
                </a:lnTo>
                <a:close/>
                <a:moveTo>
                  <a:pt x="3091586" y="1622603"/>
                </a:moveTo>
                <a:lnTo>
                  <a:pt x="3091586" y="1651749"/>
                </a:lnTo>
                <a:lnTo>
                  <a:pt x="3062440" y="1651749"/>
                </a:lnTo>
                <a:lnTo>
                  <a:pt x="3062440" y="1681239"/>
                </a:lnTo>
                <a:lnTo>
                  <a:pt x="3091586" y="1681239"/>
                </a:lnTo>
                <a:lnTo>
                  <a:pt x="3091586" y="1710385"/>
                </a:lnTo>
                <a:lnTo>
                  <a:pt x="3121076" y="1710385"/>
                </a:lnTo>
                <a:lnTo>
                  <a:pt x="3121076" y="1681239"/>
                </a:lnTo>
                <a:lnTo>
                  <a:pt x="3150223" y="1681239"/>
                </a:lnTo>
                <a:lnTo>
                  <a:pt x="3150223" y="1651749"/>
                </a:lnTo>
                <a:lnTo>
                  <a:pt x="3121076" y="1651749"/>
                </a:lnTo>
                <a:lnTo>
                  <a:pt x="3121076" y="1622603"/>
                </a:lnTo>
                <a:lnTo>
                  <a:pt x="3091586" y="1622603"/>
                </a:lnTo>
                <a:close/>
                <a:moveTo>
                  <a:pt x="3022321" y="1757705"/>
                </a:moveTo>
                <a:lnTo>
                  <a:pt x="3022321" y="1788224"/>
                </a:lnTo>
                <a:lnTo>
                  <a:pt x="2991803" y="1788224"/>
                </a:lnTo>
                <a:lnTo>
                  <a:pt x="2991803" y="1819085"/>
                </a:lnTo>
                <a:lnTo>
                  <a:pt x="3022321" y="1819085"/>
                </a:lnTo>
                <a:lnTo>
                  <a:pt x="3022321" y="1849603"/>
                </a:lnTo>
                <a:lnTo>
                  <a:pt x="3053182" y="1849603"/>
                </a:lnTo>
                <a:lnTo>
                  <a:pt x="3053182" y="1819085"/>
                </a:lnTo>
                <a:lnTo>
                  <a:pt x="3083700" y="1819085"/>
                </a:lnTo>
                <a:lnTo>
                  <a:pt x="3083700" y="1788224"/>
                </a:lnTo>
                <a:lnTo>
                  <a:pt x="3053182" y="1788224"/>
                </a:lnTo>
                <a:lnTo>
                  <a:pt x="3053182" y="1757705"/>
                </a:lnTo>
                <a:lnTo>
                  <a:pt x="3022321" y="1757705"/>
                </a:lnTo>
                <a:close/>
                <a:moveTo>
                  <a:pt x="2953741" y="1619860"/>
                </a:moveTo>
                <a:lnTo>
                  <a:pt x="2953741" y="1651064"/>
                </a:lnTo>
                <a:lnTo>
                  <a:pt x="2922537" y="1651064"/>
                </a:lnTo>
                <a:lnTo>
                  <a:pt x="2922537" y="1681925"/>
                </a:lnTo>
                <a:lnTo>
                  <a:pt x="2953741" y="1681925"/>
                </a:lnTo>
                <a:lnTo>
                  <a:pt x="2953741" y="1713128"/>
                </a:lnTo>
                <a:lnTo>
                  <a:pt x="2984602" y="1713128"/>
                </a:lnTo>
                <a:lnTo>
                  <a:pt x="2984602" y="1681925"/>
                </a:lnTo>
                <a:lnTo>
                  <a:pt x="3015806" y="1681925"/>
                </a:lnTo>
                <a:lnTo>
                  <a:pt x="3015806" y="1651064"/>
                </a:lnTo>
                <a:lnTo>
                  <a:pt x="2984602" y="1651064"/>
                </a:lnTo>
                <a:lnTo>
                  <a:pt x="2984602" y="1619860"/>
                </a:lnTo>
                <a:lnTo>
                  <a:pt x="2953741" y="1619860"/>
                </a:lnTo>
                <a:close/>
                <a:moveTo>
                  <a:pt x="2884818" y="1482357"/>
                </a:moveTo>
                <a:lnTo>
                  <a:pt x="2884818" y="1513561"/>
                </a:lnTo>
                <a:lnTo>
                  <a:pt x="2853614" y="1513561"/>
                </a:lnTo>
                <a:lnTo>
                  <a:pt x="2853614" y="1545107"/>
                </a:lnTo>
                <a:lnTo>
                  <a:pt x="2884818" y="1545107"/>
                </a:lnTo>
                <a:lnTo>
                  <a:pt x="2884818" y="1576311"/>
                </a:lnTo>
                <a:lnTo>
                  <a:pt x="2916365" y="1576311"/>
                </a:lnTo>
                <a:lnTo>
                  <a:pt x="2916365" y="1545107"/>
                </a:lnTo>
                <a:lnTo>
                  <a:pt x="2947568" y="1545107"/>
                </a:lnTo>
                <a:lnTo>
                  <a:pt x="2947568" y="1513561"/>
                </a:lnTo>
                <a:lnTo>
                  <a:pt x="2916365" y="1513561"/>
                </a:lnTo>
                <a:lnTo>
                  <a:pt x="2916365" y="1482357"/>
                </a:lnTo>
                <a:lnTo>
                  <a:pt x="2884818" y="1482357"/>
                </a:lnTo>
                <a:close/>
                <a:moveTo>
                  <a:pt x="2848127" y="2263483"/>
                </a:moveTo>
                <a:lnTo>
                  <a:pt x="2848127" y="2231250"/>
                </a:lnTo>
                <a:lnTo>
                  <a:pt x="2880360" y="2231250"/>
                </a:lnTo>
                <a:lnTo>
                  <a:pt x="2880360" y="2199018"/>
                </a:lnTo>
                <a:lnTo>
                  <a:pt x="2848127" y="2199018"/>
                </a:lnTo>
                <a:lnTo>
                  <a:pt x="2848127" y="2166785"/>
                </a:lnTo>
                <a:lnTo>
                  <a:pt x="2815895" y="2166785"/>
                </a:lnTo>
                <a:lnTo>
                  <a:pt x="2815895" y="2199018"/>
                </a:lnTo>
                <a:lnTo>
                  <a:pt x="2783662" y="2199018"/>
                </a:lnTo>
                <a:lnTo>
                  <a:pt x="2783662" y="2231250"/>
                </a:lnTo>
                <a:lnTo>
                  <a:pt x="2815895" y="2231250"/>
                </a:lnTo>
                <a:lnTo>
                  <a:pt x="2815895" y="2263483"/>
                </a:lnTo>
                <a:lnTo>
                  <a:pt x="2848127" y="2263483"/>
                </a:lnTo>
                <a:close/>
                <a:moveTo>
                  <a:pt x="2779547" y="2126323"/>
                </a:moveTo>
                <a:lnTo>
                  <a:pt x="2779547" y="2094090"/>
                </a:lnTo>
                <a:lnTo>
                  <a:pt x="2811780" y="2094090"/>
                </a:lnTo>
                <a:lnTo>
                  <a:pt x="2811780" y="2061858"/>
                </a:lnTo>
                <a:lnTo>
                  <a:pt x="2779547" y="2061858"/>
                </a:lnTo>
                <a:lnTo>
                  <a:pt x="2779547" y="2029625"/>
                </a:lnTo>
                <a:lnTo>
                  <a:pt x="2747315" y="2029625"/>
                </a:lnTo>
                <a:lnTo>
                  <a:pt x="2747315" y="2061858"/>
                </a:lnTo>
                <a:lnTo>
                  <a:pt x="2715082" y="2061858"/>
                </a:lnTo>
                <a:lnTo>
                  <a:pt x="2715082" y="2094090"/>
                </a:lnTo>
                <a:lnTo>
                  <a:pt x="2747315" y="2094090"/>
                </a:lnTo>
                <a:lnTo>
                  <a:pt x="2747315" y="2126323"/>
                </a:lnTo>
                <a:lnTo>
                  <a:pt x="2779547" y="2126323"/>
                </a:lnTo>
                <a:close/>
                <a:moveTo>
                  <a:pt x="2984945" y="1988134"/>
                </a:moveTo>
                <a:lnTo>
                  <a:pt x="2984945" y="1956587"/>
                </a:lnTo>
                <a:lnTo>
                  <a:pt x="3016492" y="1956587"/>
                </a:lnTo>
                <a:lnTo>
                  <a:pt x="3016492" y="1925041"/>
                </a:lnTo>
                <a:lnTo>
                  <a:pt x="2984945" y="1925041"/>
                </a:lnTo>
                <a:lnTo>
                  <a:pt x="2984945" y="1893494"/>
                </a:lnTo>
                <a:lnTo>
                  <a:pt x="2953398" y="1893494"/>
                </a:lnTo>
                <a:lnTo>
                  <a:pt x="2953398" y="1925041"/>
                </a:lnTo>
                <a:lnTo>
                  <a:pt x="2921851" y="1925041"/>
                </a:lnTo>
                <a:lnTo>
                  <a:pt x="2921851" y="1956587"/>
                </a:lnTo>
                <a:lnTo>
                  <a:pt x="2953398" y="1956587"/>
                </a:lnTo>
                <a:lnTo>
                  <a:pt x="2953398" y="1988134"/>
                </a:lnTo>
                <a:lnTo>
                  <a:pt x="2984945" y="1988134"/>
                </a:lnTo>
                <a:close/>
                <a:moveTo>
                  <a:pt x="3053182" y="2123923"/>
                </a:moveTo>
                <a:lnTo>
                  <a:pt x="3053182" y="2093405"/>
                </a:lnTo>
                <a:lnTo>
                  <a:pt x="3083700" y="2093405"/>
                </a:lnTo>
                <a:lnTo>
                  <a:pt x="3083700" y="2062544"/>
                </a:lnTo>
                <a:lnTo>
                  <a:pt x="3053182" y="2062544"/>
                </a:lnTo>
                <a:lnTo>
                  <a:pt x="3053182" y="2032025"/>
                </a:lnTo>
                <a:lnTo>
                  <a:pt x="3022321" y="2032025"/>
                </a:lnTo>
                <a:lnTo>
                  <a:pt x="3022321" y="2062544"/>
                </a:lnTo>
                <a:lnTo>
                  <a:pt x="2991803" y="2062544"/>
                </a:lnTo>
                <a:lnTo>
                  <a:pt x="2991803" y="2093405"/>
                </a:lnTo>
                <a:lnTo>
                  <a:pt x="3022321" y="2093405"/>
                </a:lnTo>
                <a:lnTo>
                  <a:pt x="3022321" y="2123923"/>
                </a:lnTo>
                <a:lnTo>
                  <a:pt x="3053182" y="2123923"/>
                </a:lnTo>
                <a:close/>
                <a:moveTo>
                  <a:pt x="2916707" y="2126323"/>
                </a:moveTo>
                <a:lnTo>
                  <a:pt x="2916707" y="2094090"/>
                </a:lnTo>
                <a:lnTo>
                  <a:pt x="2948940" y="2094090"/>
                </a:lnTo>
                <a:lnTo>
                  <a:pt x="2948940" y="2061858"/>
                </a:lnTo>
                <a:lnTo>
                  <a:pt x="2916707" y="2061858"/>
                </a:lnTo>
                <a:lnTo>
                  <a:pt x="2916707" y="2029625"/>
                </a:lnTo>
                <a:lnTo>
                  <a:pt x="2884475" y="2029625"/>
                </a:lnTo>
                <a:lnTo>
                  <a:pt x="2884475" y="2061858"/>
                </a:lnTo>
                <a:lnTo>
                  <a:pt x="2852242" y="2061858"/>
                </a:lnTo>
                <a:lnTo>
                  <a:pt x="2852242" y="2094090"/>
                </a:lnTo>
                <a:lnTo>
                  <a:pt x="2884475" y="2094090"/>
                </a:lnTo>
                <a:lnTo>
                  <a:pt x="2884475" y="2126323"/>
                </a:lnTo>
                <a:lnTo>
                  <a:pt x="2916707" y="2126323"/>
                </a:lnTo>
                <a:close/>
                <a:moveTo>
                  <a:pt x="2404415" y="1343825"/>
                </a:moveTo>
                <a:lnTo>
                  <a:pt x="2404415" y="1376058"/>
                </a:lnTo>
                <a:lnTo>
                  <a:pt x="2372182" y="1376058"/>
                </a:lnTo>
                <a:lnTo>
                  <a:pt x="2372182" y="1408290"/>
                </a:lnTo>
                <a:lnTo>
                  <a:pt x="2404415" y="1408290"/>
                </a:lnTo>
                <a:lnTo>
                  <a:pt x="2404415" y="1440523"/>
                </a:lnTo>
                <a:lnTo>
                  <a:pt x="2436647" y="1440523"/>
                </a:lnTo>
                <a:lnTo>
                  <a:pt x="2436647" y="1408290"/>
                </a:lnTo>
                <a:lnTo>
                  <a:pt x="2468880" y="1408290"/>
                </a:lnTo>
                <a:lnTo>
                  <a:pt x="2468880" y="1376058"/>
                </a:lnTo>
                <a:lnTo>
                  <a:pt x="2436647" y="1376058"/>
                </a:lnTo>
                <a:lnTo>
                  <a:pt x="2436647" y="1343825"/>
                </a:lnTo>
                <a:lnTo>
                  <a:pt x="2404415" y="1343825"/>
                </a:lnTo>
                <a:close/>
                <a:moveTo>
                  <a:pt x="2335835" y="1206665"/>
                </a:moveTo>
                <a:lnTo>
                  <a:pt x="2335835" y="1238898"/>
                </a:lnTo>
                <a:lnTo>
                  <a:pt x="2303602" y="1238898"/>
                </a:lnTo>
                <a:lnTo>
                  <a:pt x="2303602" y="1271130"/>
                </a:lnTo>
                <a:lnTo>
                  <a:pt x="2335835" y="1271130"/>
                </a:lnTo>
                <a:lnTo>
                  <a:pt x="2335835" y="1303363"/>
                </a:lnTo>
                <a:lnTo>
                  <a:pt x="2368067" y="1303363"/>
                </a:lnTo>
                <a:lnTo>
                  <a:pt x="2368067" y="1271130"/>
                </a:lnTo>
                <a:lnTo>
                  <a:pt x="2400300" y="1271130"/>
                </a:lnTo>
                <a:lnTo>
                  <a:pt x="2400300" y="1238898"/>
                </a:lnTo>
                <a:lnTo>
                  <a:pt x="2368067" y="1238898"/>
                </a:lnTo>
                <a:lnTo>
                  <a:pt x="2368067" y="1206665"/>
                </a:lnTo>
                <a:lnTo>
                  <a:pt x="2335835" y="1206665"/>
                </a:lnTo>
                <a:close/>
                <a:moveTo>
                  <a:pt x="2472995" y="1206665"/>
                </a:moveTo>
                <a:lnTo>
                  <a:pt x="2472995" y="1238898"/>
                </a:lnTo>
                <a:lnTo>
                  <a:pt x="2440762" y="1238898"/>
                </a:lnTo>
                <a:lnTo>
                  <a:pt x="2440762" y="1271130"/>
                </a:lnTo>
                <a:lnTo>
                  <a:pt x="2472995" y="1271130"/>
                </a:lnTo>
                <a:lnTo>
                  <a:pt x="2472995" y="1303363"/>
                </a:lnTo>
                <a:lnTo>
                  <a:pt x="2505227" y="1303363"/>
                </a:lnTo>
                <a:lnTo>
                  <a:pt x="2505227" y="1271130"/>
                </a:lnTo>
                <a:lnTo>
                  <a:pt x="2537460" y="1271130"/>
                </a:lnTo>
                <a:lnTo>
                  <a:pt x="2537460" y="1238898"/>
                </a:lnTo>
                <a:lnTo>
                  <a:pt x="2505227" y="1238898"/>
                </a:lnTo>
                <a:lnTo>
                  <a:pt x="2505227" y="1206665"/>
                </a:lnTo>
                <a:lnTo>
                  <a:pt x="2472995" y="1206665"/>
                </a:lnTo>
                <a:close/>
                <a:moveTo>
                  <a:pt x="2816238" y="1345197"/>
                </a:moveTo>
                <a:lnTo>
                  <a:pt x="2816238" y="1376401"/>
                </a:lnTo>
                <a:lnTo>
                  <a:pt x="2785034" y="1376401"/>
                </a:lnTo>
                <a:lnTo>
                  <a:pt x="2785034" y="1407947"/>
                </a:lnTo>
                <a:lnTo>
                  <a:pt x="2816238" y="1407947"/>
                </a:lnTo>
                <a:lnTo>
                  <a:pt x="2816238" y="1439151"/>
                </a:lnTo>
                <a:lnTo>
                  <a:pt x="2847785" y="1439151"/>
                </a:lnTo>
                <a:lnTo>
                  <a:pt x="2847785" y="1407947"/>
                </a:lnTo>
                <a:lnTo>
                  <a:pt x="2878988" y="1407947"/>
                </a:lnTo>
                <a:lnTo>
                  <a:pt x="2878988" y="1376401"/>
                </a:lnTo>
                <a:lnTo>
                  <a:pt x="2847785" y="1376401"/>
                </a:lnTo>
                <a:lnTo>
                  <a:pt x="2847785" y="1345197"/>
                </a:lnTo>
                <a:lnTo>
                  <a:pt x="2816238" y="1345197"/>
                </a:lnTo>
                <a:close/>
                <a:moveTo>
                  <a:pt x="2267255" y="1069505"/>
                </a:moveTo>
                <a:lnTo>
                  <a:pt x="2267255" y="1101738"/>
                </a:lnTo>
                <a:lnTo>
                  <a:pt x="2235022" y="1101738"/>
                </a:lnTo>
                <a:lnTo>
                  <a:pt x="2235022" y="1133970"/>
                </a:lnTo>
                <a:lnTo>
                  <a:pt x="2267255" y="1133970"/>
                </a:lnTo>
                <a:lnTo>
                  <a:pt x="2267255" y="1166203"/>
                </a:lnTo>
                <a:lnTo>
                  <a:pt x="2299487" y="1166203"/>
                </a:lnTo>
                <a:lnTo>
                  <a:pt x="2299487" y="1133970"/>
                </a:lnTo>
                <a:lnTo>
                  <a:pt x="2331720" y="1133970"/>
                </a:lnTo>
                <a:lnTo>
                  <a:pt x="2331720" y="1101738"/>
                </a:lnTo>
                <a:lnTo>
                  <a:pt x="2299487" y="1101738"/>
                </a:lnTo>
                <a:lnTo>
                  <a:pt x="2299487" y="1069505"/>
                </a:lnTo>
                <a:lnTo>
                  <a:pt x="2267255" y="1069505"/>
                </a:lnTo>
                <a:close/>
                <a:moveTo>
                  <a:pt x="2541575" y="1343825"/>
                </a:moveTo>
                <a:lnTo>
                  <a:pt x="2541575" y="1376058"/>
                </a:lnTo>
                <a:lnTo>
                  <a:pt x="2509342" y="1376058"/>
                </a:lnTo>
                <a:lnTo>
                  <a:pt x="2509342" y="1408290"/>
                </a:lnTo>
                <a:lnTo>
                  <a:pt x="2541575" y="1408290"/>
                </a:lnTo>
                <a:lnTo>
                  <a:pt x="2541575" y="1440523"/>
                </a:lnTo>
                <a:lnTo>
                  <a:pt x="2573807" y="1440523"/>
                </a:lnTo>
                <a:lnTo>
                  <a:pt x="2573807" y="1408290"/>
                </a:lnTo>
                <a:lnTo>
                  <a:pt x="2606040" y="1408290"/>
                </a:lnTo>
                <a:lnTo>
                  <a:pt x="2606040" y="1376058"/>
                </a:lnTo>
                <a:lnTo>
                  <a:pt x="2573807" y="1376058"/>
                </a:lnTo>
                <a:lnTo>
                  <a:pt x="2573807" y="1343825"/>
                </a:lnTo>
                <a:lnTo>
                  <a:pt x="2541575" y="1343825"/>
                </a:lnTo>
                <a:close/>
                <a:moveTo>
                  <a:pt x="2678735" y="1343825"/>
                </a:moveTo>
                <a:lnTo>
                  <a:pt x="2678735" y="1376058"/>
                </a:lnTo>
                <a:lnTo>
                  <a:pt x="2646502" y="1376058"/>
                </a:lnTo>
                <a:lnTo>
                  <a:pt x="2646502" y="1408290"/>
                </a:lnTo>
                <a:lnTo>
                  <a:pt x="2678735" y="1408290"/>
                </a:lnTo>
                <a:lnTo>
                  <a:pt x="2678735" y="1440523"/>
                </a:lnTo>
                <a:lnTo>
                  <a:pt x="2710967" y="1440523"/>
                </a:lnTo>
                <a:lnTo>
                  <a:pt x="2710967" y="1408290"/>
                </a:lnTo>
                <a:lnTo>
                  <a:pt x="2743200" y="1408290"/>
                </a:lnTo>
                <a:lnTo>
                  <a:pt x="2743200" y="1376058"/>
                </a:lnTo>
                <a:lnTo>
                  <a:pt x="2710967" y="1376058"/>
                </a:lnTo>
                <a:lnTo>
                  <a:pt x="2710967" y="1343825"/>
                </a:lnTo>
                <a:lnTo>
                  <a:pt x="2678735" y="1343825"/>
                </a:lnTo>
                <a:close/>
                <a:moveTo>
                  <a:pt x="2747315" y="1480985"/>
                </a:moveTo>
                <a:lnTo>
                  <a:pt x="2747315" y="1513218"/>
                </a:lnTo>
                <a:lnTo>
                  <a:pt x="2715082" y="1513218"/>
                </a:lnTo>
                <a:lnTo>
                  <a:pt x="2715082" y="1545450"/>
                </a:lnTo>
                <a:lnTo>
                  <a:pt x="2747315" y="1545450"/>
                </a:lnTo>
                <a:lnTo>
                  <a:pt x="2747315" y="1577683"/>
                </a:lnTo>
                <a:lnTo>
                  <a:pt x="2779547" y="1577683"/>
                </a:lnTo>
                <a:lnTo>
                  <a:pt x="2779547" y="1545450"/>
                </a:lnTo>
                <a:lnTo>
                  <a:pt x="2811780" y="1545450"/>
                </a:lnTo>
                <a:lnTo>
                  <a:pt x="2811780" y="1513218"/>
                </a:lnTo>
                <a:lnTo>
                  <a:pt x="2779547" y="1513218"/>
                </a:lnTo>
                <a:lnTo>
                  <a:pt x="2779547" y="1480985"/>
                </a:lnTo>
                <a:lnTo>
                  <a:pt x="2747315" y="1480985"/>
                </a:lnTo>
                <a:close/>
                <a:moveTo>
                  <a:pt x="2610155" y="1206665"/>
                </a:moveTo>
                <a:lnTo>
                  <a:pt x="2610155" y="1238898"/>
                </a:lnTo>
                <a:lnTo>
                  <a:pt x="2577922" y="1238898"/>
                </a:lnTo>
                <a:lnTo>
                  <a:pt x="2577922" y="1271130"/>
                </a:lnTo>
                <a:lnTo>
                  <a:pt x="2610155" y="1271130"/>
                </a:lnTo>
                <a:lnTo>
                  <a:pt x="2610155" y="1303363"/>
                </a:lnTo>
                <a:lnTo>
                  <a:pt x="2642387" y="1303363"/>
                </a:lnTo>
                <a:lnTo>
                  <a:pt x="2642387" y="1271130"/>
                </a:lnTo>
                <a:lnTo>
                  <a:pt x="2674620" y="1271130"/>
                </a:lnTo>
                <a:lnTo>
                  <a:pt x="2674620" y="1238898"/>
                </a:lnTo>
                <a:lnTo>
                  <a:pt x="2642387" y="1238898"/>
                </a:lnTo>
                <a:lnTo>
                  <a:pt x="2642387" y="1206665"/>
                </a:lnTo>
                <a:lnTo>
                  <a:pt x="2610155" y="1206665"/>
                </a:lnTo>
                <a:close/>
                <a:moveTo>
                  <a:pt x="2025167" y="2537803"/>
                </a:moveTo>
                <a:lnTo>
                  <a:pt x="2025167" y="2505570"/>
                </a:lnTo>
                <a:lnTo>
                  <a:pt x="2057400" y="2505570"/>
                </a:lnTo>
                <a:lnTo>
                  <a:pt x="2057400" y="2473338"/>
                </a:lnTo>
                <a:lnTo>
                  <a:pt x="2025167" y="2473338"/>
                </a:lnTo>
                <a:lnTo>
                  <a:pt x="2025167" y="2441105"/>
                </a:lnTo>
                <a:lnTo>
                  <a:pt x="1992935" y="2441105"/>
                </a:lnTo>
                <a:lnTo>
                  <a:pt x="1992935" y="2473338"/>
                </a:lnTo>
                <a:lnTo>
                  <a:pt x="1960702" y="2473338"/>
                </a:lnTo>
                <a:lnTo>
                  <a:pt x="1960702" y="2505570"/>
                </a:lnTo>
                <a:lnTo>
                  <a:pt x="1992935" y="2505570"/>
                </a:lnTo>
                <a:lnTo>
                  <a:pt x="1992935" y="2537803"/>
                </a:lnTo>
                <a:lnTo>
                  <a:pt x="2025167" y="2537803"/>
                </a:lnTo>
                <a:close/>
                <a:moveTo>
                  <a:pt x="1819427" y="2400643"/>
                </a:moveTo>
                <a:lnTo>
                  <a:pt x="1819427" y="2368410"/>
                </a:lnTo>
                <a:lnTo>
                  <a:pt x="1851660" y="2368410"/>
                </a:lnTo>
                <a:lnTo>
                  <a:pt x="1851660" y="2336178"/>
                </a:lnTo>
                <a:lnTo>
                  <a:pt x="1819427" y="2336178"/>
                </a:lnTo>
                <a:lnTo>
                  <a:pt x="1819427" y="2303945"/>
                </a:lnTo>
                <a:lnTo>
                  <a:pt x="1787195" y="2303945"/>
                </a:lnTo>
                <a:lnTo>
                  <a:pt x="1787195" y="2336178"/>
                </a:lnTo>
                <a:lnTo>
                  <a:pt x="1754962" y="2336178"/>
                </a:lnTo>
                <a:lnTo>
                  <a:pt x="1754962" y="2368410"/>
                </a:lnTo>
                <a:lnTo>
                  <a:pt x="1787195" y="2368410"/>
                </a:lnTo>
                <a:lnTo>
                  <a:pt x="1787195" y="2400643"/>
                </a:lnTo>
                <a:lnTo>
                  <a:pt x="1819427" y="2400643"/>
                </a:lnTo>
                <a:close/>
                <a:moveTo>
                  <a:pt x="2710967" y="2263483"/>
                </a:moveTo>
                <a:lnTo>
                  <a:pt x="2710967" y="2231250"/>
                </a:lnTo>
                <a:lnTo>
                  <a:pt x="2743200" y="2231250"/>
                </a:lnTo>
                <a:lnTo>
                  <a:pt x="2743200" y="2199018"/>
                </a:lnTo>
                <a:lnTo>
                  <a:pt x="2710967" y="2199018"/>
                </a:lnTo>
                <a:lnTo>
                  <a:pt x="2710967" y="2166785"/>
                </a:lnTo>
                <a:lnTo>
                  <a:pt x="2678735" y="2166785"/>
                </a:lnTo>
                <a:lnTo>
                  <a:pt x="2678735" y="2199018"/>
                </a:lnTo>
                <a:lnTo>
                  <a:pt x="2646502" y="2199018"/>
                </a:lnTo>
                <a:lnTo>
                  <a:pt x="2646502" y="2231250"/>
                </a:lnTo>
                <a:lnTo>
                  <a:pt x="2678735" y="2231250"/>
                </a:lnTo>
                <a:lnTo>
                  <a:pt x="2678735" y="2263483"/>
                </a:lnTo>
                <a:lnTo>
                  <a:pt x="2710967" y="2263483"/>
                </a:lnTo>
                <a:close/>
                <a:moveTo>
                  <a:pt x="1956587" y="2400643"/>
                </a:moveTo>
                <a:lnTo>
                  <a:pt x="1956587" y="2368410"/>
                </a:lnTo>
                <a:lnTo>
                  <a:pt x="1988820" y="2368410"/>
                </a:lnTo>
                <a:lnTo>
                  <a:pt x="1988820" y="2336178"/>
                </a:lnTo>
                <a:lnTo>
                  <a:pt x="1956587" y="2336178"/>
                </a:lnTo>
                <a:lnTo>
                  <a:pt x="1956587" y="2303945"/>
                </a:lnTo>
                <a:lnTo>
                  <a:pt x="1924355" y="2303945"/>
                </a:lnTo>
                <a:lnTo>
                  <a:pt x="1924355" y="2336178"/>
                </a:lnTo>
                <a:lnTo>
                  <a:pt x="1892122" y="2336178"/>
                </a:lnTo>
                <a:lnTo>
                  <a:pt x="1892122" y="2368410"/>
                </a:lnTo>
                <a:lnTo>
                  <a:pt x="1924355" y="2368410"/>
                </a:lnTo>
                <a:lnTo>
                  <a:pt x="1924355" y="2400643"/>
                </a:lnTo>
                <a:lnTo>
                  <a:pt x="1956587" y="2400643"/>
                </a:lnTo>
                <a:close/>
                <a:moveTo>
                  <a:pt x="1750847" y="2537803"/>
                </a:moveTo>
                <a:lnTo>
                  <a:pt x="1750847" y="2505570"/>
                </a:lnTo>
                <a:lnTo>
                  <a:pt x="1783080" y="2505570"/>
                </a:lnTo>
                <a:lnTo>
                  <a:pt x="1783080" y="2473338"/>
                </a:lnTo>
                <a:lnTo>
                  <a:pt x="1750847" y="2473338"/>
                </a:lnTo>
                <a:lnTo>
                  <a:pt x="1750847" y="2441105"/>
                </a:lnTo>
                <a:lnTo>
                  <a:pt x="1718615" y="2441105"/>
                </a:lnTo>
                <a:lnTo>
                  <a:pt x="1718615" y="2473338"/>
                </a:lnTo>
                <a:lnTo>
                  <a:pt x="1686382" y="2473338"/>
                </a:lnTo>
                <a:lnTo>
                  <a:pt x="1686382" y="2505570"/>
                </a:lnTo>
                <a:lnTo>
                  <a:pt x="1718615" y="2505570"/>
                </a:lnTo>
                <a:lnTo>
                  <a:pt x="1718615" y="2537803"/>
                </a:lnTo>
                <a:lnTo>
                  <a:pt x="1750847" y="2537803"/>
                </a:lnTo>
                <a:close/>
                <a:moveTo>
                  <a:pt x="1476527" y="2263483"/>
                </a:moveTo>
                <a:lnTo>
                  <a:pt x="1476527" y="2231250"/>
                </a:lnTo>
                <a:lnTo>
                  <a:pt x="1508760" y="2231250"/>
                </a:lnTo>
                <a:lnTo>
                  <a:pt x="1508760" y="2199018"/>
                </a:lnTo>
                <a:lnTo>
                  <a:pt x="1476527" y="2199018"/>
                </a:lnTo>
                <a:lnTo>
                  <a:pt x="1476527" y="2166785"/>
                </a:lnTo>
                <a:lnTo>
                  <a:pt x="1444295" y="2166785"/>
                </a:lnTo>
                <a:lnTo>
                  <a:pt x="1444295" y="2199018"/>
                </a:lnTo>
                <a:lnTo>
                  <a:pt x="1412062" y="2199018"/>
                </a:lnTo>
                <a:lnTo>
                  <a:pt x="1412062" y="2231250"/>
                </a:lnTo>
                <a:lnTo>
                  <a:pt x="1444295" y="2231250"/>
                </a:lnTo>
                <a:lnTo>
                  <a:pt x="1444295" y="2263483"/>
                </a:lnTo>
                <a:lnTo>
                  <a:pt x="1476527" y="2263483"/>
                </a:lnTo>
                <a:close/>
                <a:moveTo>
                  <a:pt x="1545107" y="2400643"/>
                </a:moveTo>
                <a:lnTo>
                  <a:pt x="1545107" y="2368410"/>
                </a:lnTo>
                <a:lnTo>
                  <a:pt x="1577340" y="2368410"/>
                </a:lnTo>
                <a:lnTo>
                  <a:pt x="1577340" y="2336178"/>
                </a:lnTo>
                <a:lnTo>
                  <a:pt x="1545107" y="2336178"/>
                </a:lnTo>
                <a:lnTo>
                  <a:pt x="1545107" y="2303945"/>
                </a:lnTo>
                <a:lnTo>
                  <a:pt x="1512875" y="2303945"/>
                </a:lnTo>
                <a:lnTo>
                  <a:pt x="1512875" y="2336178"/>
                </a:lnTo>
                <a:lnTo>
                  <a:pt x="1480642" y="2336178"/>
                </a:lnTo>
                <a:lnTo>
                  <a:pt x="1480642" y="2368410"/>
                </a:lnTo>
                <a:lnTo>
                  <a:pt x="1512875" y="2368410"/>
                </a:lnTo>
                <a:lnTo>
                  <a:pt x="1512875" y="2400643"/>
                </a:lnTo>
                <a:lnTo>
                  <a:pt x="1545107" y="2400643"/>
                </a:lnTo>
                <a:close/>
                <a:moveTo>
                  <a:pt x="1407947" y="2400643"/>
                </a:moveTo>
                <a:lnTo>
                  <a:pt x="1407947" y="2368410"/>
                </a:lnTo>
                <a:lnTo>
                  <a:pt x="1440180" y="2368410"/>
                </a:lnTo>
                <a:lnTo>
                  <a:pt x="1440180" y="2336178"/>
                </a:lnTo>
                <a:lnTo>
                  <a:pt x="1407947" y="2336178"/>
                </a:lnTo>
                <a:lnTo>
                  <a:pt x="1407947" y="2303945"/>
                </a:lnTo>
                <a:lnTo>
                  <a:pt x="1375715" y="2303945"/>
                </a:lnTo>
                <a:lnTo>
                  <a:pt x="1375715" y="2336178"/>
                </a:lnTo>
                <a:lnTo>
                  <a:pt x="1343482" y="2336178"/>
                </a:lnTo>
                <a:lnTo>
                  <a:pt x="1343482" y="2368410"/>
                </a:lnTo>
                <a:lnTo>
                  <a:pt x="1375715" y="2368410"/>
                </a:lnTo>
                <a:lnTo>
                  <a:pt x="1375715" y="2400643"/>
                </a:lnTo>
                <a:lnTo>
                  <a:pt x="1407947" y="2400643"/>
                </a:lnTo>
                <a:close/>
                <a:moveTo>
                  <a:pt x="1613687" y="2537803"/>
                </a:moveTo>
                <a:lnTo>
                  <a:pt x="1613687" y="2505570"/>
                </a:lnTo>
                <a:lnTo>
                  <a:pt x="1645920" y="2505570"/>
                </a:lnTo>
                <a:lnTo>
                  <a:pt x="1645920" y="2473338"/>
                </a:lnTo>
                <a:lnTo>
                  <a:pt x="1613687" y="2473338"/>
                </a:lnTo>
                <a:lnTo>
                  <a:pt x="1613687" y="2441105"/>
                </a:lnTo>
                <a:lnTo>
                  <a:pt x="1581455" y="2441105"/>
                </a:lnTo>
                <a:lnTo>
                  <a:pt x="1581455" y="2473338"/>
                </a:lnTo>
                <a:lnTo>
                  <a:pt x="1549222" y="2473338"/>
                </a:lnTo>
                <a:lnTo>
                  <a:pt x="1549222" y="2505570"/>
                </a:lnTo>
                <a:lnTo>
                  <a:pt x="1581455" y="2505570"/>
                </a:lnTo>
                <a:lnTo>
                  <a:pt x="1581455" y="2537803"/>
                </a:lnTo>
                <a:lnTo>
                  <a:pt x="1613687" y="2537803"/>
                </a:lnTo>
                <a:close/>
                <a:moveTo>
                  <a:pt x="1682267" y="2400643"/>
                </a:moveTo>
                <a:lnTo>
                  <a:pt x="1682267" y="2368410"/>
                </a:lnTo>
                <a:lnTo>
                  <a:pt x="1714500" y="2368410"/>
                </a:lnTo>
                <a:lnTo>
                  <a:pt x="1714500" y="2336178"/>
                </a:lnTo>
                <a:lnTo>
                  <a:pt x="1682267" y="2336178"/>
                </a:lnTo>
                <a:lnTo>
                  <a:pt x="1682267" y="2303945"/>
                </a:lnTo>
                <a:lnTo>
                  <a:pt x="1650035" y="2303945"/>
                </a:lnTo>
                <a:lnTo>
                  <a:pt x="1650035" y="2336178"/>
                </a:lnTo>
                <a:lnTo>
                  <a:pt x="1617802" y="2336178"/>
                </a:lnTo>
                <a:lnTo>
                  <a:pt x="1617802" y="2368410"/>
                </a:lnTo>
                <a:lnTo>
                  <a:pt x="1650035" y="2368410"/>
                </a:lnTo>
                <a:lnTo>
                  <a:pt x="1650035" y="2400643"/>
                </a:lnTo>
                <a:lnTo>
                  <a:pt x="1682267" y="2400643"/>
                </a:lnTo>
                <a:close/>
                <a:moveTo>
                  <a:pt x="1888007" y="2537803"/>
                </a:moveTo>
                <a:lnTo>
                  <a:pt x="1888007" y="2505570"/>
                </a:lnTo>
                <a:lnTo>
                  <a:pt x="1920240" y="2505570"/>
                </a:lnTo>
                <a:lnTo>
                  <a:pt x="1920240" y="2473338"/>
                </a:lnTo>
                <a:lnTo>
                  <a:pt x="1888007" y="2473338"/>
                </a:lnTo>
                <a:lnTo>
                  <a:pt x="1888007" y="2441105"/>
                </a:lnTo>
                <a:lnTo>
                  <a:pt x="1855775" y="2441105"/>
                </a:lnTo>
                <a:lnTo>
                  <a:pt x="1855775" y="2473338"/>
                </a:lnTo>
                <a:lnTo>
                  <a:pt x="1823542" y="2473338"/>
                </a:lnTo>
                <a:lnTo>
                  <a:pt x="1823542" y="2505570"/>
                </a:lnTo>
                <a:lnTo>
                  <a:pt x="1855775" y="2505570"/>
                </a:lnTo>
                <a:lnTo>
                  <a:pt x="1855775" y="2537803"/>
                </a:lnTo>
                <a:lnTo>
                  <a:pt x="1888007" y="2537803"/>
                </a:lnTo>
                <a:close/>
                <a:moveTo>
                  <a:pt x="2505227" y="2400643"/>
                </a:moveTo>
                <a:lnTo>
                  <a:pt x="2505227" y="2368410"/>
                </a:lnTo>
                <a:lnTo>
                  <a:pt x="2537460" y="2368410"/>
                </a:lnTo>
                <a:lnTo>
                  <a:pt x="2537460" y="2336178"/>
                </a:lnTo>
                <a:lnTo>
                  <a:pt x="2505227" y="2336178"/>
                </a:lnTo>
                <a:lnTo>
                  <a:pt x="2505227" y="2303945"/>
                </a:lnTo>
                <a:lnTo>
                  <a:pt x="2472995" y="2303945"/>
                </a:lnTo>
                <a:lnTo>
                  <a:pt x="2472995" y="2336178"/>
                </a:lnTo>
                <a:lnTo>
                  <a:pt x="2440762" y="2336178"/>
                </a:lnTo>
                <a:lnTo>
                  <a:pt x="2440762" y="2368410"/>
                </a:lnTo>
                <a:lnTo>
                  <a:pt x="2472995" y="2368410"/>
                </a:lnTo>
                <a:lnTo>
                  <a:pt x="2472995" y="2400643"/>
                </a:lnTo>
                <a:lnTo>
                  <a:pt x="2505227" y="2400643"/>
                </a:lnTo>
                <a:close/>
                <a:moveTo>
                  <a:pt x="2573807" y="2263483"/>
                </a:moveTo>
                <a:lnTo>
                  <a:pt x="2573807" y="2231250"/>
                </a:lnTo>
                <a:lnTo>
                  <a:pt x="2606040" y="2231250"/>
                </a:lnTo>
                <a:lnTo>
                  <a:pt x="2606040" y="2199018"/>
                </a:lnTo>
                <a:lnTo>
                  <a:pt x="2573807" y="2199018"/>
                </a:lnTo>
                <a:lnTo>
                  <a:pt x="2573807" y="2166785"/>
                </a:lnTo>
                <a:lnTo>
                  <a:pt x="2541575" y="2166785"/>
                </a:lnTo>
                <a:lnTo>
                  <a:pt x="2541575" y="2199018"/>
                </a:lnTo>
                <a:lnTo>
                  <a:pt x="2509342" y="2199018"/>
                </a:lnTo>
                <a:lnTo>
                  <a:pt x="2509342" y="2231250"/>
                </a:lnTo>
                <a:lnTo>
                  <a:pt x="2541575" y="2231250"/>
                </a:lnTo>
                <a:lnTo>
                  <a:pt x="2541575" y="2263483"/>
                </a:lnTo>
                <a:lnTo>
                  <a:pt x="2573807" y="2263483"/>
                </a:lnTo>
                <a:close/>
                <a:moveTo>
                  <a:pt x="2642387" y="2400643"/>
                </a:moveTo>
                <a:lnTo>
                  <a:pt x="2642387" y="2368410"/>
                </a:lnTo>
                <a:lnTo>
                  <a:pt x="2674620" y="2368410"/>
                </a:lnTo>
                <a:lnTo>
                  <a:pt x="2674620" y="2336178"/>
                </a:lnTo>
                <a:lnTo>
                  <a:pt x="2642387" y="2336178"/>
                </a:lnTo>
                <a:lnTo>
                  <a:pt x="2642387" y="2303945"/>
                </a:lnTo>
                <a:lnTo>
                  <a:pt x="2610155" y="2303945"/>
                </a:lnTo>
                <a:lnTo>
                  <a:pt x="2610155" y="2336178"/>
                </a:lnTo>
                <a:lnTo>
                  <a:pt x="2577922" y="2336178"/>
                </a:lnTo>
                <a:lnTo>
                  <a:pt x="2577922" y="2368410"/>
                </a:lnTo>
                <a:lnTo>
                  <a:pt x="2610155" y="2368410"/>
                </a:lnTo>
                <a:lnTo>
                  <a:pt x="2610155" y="2400643"/>
                </a:lnTo>
                <a:lnTo>
                  <a:pt x="2642387" y="2400643"/>
                </a:lnTo>
                <a:close/>
                <a:moveTo>
                  <a:pt x="2436647" y="2537803"/>
                </a:moveTo>
                <a:lnTo>
                  <a:pt x="2436647" y="2505570"/>
                </a:lnTo>
                <a:lnTo>
                  <a:pt x="2468880" y="2505570"/>
                </a:lnTo>
                <a:lnTo>
                  <a:pt x="2468880" y="2473338"/>
                </a:lnTo>
                <a:lnTo>
                  <a:pt x="2436647" y="2473338"/>
                </a:lnTo>
                <a:lnTo>
                  <a:pt x="2436647" y="2441105"/>
                </a:lnTo>
                <a:lnTo>
                  <a:pt x="2404415" y="2441105"/>
                </a:lnTo>
                <a:lnTo>
                  <a:pt x="2404415" y="2473338"/>
                </a:lnTo>
                <a:lnTo>
                  <a:pt x="2372182" y="2473338"/>
                </a:lnTo>
                <a:lnTo>
                  <a:pt x="2372182" y="2505570"/>
                </a:lnTo>
                <a:lnTo>
                  <a:pt x="2404415" y="2505570"/>
                </a:lnTo>
                <a:lnTo>
                  <a:pt x="2404415" y="2537803"/>
                </a:lnTo>
                <a:lnTo>
                  <a:pt x="2436647" y="2537803"/>
                </a:lnTo>
                <a:close/>
                <a:moveTo>
                  <a:pt x="2299487" y="2537803"/>
                </a:moveTo>
                <a:lnTo>
                  <a:pt x="2299487" y="2505570"/>
                </a:lnTo>
                <a:lnTo>
                  <a:pt x="2331720" y="2505570"/>
                </a:lnTo>
                <a:lnTo>
                  <a:pt x="2331720" y="2473338"/>
                </a:lnTo>
                <a:lnTo>
                  <a:pt x="2299487" y="2473338"/>
                </a:lnTo>
                <a:lnTo>
                  <a:pt x="2299487" y="2441105"/>
                </a:lnTo>
                <a:lnTo>
                  <a:pt x="2267255" y="2441105"/>
                </a:lnTo>
                <a:lnTo>
                  <a:pt x="2267255" y="2473338"/>
                </a:lnTo>
                <a:lnTo>
                  <a:pt x="2235022" y="2473338"/>
                </a:lnTo>
                <a:lnTo>
                  <a:pt x="2235022" y="2505570"/>
                </a:lnTo>
                <a:lnTo>
                  <a:pt x="2267255" y="2505570"/>
                </a:lnTo>
                <a:lnTo>
                  <a:pt x="2267255" y="2537803"/>
                </a:lnTo>
                <a:lnTo>
                  <a:pt x="2299487" y="2537803"/>
                </a:lnTo>
                <a:close/>
                <a:moveTo>
                  <a:pt x="2230907" y="2400643"/>
                </a:moveTo>
                <a:lnTo>
                  <a:pt x="2230907" y="2368410"/>
                </a:lnTo>
                <a:lnTo>
                  <a:pt x="2263140" y="2368410"/>
                </a:lnTo>
                <a:lnTo>
                  <a:pt x="2263140" y="2336178"/>
                </a:lnTo>
                <a:lnTo>
                  <a:pt x="2230907" y="2336178"/>
                </a:lnTo>
                <a:lnTo>
                  <a:pt x="2230907" y="2303945"/>
                </a:lnTo>
                <a:lnTo>
                  <a:pt x="2198675" y="2303945"/>
                </a:lnTo>
                <a:lnTo>
                  <a:pt x="2198675" y="2336178"/>
                </a:lnTo>
                <a:lnTo>
                  <a:pt x="2166442" y="2336178"/>
                </a:lnTo>
                <a:lnTo>
                  <a:pt x="2166442" y="2368410"/>
                </a:lnTo>
                <a:lnTo>
                  <a:pt x="2198675" y="2368410"/>
                </a:lnTo>
                <a:lnTo>
                  <a:pt x="2198675" y="2400643"/>
                </a:lnTo>
                <a:lnTo>
                  <a:pt x="2230907" y="2400643"/>
                </a:lnTo>
                <a:close/>
                <a:moveTo>
                  <a:pt x="2162327" y="2537803"/>
                </a:moveTo>
                <a:lnTo>
                  <a:pt x="2162327" y="2505570"/>
                </a:lnTo>
                <a:lnTo>
                  <a:pt x="2194560" y="2505570"/>
                </a:lnTo>
                <a:lnTo>
                  <a:pt x="2194560" y="2473338"/>
                </a:lnTo>
                <a:lnTo>
                  <a:pt x="2162327" y="2473338"/>
                </a:lnTo>
                <a:lnTo>
                  <a:pt x="2162327" y="2441105"/>
                </a:lnTo>
                <a:lnTo>
                  <a:pt x="2130095" y="2441105"/>
                </a:lnTo>
                <a:lnTo>
                  <a:pt x="2130095" y="2473338"/>
                </a:lnTo>
                <a:lnTo>
                  <a:pt x="2097862" y="2473338"/>
                </a:lnTo>
                <a:lnTo>
                  <a:pt x="2097862" y="2505570"/>
                </a:lnTo>
                <a:lnTo>
                  <a:pt x="2130095" y="2505570"/>
                </a:lnTo>
                <a:lnTo>
                  <a:pt x="2130095" y="2537803"/>
                </a:lnTo>
                <a:lnTo>
                  <a:pt x="2162327" y="2537803"/>
                </a:lnTo>
                <a:close/>
                <a:moveTo>
                  <a:pt x="2368067" y="2400643"/>
                </a:moveTo>
                <a:lnTo>
                  <a:pt x="2368067" y="2368410"/>
                </a:lnTo>
                <a:lnTo>
                  <a:pt x="2400300" y="2368410"/>
                </a:lnTo>
                <a:lnTo>
                  <a:pt x="2400300" y="2336178"/>
                </a:lnTo>
                <a:lnTo>
                  <a:pt x="2368067" y="2336178"/>
                </a:lnTo>
                <a:lnTo>
                  <a:pt x="2368067" y="2303945"/>
                </a:lnTo>
                <a:lnTo>
                  <a:pt x="2335835" y="2303945"/>
                </a:lnTo>
                <a:lnTo>
                  <a:pt x="2335835" y="2336178"/>
                </a:lnTo>
                <a:lnTo>
                  <a:pt x="2303602" y="2336178"/>
                </a:lnTo>
                <a:lnTo>
                  <a:pt x="2303602" y="2368410"/>
                </a:lnTo>
                <a:lnTo>
                  <a:pt x="2335835" y="2368410"/>
                </a:lnTo>
                <a:lnTo>
                  <a:pt x="2335835" y="2400643"/>
                </a:lnTo>
                <a:lnTo>
                  <a:pt x="2368067" y="2400643"/>
                </a:lnTo>
                <a:close/>
                <a:moveTo>
                  <a:pt x="2093747" y="2400643"/>
                </a:moveTo>
                <a:lnTo>
                  <a:pt x="2093747" y="2368410"/>
                </a:lnTo>
                <a:lnTo>
                  <a:pt x="2125980" y="2368410"/>
                </a:lnTo>
                <a:lnTo>
                  <a:pt x="2125980" y="2336178"/>
                </a:lnTo>
                <a:lnTo>
                  <a:pt x="2093747" y="2336178"/>
                </a:lnTo>
                <a:lnTo>
                  <a:pt x="2093747" y="2303945"/>
                </a:lnTo>
                <a:lnTo>
                  <a:pt x="2061515" y="2303945"/>
                </a:lnTo>
                <a:lnTo>
                  <a:pt x="2061515" y="2336178"/>
                </a:lnTo>
                <a:lnTo>
                  <a:pt x="2029282" y="2336178"/>
                </a:lnTo>
                <a:lnTo>
                  <a:pt x="2029282" y="2368410"/>
                </a:lnTo>
                <a:lnTo>
                  <a:pt x="2061515" y="2368410"/>
                </a:lnTo>
                <a:lnTo>
                  <a:pt x="2061515" y="2400643"/>
                </a:lnTo>
                <a:lnTo>
                  <a:pt x="2093747" y="2400643"/>
                </a:lnTo>
                <a:close/>
                <a:moveTo>
                  <a:pt x="897026" y="1347597"/>
                </a:moveTo>
                <a:lnTo>
                  <a:pt x="897026" y="1377429"/>
                </a:lnTo>
                <a:lnTo>
                  <a:pt x="867194" y="1377429"/>
                </a:lnTo>
                <a:lnTo>
                  <a:pt x="867194" y="1406919"/>
                </a:lnTo>
                <a:lnTo>
                  <a:pt x="897026" y="1406919"/>
                </a:lnTo>
                <a:lnTo>
                  <a:pt x="897026" y="1436751"/>
                </a:lnTo>
                <a:lnTo>
                  <a:pt x="926516" y="1436751"/>
                </a:lnTo>
                <a:lnTo>
                  <a:pt x="926516" y="1406919"/>
                </a:lnTo>
                <a:lnTo>
                  <a:pt x="956348" y="1406919"/>
                </a:lnTo>
                <a:lnTo>
                  <a:pt x="956348" y="1377429"/>
                </a:lnTo>
                <a:lnTo>
                  <a:pt x="926516" y="1377429"/>
                </a:lnTo>
                <a:lnTo>
                  <a:pt x="926516" y="1347597"/>
                </a:lnTo>
                <a:lnTo>
                  <a:pt x="897026" y="1347597"/>
                </a:lnTo>
                <a:close/>
                <a:moveTo>
                  <a:pt x="1131570" y="2943111"/>
                </a:moveTo>
                <a:lnTo>
                  <a:pt x="1131570" y="2914993"/>
                </a:lnTo>
                <a:lnTo>
                  <a:pt x="1159688" y="2914993"/>
                </a:lnTo>
                <a:lnTo>
                  <a:pt x="1159688" y="2886875"/>
                </a:lnTo>
                <a:lnTo>
                  <a:pt x="1131570" y="2886875"/>
                </a:lnTo>
                <a:lnTo>
                  <a:pt x="1131570" y="2858757"/>
                </a:lnTo>
                <a:lnTo>
                  <a:pt x="1103452" y="2858757"/>
                </a:lnTo>
                <a:lnTo>
                  <a:pt x="1103452" y="2886875"/>
                </a:lnTo>
                <a:lnTo>
                  <a:pt x="1075334" y="2886875"/>
                </a:lnTo>
                <a:lnTo>
                  <a:pt x="1075334" y="2914993"/>
                </a:lnTo>
                <a:lnTo>
                  <a:pt x="1103452" y="2914993"/>
                </a:lnTo>
                <a:lnTo>
                  <a:pt x="1103452" y="2943111"/>
                </a:lnTo>
                <a:lnTo>
                  <a:pt x="1131570" y="2943111"/>
                </a:lnTo>
                <a:close/>
                <a:moveTo>
                  <a:pt x="1061618" y="3076156"/>
                </a:moveTo>
                <a:lnTo>
                  <a:pt x="1061618" y="3050781"/>
                </a:lnTo>
                <a:lnTo>
                  <a:pt x="1086993" y="3050781"/>
                </a:lnTo>
                <a:lnTo>
                  <a:pt x="1086993" y="3025407"/>
                </a:lnTo>
                <a:lnTo>
                  <a:pt x="1061618" y="3025407"/>
                </a:lnTo>
                <a:lnTo>
                  <a:pt x="1061618" y="3000032"/>
                </a:lnTo>
                <a:lnTo>
                  <a:pt x="1036244" y="3000032"/>
                </a:lnTo>
                <a:lnTo>
                  <a:pt x="1036244" y="3025407"/>
                </a:lnTo>
                <a:lnTo>
                  <a:pt x="1010869" y="3025407"/>
                </a:lnTo>
                <a:lnTo>
                  <a:pt x="1010869" y="3050781"/>
                </a:lnTo>
                <a:lnTo>
                  <a:pt x="1036244" y="3050781"/>
                </a:lnTo>
                <a:lnTo>
                  <a:pt x="1036244" y="3076156"/>
                </a:lnTo>
                <a:lnTo>
                  <a:pt x="1061618" y="3076156"/>
                </a:lnTo>
                <a:close/>
                <a:moveTo>
                  <a:pt x="650138" y="2527516"/>
                </a:moveTo>
                <a:lnTo>
                  <a:pt x="650138" y="2502141"/>
                </a:lnTo>
                <a:lnTo>
                  <a:pt x="675513" y="2502141"/>
                </a:lnTo>
                <a:lnTo>
                  <a:pt x="675513" y="2476767"/>
                </a:lnTo>
                <a:lnTo>
                  <a:pt x="650138" y="2476767"/>
                </a:lnTo>
                <a:lnTo>
                  <a:pt x="650138" y="2451392"/>
                </a:lnTo>
                <a:lnTo>
                  <a:pt x="624764" y="2451392"/>
                </a:lnTo>
                <a:lnTo>
                  <a:pt x="624764" y="2476767"/>
                </a:lnTo>
                <a:lnTo>
                  <a:pt x="599389" y="2476767"/>
                </a:lnTo>
                <a:lnTo>
                  <a:pt x="599389" y="2502141"/>
                </a:lnTo>
                <a:lnTo>
                  <a:pt x="624764" y="2502141"/>
                </a:lnTo>
                <a:lnTo>
                  <a:pt x="624764" y="2527516"/>
                </a:lnTo>
                <a:lnTo>
                  <a:pt x="650138" y="2527516"/>
                </a:lnTo>
                <a:close/>
                <a:moveTo>
                  <a:pt x="1267358" y="3213316"/>
                </a:moveTo>
                <a:lnTo>
                  <a:pt x="1267358" y="3187941"/>
                </a:lnTo>
                <a:lnTo>
                  <a:pt x="1292733" y="3187941"/>
                </a:lnTo>
                <a:lnTo>
                  <a:pt x="1292733" y="3162567"/>
                </a:lnTo>
                <a:lnTo>
                  <a:pt x="1267358" y="3162567"/>
                </a:lnTo>
                <a:lnTo>
                  <a:pt x="1267358" y="3137192"/>
                </a:lnTo>
                <a:lnTo>
                  <a:pt x="1241984" y="3137192"/>
                </a:lnTo>
                <a:lnTo>
                  <a:pt x="1241984" y="3162567"/>
                </a:lnTo>
                <a:lnTo>
                  <a:pt x="1216609" y="3162567"/>
                </a:lnTo>
                <a:lnTo>
                  <a:pt x="1216609" y="3187941"/>
                </a:lnTo>
                <a:lnTo>
                  <a:pt x="1241984" y="3187941"/>
                </a:lnTo>
                <a:lnTo>
                  <a:pt x="1241984" y="3213316"/>
                </a:lnTo>
                <a:lnTo>
                  <a:pt x="1267358" y="3213316"/>
                </a:lnTo>
                <a:close/>
                <a:moveTo>
                  <a:pt x="1337310" y="3080271"/>
                </a:moveTo>
                <a:lnTo>
                  <a:pt x="1337310" y="3052153"/>
                </a:lnTo>
                <a:lnTo>
                  <a:pt x="1365428" y="3052153"/>
                </a:lnTo>
                <a:lnTo>
                  <a:pt x="1365428" y="3024035"/>
                </a:lnTo>
                <a:lnTo>
                  <a:pt x="1337310" y="3024035"/>
                </a:lnTo>
                <a:lnTo>
                  <a:pt x="1337310" y="2995917"/>
                </a:lnTo>
                <a:lnTo>
                  <a:pt x="1309192" y="2995917"/>
                </a:lnTo>
                <a:lnTo>
                  <a:pt x="1309192" y="3024035"/>
                </a:lnTo>
                <a:lnTo>
                  <a:pt x="1281074" y="3024035"/>
                </a:lnTo>
                <a:lnTo>
                  <a:pt x="1281074" y="3052153"/>
                </a:lnTo>
                <a:lnTo>
                  <a:pt x="1309192" y="3052153"/>
                </a:lnTo>
                <a:lnTo>
                  <a:pt x="1309192" y="3080271"/>
                </a:lnTo>
                <a:lnTo>
                  <a:pt x="1337310" y="3080271"/>
                </a:lnTo>
                <a:close/>
                <a:moveTo>
                  <a:pt x="993381" y="2940368"/>
                </a:moveTo>
                <a:lnTo>
                  <a:pt x="993381" y="2913964"/>
                </a:lnTo>
                <a:lnTo>
                  <a:pt x="1019785" y="2913964"/>
                </a:lnTo>
                <a:lnTo>
                  <a:pt x="1019785" y="2887904"/>
                </a:lnTo>
                <a:lnTo>
                  <a:pt x="993381" y="2887904"/>
                </a:lnTo>
                <a:lnTo>
                  <a:pt x="993381" y="2861501"/>
                </a:lnTo>
                <a:lnTo>
                  <a:pt x="967321" y="2861501"/>
                </a:lnTo>
                <a:lnTo>
                  <a:pt x="967321" y="2887904"/>
                </a:lnTo>
                <a:lnTo>
                  <a:pt x="940918" y="2887904"/>
                </a:lnTo>
                <a:lnTo>
                  <a:pt x="940918" y="2913964"/>
                </a:lnTo>
                <a:lnTo>
                  <a:pt x="967321" y="2913964"/>
                </a:lnTo>
                <a:lnTo>
                  <a:pt x="967321" y="2940368"/>
                </a:lnTo>
                <a:lnTo>
                  <a:pt x="993381" y="2940368"/>
                </a:lnTo>
                <a:close/>
                <a:moveTo>
                  <a:pt x="786955" y="2801150"/>
                </a:moveTo>
                <a:lnTo>
                  <a:pt x="786955" y="2776118"/>
                </a:lnTo>
                <a:lnTo>
                  <a:pt x="811987" y="2776118"/>
                </a:lnTo>
                <a:lnTo>
                  <a:pt x="811987" y="2751430"/>
                </a:lnTo>
                <a:lnTo>
                  <a:pt x="786955" y="2751430"/>
                </a:lnTo>
                <a:lnTo>
                  <a:pt x="786955" y="2726398"/>
                </a:lnTo>
                <a:lnTo>
                  <a:pt x="762267" y="2726398"/>
                </a:lnTo>
                <a:lnTo>
                  <a:pt x="762267" y="2751430"/>
                </a:lnTo>
                <a:lnTo>
                  <a:pt x="737235" y="2751430"/>
                </a:lnTo>
                <a:lnTo>
                  <a:pt x="737235" y="2776118"/>
                </a:lnTo>
                <a:lnTo>
                  <a:pt x="762267" y="2776118"/>
                </a:lnTo>
                <a:lnTo>
                  <a:pt x="762267" y="2801150"/>
                </a:lnTo>
                <a:lnTo>
                  <a:pt x="786955" y="2801150"/>
                </a:lnTo>
                <a:close/>
                <a:moveTo>
                  <a:pt x="925487" y="2804579"/>
                </a:moveTo>
                <a:lnTo>
                  <a:pt x="925487" y="2777490"/>
                </a:lnTo>
                <a:lnTo>
                  <a:pt x="952576" y="2777490"/>
                </a:lnTo>
                <a:lnTo>
                  <a:pt x="952576" y="2750058"/>
                </a:lnTo>
                <a:lnTo>
                  <a:pt x="925487" y="2750058"/>
                </a:lnTo>
                <a:lnTo>
                  <a:pt x="925487" y="2722969"/>
                </a:lnTo>
                <a:lnTo>
                  <a:pt x="898055" y="2722969"/>
                </a:lnTo>
                <a:lnTo>
                  <a:pt x="898055" y="2750058"/>
                </a:lnTo>
                <a:lnTo>
                  <a:pt x="870966" y="2750058"/>
                </a:lnTo>
                <a:lnTo>
                  <a:pt x="870966" y="2777490"/>
                </a:lnTo>
                <a:lnTo>
                  <a:pt x="898055" y="2777490"/>
                </a:lnTo>
                <a:lnTo>
                  <a:pt x="898055" y="2804579"/>
                </a:lnTo>
                <a:lnTo>
                  <a:pt x="925487" y="2804579"/>
                </a:lnTo>
                <a:close/>
                <a:moveTo>
                  <a:pt x="718718" y="2664676"/>
                </a:moveTo>
                <a:lnTo>
                  <a:pt x="718718" y="2639301"/>
                </a:lnTo>
                <a:lnTo>
                  <a:pt x="744093" y="2639301"/>
                </a:lnTo>
                <a:lnTo>
                  <a:pt x="744093" y="2613927"/>
                </a:lnTo>
                <a:lnTo>
                  <a:pt x="718718" y="2613927"/>
                </a:lnTo>
                <a:lnTo>
                  <a:pt x="718718" y="2588552"/>
                </a:lnTo>
                <a:lnTo>
                  <a:pt x="693344" y="2588552"/>
                </a:lnTo>
                <a:lnTo>
                  <a:pt x="693344" y="2613927"/>
                </a:lnTo>
                <a:lnTo>
                  <a:pt x="667969" y="2613927"/>
                </a:lnTo>
                <a:lnTo>
                  <a:pt x="667969" y="2639301"/>
                </a:lnTo>
                <a:lnTo>
                  <a:pt x="693344" y="2639301"/>
                </a:lnTo>
                <a:lnTo>
                  <a:pt x="693344" y="2664676"/>
                </a:lnTo>
                <a:lnTo>
                  <a:pt x="718718" y="2664676"/>
                </a:lnTo>
                <a:close/>
                <a:moveTo>
                  <a:pt x="856907" y="2668105"/>
                </a:moveTo>
                <a:lnTo>
                  <a:pt x="856907" y="2640330"/>
                </a:lnTo>
                <a:lnTo>
                  <a:pt x="884682" y="2640330"/>
                </a:lnTo>
                <a:lnTo>
                  <a:pt x="884682" y="2612898"/>
                </a:lnTo>
                <a:lnTo>
                  <a:pt x="856907" y="2612898"/>
                </a:lnTo>
                <a:lnTo>
                  <a:pt x="856907" y="2585123"/>
                </a:lnTo>
                <a:lnTo>
                  <a:pt x="829475" y="2585123"/>
                </a:lnTo>
                <a:lnTo>
                  <a:pt x="829475" y="2612898"/>
                </a:lnTo>
                <a:lnTo>
                  <a:pt x="801700" y="2612898"/>
                </a:lnTo>
                <a:lnTo>
                  <a:pt x="801700" y="2640330"/>
                </a:lnTo>
                <a:lnTo>
                  <a:pt x="829475" y="2640330"/>
                </a:lnTo>
                <a:lnTo>
                  <a:pt x="829475" y="2668105"/>
                </a:lnTo>
                <a:lnTo>
                  <a:pt x="856907" y="2668105"/>
                </a:lnTo>
                <a:close/>
                <a:moveTo>
                  <a:pt x="1199464" y="3078213"/>
                </a:moveTo>
                <a:lnTo>
                  <a:pt x="1199464" y="3051467"/>
                </a:lnTo>
                <a:lnTo>
                  <a:pt x="1226210" y="3051467"/>
                </a:lnTo>
                <a:lnTo>
                  <a:pt x="1226210" y="3024721"/>
                </a:lnTo>
                <a:lnTo>
                  <a:pt x="1199464" y="3024721"/>
                </a:lnTo>
                <a:lnTo>
                  <a:pt x="1199464" y="2997975"/>
                </a:lnTo>
                <a:lnTo>
                  <a:pt x="1172718" y="2997975"/>
                </a:lnTo>
                <a:lnTo>
                  <a:pt x="1172718" y="3024721"/>
                </a:lnTo>
                <a:lnTo>
                  <a:pt x="1145972" y="3024721"/>
                </a:lnTo>
                <a:lnTo>
                  <a:pt x="1145972" y="3051467"/>
                </a:lnTo>
                <a:lnTo>
                  <a:pt x="1172718" y="3051467"/>
                </a:lnTo>
                <a:lnTo>
                  <a:pt x="1172718" y="3078213"/>
                </a:lnTo>
                <a:lnTo>
                  <a:pt x="1199464" y="3078213"/>
                </a:lnTo>
                <a:close/>
                <a:moveTo>
                  <a:pt x="1884921" y="3351505"/>
                </a:moveTo>
                <a:lnTo>
                  <a:pt x="1884921" y="3325444"/>
                </a:lnTo>
                <a:lnTo>
                  <a:pt x="1910982" y="3325444"/>
                </a:lnTo>
                <a:lnTo>
                  <a:pt x="1910982" y="3299384"/>
                </a:lnTo>
                <a:lnTo>
                  <a:pt x="1884921" y="3299384"/>
                </a:lnTo>
                <a:lnTo>
                  <a:pt x="1884921" y="3273323"/>
                </a:lnTo>
                <a:lnTo>
                  <a:pt x="1858861" y="3273323"/>
                </a:lnTo>
                <a:lnTo>
                  <a:pt x="1858861" y="3299384"/>
                </a:lnTo>
                <a:lnTo>
                  <a:pt x="1832800" y="3299384"/>
                </a:lnTo>
                <a:lnTo>
                  <a:pt x="1832800" y="3325444"/>
                </a:lnTo>
                <a:lnTo>
                  <a:pt x="1858861" y="3325444"/>
                </a:lnTo>
                <a:lnTo>
                  <a:pt x="1858861" y="3351505"/>
                </a:lnTo>
                <a:lnTo>
                  <a:pt x="1884921" y="3351505"/>
                </a:lnTo>
                <a:close/>
                <a:moveTo>
                  <a:pt x="2022081" y="3351505"/>
                </a:moveTo>
                <a:lnTo>
                  <a:pt x="2022081" y="3325444"/>
                </a:lnTo>
                <a:lnTo>
                  <a:pt x="2048142" y="3325444"/>
                </a:lnTo>
                <a:lnTo>
                  <a:pt x="2048142" y="3299384"/>
                </a:lnTo>
                <a:lnTo>
                  <a:pt x="2022081" y="3299384"/>
                </a:lnTo>
                <a:lnTo>
                  <a:pt x="2022081" y="3273323"/>
                </a:lnTo>
                <a:lnTo>
                  <a:pt x="1996021" y="3273323"/>
                </a:lnTo>
                <a:lnTo>
                  <a:pt x="1996021" y="3299384"/>
                </a:lnTo>
                <a:lnTo>
                  <a:pt x="1969960" y="3299384"/>
                </a:lnTo>
                <a:lnTo>
                  <a:pt x="1969960" y="3325444"/>
                </a:lnTo>
                <a:lnTo>
                  <a:pt x="1996021" y="3325444"/>
                </a:lnTo>
                <a:lnTo>
                  <a:pt x="1996021" y="3351505"/>
                </a:lnTo>
                <a:lnTo>
                  <a:pt x="2022081" y="3351505"/>
                </a:lnTo>
                <a:close/>
                <a:moveTo>
                  <a:pt x="1954873" y="3218117"/>
                </a:moveTo>
                <a:lnTo>
                  <a:pt x="1954873" y="3189656"/>
                </a:lnTo>
                <a:lnTo>
                  <a:pt x="1983334" y="3189656"/>
                </a:lnTo>
                <a:lnTo>
                  <a:pt x="1983334" y="3160852"/>
                </a:lnTo>
                <a:lnTo>
                  <a:pt x="1954873" y="3160852"/>
                </a:lnTo>
                <a:lnTo>
                  <a:pt x="1954873" y="3132392"/>
                </a:lnTo>
                <a:lnTo>
                  <a:pt x="1926069" y="3132392"/>
                </a:lnTo>
                <a:lnTo>
                  <a:pt x="1926069" y="3160852"/>
                </a:lnTo>
                <a:lnTo>
                  <a:pt x="1897609" y="3160852"/>
                </a:lnTo>
                <a:lnTo>
                  <a:pt x="1897609" y="3189656"/>
                </a:lnTo>
                <a:lnTo>
                  <a:pt x="1926069" y="3189656"/>
                </a:lnTo>
                <a:lnTo>
                  <a:pt x="1926069" y="3218117"/>
                </a:lnTo>
                <a:lnTo>
                  <a:pt x="1954873" y="3218117"/>
                </a:lnTo>
                <a:close/>
                <a:moveTo>
                  <a:pt x="1747761" y="3351162"/>
                </a:moveTo>
                <a:lnTo>
                  <a:pt x="1747761" y="3325444"/>
                </a:lnTo>
                <a:lnTo>
                  <a:pt x="1773479" y="3325444"/>
                </a:lnTo>
                <a:lnTo>
                  <a:pt x="1773479" y="3299384"/>
                </a:lnTo>
                <a:lnTo>
                  <a:pt x="1747761" y="3299384"/>
                </a:lnTo>
                <a:lnTo>
                  <a:pt x="1747761" y="3273666"/>
                </a:lnTo>
                <a:lnTo>
                  <a:pt x="1721701" y="3273666"/>
                </a:lnTo>
                <a:lnTo>
                  <a:pt x="1721701" y="3299384"/>
                </a:lnTo>
                <a:lnTo>
                  <a:pt x="1695983" y="3299384"/>
                </a:lnTo>
                <a:lnTo>
                  <a:pt x="1695983" y="3325444"/>
                </a:lnTo>
                <a:lnTo>
                  <a:pt x="1721701" y="3325444"/>
                </a:lnTo>
                <a:lnTo>
                  <a:pt x="1721701" y="3351162"/>
                </a:lnTo>
                <a:lnTo>
                  <a:pt x="1747761" y="3351162"/>
                </a:lnTo>
                <a:close/>
                <a:moveTo>
                  <a:pt x="1817370" y="3217774"/>
                </a:moveTo>
                <a:lnTo>
                  <a:pt x="1817370" y="3189313"/>
                </a:lnTo>
                <a:lnTo>
                  <a:pt x="1845831" y="3189313"/>
                </a:lnTo>
                <a:lnTo>
                  <a:pt x="1845831" y="3161195"/>
                </a:lnTo>
                <a:lnTo>
                  <a:pt x="1817370" y="3161195"/>
                </a:lnTo>
                <a:lnTo>
                  <a:pt x="1817370" y="3132734"/>
                </a:lnTo>
                <a:lnTo>
                  <a:pt x="1789252" y="3132734"/>
                </a:lnTo>
                <a:lnTo>
                  <a:pt x="1789252" y="3161195"/>
                </a:lnTo>
                <a:lnTo>
                  <a:pt x="1760791" y="3161195"/>
                </a:lnTo>
                <a:lnTo>
                  <a:pt x="1760791" y="3189313"/>
                </a:lnTo>
                <a:lnTo>
                  <a:pt x="1789252" y="3189313"/>
                </a:lnTo>
                <a:lnTo>
                  <a:pt x="1789252" y="3217774"/>
                </a:lnTo>
                <a:lnTo>
                  <a:pt x="1817370" y="3217774"/>
                </a:lnTo>
                <a:close/>
                <a:moveTo>
                  <a:pt x="1475156" y="3081985"/>
                </a:moveTo>
                <a:lnTo>
                  <a:pt x="1475156" y="3052839"/>
                </a:lnTo>
                <a:lnTo>
                  <a:pt x="1504302" y="3052839"/>
                </a:lnTo>
                <a:lnTo>
                  <a:pt x="1504302" y="3023349"/>
                </a:lnTo>
                <a:lnTo>
                  <a:pt x="1475156" y="3023349"/>
                </a:lnTo>
                <a:lnTo>
                  <a:pt x="1475156" y="2994203"/>
                </a:lnTo>
                <a:lnTo>
                  <a:pt x="1445666" y="2994203"/>
                </a:lnTo>
                <a:lnTo>
                  <a:pt x="1445666" y="3023349"/>
                </a:lnTo>
                <a:lnTo>
                  <a:pt x="1416520" y="3023349"/>
                </a:lnTo>
                <a:lnTo>
                  <a:pt x="1416520" y="3052839"/>
                </a:lnTo>
                <a:lnTo>
                  <a:pt x="1445666" y="3052839"/>
                </a:lnTo>
                <a:lnTo>
                  <a:pt x="1445666" y="3081985"/>
                </a:lnTo>
                <a:lnTo>
                  <a:pt x="1475156" y="3081985"/>
                </a:lnTo>
                <a:close/>
                <a:moveTo>
                  <a:pt x="1680210" y="3217431"/>
                </a:moveTo>
                <a:lnTo>
                  <a:pt x="1680210" y="3189313"/>
                </a:lnTo>
                <a:lnTo>
                  <a:pt x="1708328" y="3189313"/>
                </a:lnTo>
                <a:lnTo>
                  <a:pt x="1708328" y="3161195"/>
                </a:lnTo>
                <a:lnTo>
                  <a:pt x="1680210" y="3161195"/>
                </a:lnTo>
                <a:lnTo>
                  <a:pt x="1680210" y="3133077"/>
                </a:lnTo>
                <a:lnTo>
                  <a:pt x="1652092" y="3133077"/>
                </a:lnTo>
                <a:lnTo>
                  <a:pt x="1652092" y="3161195"/>
                </a:lnTo>
                <a:lnTo>
                  <a:pt x="1623974" y="3161195"/>
                </a:lnTo>
                <a:lnTo>
                  <a:pt x="1623974" y="3189313"/>
                </a:lnTo>
                <a:lnTo>
                  <a:pt x="1652092" y="3189313"/>
                </a:lnTo>
                <a:lnTo>
                  <a:pt x="1652092" y="3217431"/>
                </a:lnTo>
                <a:lnTo>
                  <a:pt x="1680210" y="3217431"/>
                </a:lnTo>
                <a:close/>
                <a:moveTo>
                  <a:pt x="1542707" y="3216402"/>
                </a:moveTo>
                <a:lnTo>
                  <a:pt x="1542707" y="3188970"/>
                </a:lnTo>
                <a:lnTo>
                  <a:pt x="1570139" y="3188970"/>
                </a:lnTo>
                <a:lnTo>
                  <a:pt x="1570139" y="3161538"/>
                </a:lnTo>
                <a:lnTo>
                  <a:pt x="1542707" y="3161538"/>
                </a:lnTo>
                <a:lnTo>
                  <a:pt x="1542707" y="3134106"/>
                </a:lnTo>
                <a:lnTo>
                  <a:pt x="1515275" y="3134106"/>
                </a:lnTo>
                <a:lnTo>
                  <a:pt x="1515275" y="3161538"/>
                </a:lnTo>
                <a:lnTo>
                  <a:pt x="1487843" y="3161538"/>
                </a:lnTo>
                <a:lnTo>
                  <a:pt x="1487843" y="3188970"/>
                </a:lnTo>
                <a:lnTo>
                  <a:pt x="1515275" y="3188970"/>
                </a:lnTo>
                <a:lnTo>
                  <a:pt x="1515275" y="3216402"/>
                </a:lnTo>
                <a:lnTo>
                  <a:pt x="1542707" y="3216402"/>
                </a:lnTo>
                <a:close/>
                <a:moveTo>
                  <a:pt x="1610258" y="3350476"/>
                </a:moveTo>
                <a:lnTo>
                  <a:pt x="1610258" y="3325101"/>
                </a:lnTo>
                <a:lnTo>
                  <a:pt x="1635633" y="3325101"/>
                </a:lnTo>
                <a:lnTo>
                  <a:pt x="1635633" y="3299727"/>
                </a:lnTo>
                <a:lnTo>
                  <a:pt x="1610258" y="3299727"/>
                </a:lnTo>
                <a:lnTo>
                  <a:pt x="1610258" y="3274352"/>
                </a:lnTo>
                <a:lnTo>
                  <a:pt x="1584884" y="3274352"/>
                </a:lnTo>
                <a:lnTo>
                  <a:pt x="1584884" y="3299727"/>
                </a:lnTo>
                <a:lnTo>
                  <a:pt x="1559509" y="3299727"/>
                </a:lnTo>
                <a:lnTo>
                  <a:pt x="1559509" y="3325101"/>
                </a:lnTo>
                <a:lnTo>
                  <a:pt x="1584884" y="3325101"/>
                </a:lnTo>
                <a:lnTo>
                  <a:pt x="1584884" y="3350476"/>
                </a:lnTo>
                <a:lnTo>
                  <a:pt x="1610258" y="3350476"/>
                </a:lnTo>
                <a:close/>
                <a:moveTo>
                  <a:pt x="1405204" y="3215030"/>
                </a:moveTo>
                <a:lnTo>
                  <a:pt x="1405204" y="3188627"/>
                </a:lnTo>
                <a:lnTo>
                  <a:pt x="1431607" y="3188627"/>
                </a:lnTo>
                <a:lnTo>
                  <a:pt x="1431607" y="3161881"/>
                </a:lnTo>
                <a:lnTo>
                  <a:pt x="1405204" y="3161881"/>
                </a:lnTo>
                <a:lnTo>
                  <a:pt x="1405204" y="3135478"/>
                </a:lnTo>
                <a:lnTo>
                  <a:pt x="1378458" y="3135478"/>
                </a:lnTo>
                <a:lnTo>
                  <a:pt x="1378458" y="3161881"/>
                </a:lnTo>
                <a:lnTo>
                  <a:pt x="1352055" y="3161881"/>
                </a:lnTo>
                <a:lnTo>
                  <a:pt x="1352055" y="3188627"/>
                </a:lnTo>
                <a:lnTo>
                  <a:pt x="1378458" y="3188627"/>
                </a:lnTo>
                <a:lnTo>
                  <a:pt x="1378458" y="3215030"/>
                </a:lnTo>
                <a:lnTo>
                  <a:pt x="1405204" y="3215030"/>
                </a:lnTo>
                <a:close/>
                <a:moveTo>
                  <a:pt x="1172718" y="803415"/>
                </a:moveTo>
                <a:lnTo>
                  <a:pt x="1172718" y="830161"/>
                </a:lnTo>
                <a:lnTo>
                  <a:pt x="1145972" y="830161"/>
                </a:lnTo>
                <a:lnTo>
                  <a:pt x="1145972" y="856907"/>
                </a:lnTo>
                <a:lnTo>
                  <a:pt x="1172718" y="856907"/>
                </a:lnTo>
                <a:lnTo>
                  <a:pt x="1172718" y="883653"/>
                </a:lnTo>
                <a:lnTo>
                  <a:pt x="1199464" y="883653"/>
                </a:lnTo>
                <a:lnTo>
                  <a:pt x="1199464" y="856907"/>
                </a:lnTo>
                <a:lnTo>
                  <a:pt x="1226210" y="856907"/>
                </a:lnTo>
                <a:lnTo>
                  <a:pt x="1226210" y="830161"/>
                </a:lnTo>
                <a:lnTo>
                  <a:pt x="1199464" y="830161"/>
                </a:lnTo>
                <a:lnTo>
                  <a:pt x="1199464" y="803415"/>
                </a:lnTo>
                <a:lnTo>
                  <a:pt x="1172718" y="803415"/>
                </a:lnTo>
                <a:close/>
                <a:moveTo>
                  <a:pt x="1241984" y="668312"/>
                </a:moveTo>
                <a:lnTo>
                  <a:pt x="1241984" y="693687"/>
                </a:lnTo>
                <a:lnTo>
                  <a:pt x="1216609" y="693687"/>
                </a:lnTo>
                <a:lnTo>
                  <a:pt x="1216609" y="719061"/>
                </a:lnTo>
                <a:lnTo>
                  <a:pt x="1241984" y="719061"/>
                </a:lnTo>
                <a:lnTo>
                  <a:pt x="1241984" y="744436"/>
                </a:lnTo>
                <a:lnTo>
                  <a:pt x="1267358" y="744436"/>
                </a:lnTo>
                <a:lnTo>
                  <a:pt x="1267358" y="719061"/>
                </a:lnTo>
                <a:lnTo>
                  <a:pt x="1292733" y="719061"/>
                </a:lnTo>
                <a:lnTo>
                  <a:pt x="1292733" y="693687"/>
                </a:lnTo>
                <a:lnTo>
                  <a:pt x="1267358" y="693687"/>
                </a:lnTo>
                <a:lnTo>
                  <a:pt x="1267358" y="668312"/>
                </a:lnTo>
                <a:lnTo>
                  <a:pt x="1241984" y="668312"/>
                </a:lnTo>
                <a:close/>
                <a:moveTo>
                  <a:pt x="1309192" y="801357"/>
                </a:moveTo>
                <a:lnTo>
                  <a:pt x="1309192" y="829475"/>
                </a:lnTo>
                <a:lnTo>
                  <a:pt x="1281074" y="829475"/>
                </a:lnTo>
                <a:lnTo>
                  <a:pt x="1281074" y="857593"/>
                </a:lnTo>
                <a:lnTo>
                  <a:pt x="1309192" y="857593"/>
                </a:lnTo>
                <a:lnTo>
                  <a:pt x="1309192" y="885711"/>
                </a:lnTo>
                <a:lnTo>
                  <a:pt x="1337310" y="885711"/>
                </a:lnTo>
                <a:lnTo>
                  <a:pt x="1337310" y="857593"/>
                </a:lnTo>
                <a:lnTo>
                  <a:pt x="1365428" y="857593"/>
                </a:lnTo>
                <a:lnTo>
                  <a:pt x="1365428" y="829475"/>
                </a:lnTo>
                <a:lnTo>
                  <a:pt x="1337310" y="829475"/>
                </a:lnTo>
                <a:lnTo>
                  <a:pt x="1337310" y="801357"/>
                </a:lnTo>
                <a:lnTo>
                  <a:pt x="1309192" y="801357"/>
                </a:lnTo>
                <a:close/>
                <a:moveTo>
                  <a:pt x="1103452" y="938517"/>
                </a:moveTo>
                <a:lnTo>
                  <a:pt x="1103452" y="966635"/>
                </a:lnTo>
                <a:lnTo>
                  <a:pt x="1075334" y="966635"/>
                </a:lnTo>
                <a:lnTo>
                  <a:pt x="1075334" y="994753"/>
                </a:lnTo>
                <a:lnTo>
                  <a:pt x="1103452" y="994753"/>
                </a:lnTo>
                <a:lnTo>
                  <a:pt x="1103452" y="1022871"/>
                </a:lnTo>
                <a:lnTo>
                  <a:pt x="1131570" y="1022871"/>
                </a:lnTo>
                <a:lnTo>
                  <a:pt x="1131570" y="994753"/>
                </a:lnTo>
                <a:lnTo>
                  <a:pt x="1159688" y="994753"/>
                </a:lnTo>
                <a:lnTo>
                  <a:pt x="1159688" y="966635"/>
                </a:lnTo>
                <a:lnTo>
                  <a:pt x="1131570" y="966635"/>
                </a:lnTo>
                <a:lnTo>
                  <a:pt x="1131570" y="938517"/>
                </a:lnTo>
                <a:lnTo>
                  <a:pt x="1103452" y="938517"/>
                </a:lnTo>
                <a:close/>
                <a:moveTo>
                  <a:pt x="581215" y="2389670"/>
                </a:moveTo>
                <a:lnTo>
                  <a:pt x="581215" y="2364638"/>
                </a:lnTo>
                <a:lnTo>
                  <a:pt x="606247" y="2364638"/>
                </a:lnTo>
                <a:lnTo>
                  <a:pt x="606247" y="2339950"/>
                </a:lnTo>
                <a:lnTo>
                  <a:pt x="581215" y="2339950"/>
                </a:lnTo>
                <a:lnTo>
                  <a:pt x="581215" y="2314918"/>
                </a:lnTo>
                <a:lnTo>
                  <a:pt x="556527" y="2314918"/>
                </a:lnTo>
                <a:lnTo>
                  <a:pt x="556527" y="2339950"/>
                </a:lnTo>
                <a:lnTo>
                  <a:pt x="531495" y="2339950"/>
                </a:lnTo>
                <a:lnTo>
                  <a:pt x="531495" y="2364638"/>
                </a:lnTo>
                <a:lnTo>
                  <a:pt x="556527" y="2364638"/>
                </a:lnTo>
                <a:lnTo>
                  <a:pt x="556527" y="2389670"/>
                </a:lnTo>
                <a:lnTo>
                  <a:pt x="581215" y="2389670"/>
                </a:lnTo>
                <a:close/>
                <a:moveTo>
                  <a:pt x="1036244" y="805472"/>
                </a:moveTo>
                <a:lnTo>
                  <a:pt x="1036244" y="830847"/>
                </a:lnTo>
                <a:lnTo>
                  <a:pt x="1010869" y="830847"/>
                </a:lnTo>
                <a:lnTo>
                  <a:pt x="1010869" y="856221"/>
                </a:lnTo>
                <a:lnTo>
                  <a:pt x="1036244" y="856221"/>
                </a:lnTo>
                <a:lnTo>
                  <a:pt x="1036244" y="881596"/>
                </a:lnTo>
                <a:lnTo>
                  <a:pt x="1061618" y="881596"/>
                </a:lnTo>
                <a:lnTo>
                  <a:pt x="1061618" y="856221"/>
                </a:lnTo>
                <a:lnTo>
                  <a:pt x="1086993" y="856221"/>
                </a:lnTo>
                <a:lnTo>
                  <a:pt x="1086993" y="830847"/>
                </a:lnTo>
                <a:lnTo>
                  <a:pt x="1061618" y="830847"/>
                </a:lnTo>
                <a:lnTo>
                  <a:pt x="1061618" y="805472"/>
                </a:lnTo>
                <a:lnTo>
                  <a:pt x="1036244" y="805472"/>
                </a:lnTo>
                <a:close/>
                <a:moveTo>
                  <a:pt x="1515275" y="665226"/>
                </a:moveTo>
                <a:lnTo>
                  <a:pt x="1515275" y="692658"/>
                </a:lnTo>
                <a:lnTo>
                  <a:pt x="1487843" y="692658"/>
                </a:lnTo>
                <a:lnTo>
                  <a:pt x="1487843" y="720090"/>
                </a:lnTo>
                <a:lnTo>
                  <a:pt x="1515275" y="720090"/>
                </a:lnTo>
                <a:lnTo>
                  <a:pt x="1515275" y="747522"/>
                </a:lnTo>
                <a:lnTo>
                  <a:pt x="1542707" y="747522"/>
                </a:lnTo>
                <a:lnTo>
                  <a:pt x="1542707" y="720090"/>
                </a:lnTo>
                <a:lnTo>
                  <a:pt x="1570139" y="720090"/>
                </a:lnTo>
                <a:lnTo>
                  <a:pt x="1570139" y="692658"/>
                </a:lnTo>
                <a:lnTo>
                  <a:pt x="1542707" y="692658"/>
                </a:lnTo>
                <a:lnTo>
                  <a:pt x="1542707" y="665226"/>
                </a:lnTo>
                <a:lnTo>
                  <a:pt x="1515275" y="665226"/>
                </a:lnTo>
                <a:close/>
                <a:moveTo>
                  <a:pt x="1650035" y="932688"/>
                </a:moveTo>
                <a:lnTo>
                  <a:pt x="1650035" y="964578"/>
                </a:lnTo>
                <a:lnTo>
                  <a:pt x="1618145" y="964578"/>
                </a:lnTo>
                <a:lnTo>
                  <a:pt x="1618145" y="996810"/>
                </a:lnTo>
                <a:lnTo>
                  <a:pt x="1650035" y="996810"/>
                </a:lnTo>
                <a:lnTo>
                  <a:pt x="1650035" y="1028700"/>
                </a:lnTo>
                <a:lnTo>
                  <a:pt x="1682267" y="1028700"/>
                </a:lnTo>
                <a:lnTo>
                  <a:pt x="1682267" y="996810"/>
                </a:lnTo>
                <a:lnTo>
                  <a:pt x="1714157" y="996810"/>
                </a:lnTo>
                <a:lnTo>
                  <a:pt x="1714157" y="964578"/>
                </a:lnTo>
                <a:lnTo>
                  <a:pt x="1682267" y="964578"/>
                </a:lnTo>
                <a:lnTo>
                  <a:pt x="1682267" y="932688"/>
                </a:lnTo>
                <a:lnTo>
                  <a:pt x="1650035" y="932688"/>
                </a:lnTo>
                <a:close/>
                <a:moveTo>
                  <a:pt x="1448067" y="532524"/>
                </a:moveTo>
                <a:lnTo>
                  <a:pt x="1448067" y="556870"/>
                </a:lnTo>
                <a:lnTo>
                  <a:pt x="1423721" y="556870"/>
                </a:lnTo>
                <a:lnTo>
                  <a:pt x="1423721" y="581558"/>
                </a:lnTo>
                <a:lnTo>
                  <a:pt x="1448067" y="581558"/>
                </a:lnTo>
                <a:lnTo>
                  <a:pt x="1448067" y="605904"/>
                </a:lnTo>
                <a:lnTo>
                  <a:pt x="1472755" y="605904"/>
                </a:lnTo>
                <a:lnTo>
                  <a:pt x="1472755" y="581558"/>
                </a:lnTo>
                <a:lnTo>
                  <a:pt x="1497101" y="581558"/>
                </a:lnTo>
                <a:lnTo>
                  <a:pt x="1497101" y="556870"/>
                </a:lnTo>
                <a:lnTo>
                  <a:pt x="1472755" y="556870"/>
                </a:lnTo>
                <a:lnTo>
                  <a:pt x="1472755" y="532524"/>
                </a:lnTo>
                <a:lnTo>
                  <a:pt x="1448067" y="532524"/>
                </a:lnTo>
                <a:close/>
                <a:moveTo>
                  <a:pt x="1378458" y="666598"/>
                </a:moveTo>
                <a:lnTo>
                  <a:pt x="1378458" y="693001"/>
                </a:lnTo>
                <a:lnTo>
                  <a:pt x="1352055" y="693001"/>
                </a:lnTo>
                <a:lnTo>
                  <a:pt x="1352055" y="719747"/>
                </a:lnTo>
                <a:lnTo>
                  <a:pt x="1378458" y="719747"/>
                </a:lnTo>
                <a:lnTo>
                  <a:pt x="1378458" y="746150"/>
                </a:lnTo>
                <a:lnTo>
                  <a:pt x="1405204" y="746150"/>
                </a:lnTo>
                <a:lnTo>
                  <a:pt x="1405204" y="719747"/>
                </a:lnTo>
                <a:lnTo>
                  <a:pt x="1431607" y="719747"/>
                </a:lnTo>
                <a:lnTo>
                  <a:pt x="1431607" y="693001"/>
                </a:lnTo>
                <a:lnTo>
                  <a:pt x="1405204" y="693001"/>
                </a:lnTo>
                <a:lnTo>
                  <a:pt x="1405204" y="666598"/>
                </a:lnTo>
                <a:lnTo>
                  <a:pt x="1378458" y="666598"/>
                </a:lnTo>
                <a:close/>
                <a:moveTo>
                  <a:pt x="967321" y="941261"/>
                </a:moveTo>
                <a:lnTo>
                  <a:pt x="967321" y="967664"/>
                </a:lnTo>
                <a:lnTo>
                  <a:pt x="940918" y="967664"/>
                </a:lnTo>
                <a:lnTo>
                  <a:pt x="940918" y="993724"/>
                </a:lnTo>
                <a:lnTo>
                  <a:pt x="967321" y="993724"/>
                </a:lnTo>
                <a:lnTo>
                  <a:pt x="967321" y="1020128"/>
                </a:lnTo>
                <a:lnTo>
                  <a:pt x="993381" y="1020128"/>
                </a:lnTo>
                <a:lnTo>
                  <a:pt x="993381" y="993724"/>
                </a:lnTo>
                <a:lnTo>
                  <a:pt x="1019785" y="993724"/>
                </a:lnTo>
                <a:lnTo>
                  <a:pt x="1019785" y="967664"/>
                </a:lnTo>
                <a:lnTo>
                  <a:pt x="993381" y="967664"/>
                </a:lnTo>
                <a:lnTo>
                  <a:pt x="993381" y="941261"/>
                </a:lnTo>
                <a:lnTo>
                  <a:pt x="967321" y="941261"/>
                </a:lnTo>
                <a:close/>
                <a:moveTo>
                  <a:pt x="556527" y="1491958"/>
                </a:moveTo>
                <a:lnTo>
                  <a:pt x="556527" y="1516990"/>
                </a:lnTo>
                <a:lnTo>
                  <a:pt x="531495" y="1516990"/>
                </a:lnTo>
                <a:lnTo>
                  <a:pt x="531495" y="1541678"/>
                </a:lnTo>
                <a:lnTo>
                  <a:pt x="556527" y="1541678"/>
                </a:lnTo>
                <a:lnTo>
                  <a:pt x="556527" y="1566710"/>
                </a:lnTo>
                <a:lnTo>
                  <a:pt x="581215" y="1566710"/>
                </a:lnTo>
                <a:lnTo>
                  <a:pt x="581215" y="1541678"/>
                </a:lnTo>
                <a:lnTo>
                  <a:pt x="606247" y="1541678"/>
                </a:lnTo>
                <a:lnTo>
                  <a:pt x="606247" y="1516990"/>
                </a:lnTo>
                <a:lnTo>
                  <a:pt x="581215" y="1516990"/>
                </a:lnTo>
                <a:lnTo>
                  <a:pt x="581215" y="1491958"/>
                </a:lnTo>
                <a:lnTo>
                  <a:pt x="556527" y="1491958"/>
                </a:lnTo>
                <a:close/>
                <a:moveTo>
                  <a:pt x="512635" y="1977847"/>
                </a:moveTo>
                <a:lnTo>
                  <a:pt x="512635" y="1953158"/>
                </a:lnTo>
                <a:lnTo>
                  <a:pt x="537324" y="1953158"/>
                </a:lnTo>
                <a:lnTo>
                  <a:pt x="537324" y="1928470"/>
                </a:lnTo>
                <a:lnTo>
                  <a:pt x="512635" y="1928470"/>
                </a:lnTo>
                <a:lnTo>
                  <a:pt x="512635" y="1903781"/>
                </a:lnTo>
                <a:lnTo>
                  <a:pt x="487947" y="1903781"/>
                </a:lnTo>
                <a:lnTo>
                  <a:pt x="487947" y="1928470"/>
                </a:lnTo>
                <a:lnTo>
                  <a:pt x="463258" y="1928470"/>
                </a:lnTo>
                <a:lnTo>
                  <a:pt x="463258" y="1953158"/>
                </a:lnTo>
                <a:lnTo>
                  <a:pt x="487947" y="1953158"/>
                </a:lnTo>
                <a:lnTo>
                  <a:pt x="487947" y="1977847"/>
                </a:lnTo>
                <a:lnTo>
                  <a:pt x="512635" y="1977847"/>
                </a:lnTo>
                <a:close/>
                <a:moveTo>
                  <a:pt x="898055" y="1077049"/>
                </a:moveTo>
                <a:lnTo>
                  <a:pt x="898055" y="1104138"/>
                </a:lnTo>
                <a:lnTo>
                  <a:pt x="870966" y="1104138"/>
                </a:lnTo>
                <a:lnTo>
                  <a:pt x="870966" y="1131570"/>
                </a:lnTo>
                <a:lnTo>
                  <a:pt x="898055" y="1131570"/>
                </a:lnTo>
                <a:lnTo>
                  <a:pt x="898055" y="1158659"/>
                </a:lnTo>
                <a:lnTo>
                  <a:pt x="925487" y="1158659"/>
                </a:lnTo>
                <a:lnTo>
                  <a:pt x="925487" y="1131570"/>
                </a:lnTo>
                <a:lnTo>
                  <a:pt x="952576" y="1131570"/>
                </a:lnTo>
                <a:lnTo>
                  <a:pt x="952576" y="1104138"/>
                </a:lnTo>
                <a:lnTo>
                  <a:pt x="925487" y="1104138"/>
                </a:lnTo>
                <a:lnTo>
                  <a:pt x="925487" y="1077049"/>
                </a:lnTo>
                <a:lnTo>
                  <a:pt x="898055" y="1077049"/>
                </a:lnTo>
                <a:close/>
                <a:moveTo>
                  <a:pt x="512293" y="2251481"/>
                </a:moveTo>
                <a:lnTo>
                  <a:pt x="512293" y="2227136"/>
                </a:lnTo>
                <a:lnTo>
                  <a:pt x="536638" y="2227136"/>
                </a:lnTo>
                <a:lnTo>
                  <a:pt x="536638" y="2203133"/>
                </a:lnTo>
                <a:lnTo>
                  <a:pt x="512293" y="2203133"/>
                </a:lnTo>
                <a:lnTo>
                  <a:pt x="512293" y="2178787"/>
                </a:lnTo>
                <a:lnTo>
                  <a:pt x="488290" y="2178787"/>
                </a:lnTo>
                <a:lnTo>
                  <a:pt x="488290" y="2203133"/>
                </a:lnTo>
                <a:lnTo>
                  <a:pt x="463944" y="2203133"/>
                </a:lnTo>
                <a:lnTo>
                  <a:pt x="463944" y="2227136"/>
                </a:lnTo>
                <a:lnTo>
                  <a:pt x="488290" y="2227136"/>
                </a:lnTo>
                <a:lnTo>
                  <a:pt x="488290" y="2251481"/>
                </a:lnTo>
                <a:lnTo>
                  <a:pt x="512293" y="2251481"/>
                </a:lnTo>
                <a:close/>
                <a:moveTo>
                  <a:pt x="488290" y="1630147"/>
                </a:moveTo>
                <a:lnTo>
                  <a:pt x="488290" y="1654493"/>
                </a:lnTo>
                <a:lnTo>
                  <a:pt x="463944" y="1654493"/>
                </a:lnTo>
                <a:lnTo>
                  <a:pt x="463944" y="1678496"/>
                </a:lnTo>
                <a:lnTo>
                  <a:pt x="488290" y="1678496"/>
                </a:lnTo>
                <a:lnTo>
                  <a:pt x="488290" y="1702841"/>
                </a:lnTo>
                <a:lnTo>
                  <a:pt x="512293" y="1702841"/>
                </a:lnTo>
                <a:lnTo>
                  <a:pt x="512293" y="1678496"/>
                </a:lnTo>
                <a:lnTo>
                  <a:pt x="536638" y="1678496"/>
                </a:lnTo>
                <a:lnTo>
                  <a:pt x="536638" y="1654493"/>
                </a:lnTo>
                <a:lnTo>
                  <a:pt x="512293" y="1654493"/>
                </a:lnTo>
                <a:lnTo>
                  <a:pt x="512293" y="1630147"/>
                </a:lnTo>
                <a:lnTo>
                  <a:pt x="488290" y="1630147"/>
                </a:lnTo>
                <a:close/>
                <a:moveTo>
                  <a:pt x="830847" y="944004"/>
                </a:moveTo>
                <a:lnTo>
                  <a:pt x="830847" y="968350"/>
                </a:lnTo>
                <a:lnTo>
                  <a:pt x="806501" y="968350"/>
                </a:lnTo>
                <a:lnTo>
                  <a:pt x="806501" y="993038"/>
                </a:lnTo>
                <a:lnTo>
                  <a:pt x="830847" y="993038"/>
                </a:lnTo>
                <a:lnTo>
                  <a:pt x="830847" y="1017384"/>
                </a:lnTo>
                <a:lnTo>
                  <a:pt x="855535" y="1017384"/>
                </a:lnTo>
                <a:lnTo>
                  <a:pt x="855535" y="993038"/>
                </a:lnTo>
                <a:lnTo>
                  <a:pt x="879881" y="993038"/>
                </a:lnTo>
                <a:lnTo>
                  <a:pt x="879881" y="968350"/>
                </a:lnTo>
                <a:lnTo>
                  <a:pt x="855535" y="968350"/>
                </a:lnTo>
                <a:lnTo>
                  <a:pt x="855535" y="944004"/>
                </a:lnTo>
                <a:lnTo>
                  <a:pt x="830847" y="944004"/>
                </a:lnTo>
                <a:close/>
                <a:moveTo>
                  <a:pt x="761924" y="1080135"/>
                </a:moveTo>
                <a:lnTo>
                  <a:pt x="761924" y="1105167"/>
                </a:lnTo>
                <a:lnTo>
                  <a:pt x="736892" y="1105167"/>
                </a:lnTo>
                <a:lnTo>
                  <a:pt x="736892" y="1130541"/>
                </a:lnTo>
                <a:lnTo>
                  <a:pt x="761924" y="1130541"/>
                </a:lnTo>
                <a:lnTo>
                  <a:pt x="761924" y="1155573"/>
                </a:lnTo>
                <a:lnTo>
                  <a:pt x="787298" y="1155573"/>
                </a:lnTo>
                <a:lnTo>
                  <a:pt x="787298" y="1130541"/>
                </a:lnTo>
                <a:lnTo>
                  <a:pt x="812330" y="1130541"/>
                </a:lnTo>
                <a:lnTo>
                  <a:pt x="812330" y="1105167"/>
                </a:lnTo>
                <a:lnTo>
                  <a:pt x="787298" y="1105167"/>
                </a:lnTo>
                <a:lnTo>
                  <a:pt x="787298" y="1080135"/>
                </a:lnTo>
                <a:lnTo>
                  <a:pt x="761924" y="1080135"/>
                </a:lnTo>
                <a:close/>
                <a:moveTo>
                  <a:pt x="624764" y="1354112"/>
                </a:moveTo>
                <a:lnTo>
                  <a:pt x="624764" y="1379487"/>
                </a:lnTo>
                <a:lnTo>
                  <a:pt x="599389" y="1379487"/>
                </a:lnTo>
                <a:lnTo>
                  <a:pt x="599389" y="1404861"/>
                </a:lnTo>
                <a:lnTo>
                  <a:pt x="624764" y="1404861"/>
                </a:lnTo>
                <a:lnTo>
                  <a:pt x="624764" y="1430236"/>
                </a:lnTo>
                <a:lnTo>
                  <a:pt x="650138" y="1430236"/>
                </a:lnTo>
                <a:lnTo>
                  <a:pt x="650138" y="1404861"/>
                </a:lnTo>
                <a:lnTo>
                  <a:pt x="675513" y="1404861"/>
                </a:lnTo>
                <a:lnTo>
                  <a:pt x="675513" y="1379487"/>
                </a:lnTo>
                <a:lnTo>
                  <a:pt x="650138" y="1379487"/>
                </a:lnTo>
                <a:lnTo>
                  <a:pt x="650138" y="1354112"/>
                </a:lnTo>
                <a:lnTo>
                  <a:pt x="624764" y="1354112"/>
                </a:lnTo>
                <a:close/>
                <a:moveTo>
                  <a:pt x="693344" y="1216952"/>
                </a:moveTo>
                <a:lnTo>
                  <a:pt x="693344" y="1242327"/>
                </a:lnTo>
                <a:lnTo>
                  <a:pt x="667969" y="1242327"/>
                </a:lnTo>
                <a:lnTo>
                  <a:pt x="667969" y="1267701"/>
                </a:lnTo>
                <a:lnTo>
                  <a:pt x="693344" y="1267701"/>
                </a:lnTo>
                <a:lnTo>
                  <a:pt x="693344" y="1293076"/>
                </a:lnTo>
                <a:lnTo>
                  <a:pt x="718718" y="1293076"/>
                </a:lnTo>
                <a:lnTo>
                  <a:pt x="718718" y="1267701"/>
                </a:lnTo>
                <a:lnTo>
                  <a:pt x="744093" y="1267701"/>
                </a:lnTo>
                <a:lnTo>
                  <a:pt x="744093" y="1242327"/>
                </a:lnTo>
                <a:lnTo>
                  <a:pt x="718718" y="1242327"/>
                </a:lnTo>
                <a:lnTo>
                  <a:pt x="718718" y="1216952"/>
                </a:lnTo>
                <a:lnTo>
                  <a:pt x="693344" y="1216952"/>
                </a:lnTo>
                <a:close/>
                <a:moveTo>
                  <a:pt x="3577819" y="1280732"/>
                </a:moveTo>
                <a:lnTo>
                  <a:pt x="3594964" y="1280732"/>
                </a:lnTo>
                <a:lnTo>
                  <a:pt x="3594964" y="1263587"/>
                </a:lnTo>
                <a:lnTo>
                  <a:pt x="3612109" y="1263587"/>
                </a:lnTo>
                <a:lnTo>
                  <a:pt x="3612109" y="1246442"/>
                </a:lnTo>
                <a:lnTo>
                  <a:pt x="3594964" y="1246442"/>
                </a:lnTo>
                <a:lnTo>
                  <a:pt x="3594964" y="1229297"/>
                </a:lnTo>
                <a:lnTo>
                  <a:pt x="3577819" y="1229297"/>
                </a:lnTo>
                <a:lnTo>
                  <a:pt x="3577819" y="1246442"/>
                </a:lnTo>
                <a:lnTo>
                  <a:pt x="3560674" y="1246442"/>
                </a:lnTo>
                <a:lnTo>
                  <a:pt x="3560674" y="1263587"/>
                </a:lnTo>
                <a:lnTo>
                  <a:pt x="3577819" y="1263587"/>
                </a:lnTo>
                <a:lnTo>
                  <a:pt x="3577819" y="1280732"/>
                </a:lnTo>
                <a:close/>
                <a:moveTo>
                  <a:pt x="3507867" y="1421663"/>
                </a:moveTo>
                <a:lnTo>
                  <a:pt x="3527755" y="1421663"/>
                </a:lnTo>
                <a:lnTo>
                  <a:pt x="3527755" y="1402118"/>
                </a:lnTo>
                <a:lnTo>
                  <a:pt x="3547301" y="1402118"/>
                </a:lnTo>
                <a:lnTo>
                  <a:pt x="3547301" y="1382230"/>
                </a:lnTo>
                <a:lnTo>
                  <a:pt x="3527755" y="1382230"/>
                </a:lnTo>
                <a:lnTo>
                  <a:pt x="3527755" y="1362685"/>
                </a:lnTo>
                <a:lnTo>
                  <a:pt x="3507867" y="1362685"/>
                </a:lnTo>
                <a:lnTo>
                  <a:pt x="3507867" y="1382230"/>
                </a:lnTo>
                <a:lnTo>
                  <a:pt x="3488322" y="1382230"/>
                </a:lnTo>
                <a:lnTo>
                  <a:pt x="3488322" y="1402118"/>
                </a:lnTo>
                <a:lnTo>
                  <a:pt x="3507867" y="1402118"/>
                </a:lnTo>
                <a:lnTo>
                  <a:pt x="3507867" y="1421663"/>
                </a:lnTo>
                <a:close/>
                <a:moveTo>
                  <a:pt x="3509239" y="1143572"/>
                </a:moveTo>
                <a:lnTo>
                  <a:pt x="3526384" y="1143572"/>
                </a:lnTo>
                <a:lnTo>
                  <a:pt x="3526384" y="1126427"/>
                </a:lnTo>
                <a:lnTo>
                  <a:pt x="3543529" y="1126427"/>
                </a:lnTo>
                <a:lnTo>
                  <a:pt x="3543529" y="1109282"/>
                </a:lnTo>
                <a:lnTo>
                  <a:pt x="3526384" y="1109282"/>
                </a:lnTo>
                <a:lnTo>
                  <a:pt x="3526384" y="1092137"/>
                </a:lnTo>
                <a:lnTo>
                  <a:pt x="3509239" y="1092137"/>
                </a:lnTo>
                <a:lnTo>
                  <a:pt x="3509239" y="1109282"/>
                </a:lnTo>
                <a:lnTo>
                  <a:pt x="3492094" y="1109282"/>
                </a:lnTo>
                <a:lnTo>
                  <a:pt x="3492094" y="1126427"/>
                </a:lnTo>
                <a:lnTo>
                  <a:pt x="3509239" y="1126427"/>
                </a:lnTo>
                <a:lnTo>
                  <a:pt x="3509239" y="1143572"/>
                </a:lnTo>
                <a:close/>
                <a:moveTo>
                  <a:pt x="3510953" y="864108"/>
                </a:moveTo>
                <a:lnTo>
                  <a:pt x="3524669" y="864108"/>
                </a:lnTo>
                <a:lnTo>
                  <a:pt x="3524669" y="850392"/>
                </a:lnTo>
                <a:lnTo>
                  <a:pt x="3538385" y="850392"/>
                </a:lnTo>
                <a:lnTo>
                  <a:pt x="3538385" y="836676"/>
                </a:lnTo>
                <a:lnTo>
                  <a:pt x="3524669" y="836676"/>
                </a:lnTo>
                <a:lnTo>
                  <a:pt x="3524669" y="822960"/>
                </a:lnTo>
                <a:lnTo>
                  <a:pt x="3510953" y="822960"/>
                </a:lnTo>
                <a:lnTo>
                  <a:pt x="3510953" y="836676"/>
                </a:lnTo>
                <a:lnTo>
                  <a:pt x="3497237" y="836676"/>
                </a:lnTo>
                <a:lnTo>
                  <a:pt x="3497237" y="850392"/>
                </a:lnTo>
                <a:lnTo>
                  <a:pt x="3510953" y="850392"/>
                </a:lnTo>
                <a:lnTo>
                  <a:pt x="3510953" y="864108"/>
                </a:lnTo>
                <a:close/>
                <a:moveTo>
                  <a:pt x="3507181" y="1698384"/>
                </a:moveTo>
                <a:lnTo>
                  <a:pt x="3528441" y="1698384"/>
                </a:lnTo>
                <a:lnTo>
                  <a:pt x="3528441" y="1677124"/>
                </a:lnTo>
                <a:lnTo>
                  <a:pt x="3549701" y="1677124"/>
                </a:lnTo>
                <a:lnTo>
                  <a:pt x="3549701" y="1655864"/>
                </a:lnTo>
                <a:lnTo>
                  <a:pt x="3528441" y="1655864"/>
                </a:lnTo>
                <a:lnTo>
                  <a:pt x="3528441" y="1634604"/>
                </a:lnTo>
                <a:lnTo>
                  <a:pt x="3507181" y="1634604"/>
                </a:lnTo>
                <a:lnTo>
                  <a:pt x="3507181" y="1655864"/>
                </a:lnTo>
                <a:lnTo>
                  <a:pt x="3485921" y="1655864"/>
                </a:lnTo>
                <a:lnTo>
                  <a:pt x="3485921" y="1677124"/>
                </a:lnTo>
                <a:lnTo>
                  <a:pt x="3507181" y="1677124"/>
                </a:lnTo>
                <a:lnTo>
                  <a:pt x="3507181" y="1698384"/>
                </a:lnTo>
                <a:close/>
                <a:moveTo>
                  <a:pt x="1652092" y="664540"/>
                </a:moveTo>
                <a:lnTo>
                  <a:pt x="1652092" y="692315"/>
                </a:lnTo>
                <a:lnTo>
                  <a:pt x="1624317" y="692315"/>
                </a:lnTo>
                <a:lnTo>
                  <a:pt x="1624317" y="720433"/>
                </a:lnTo>
                <a:lnTo>
                  <a:pt x="1652092" y="720433"/>
                </a:lnTo>
                <a:lnTo>
                  <a:pt x="1652092" y="748208"/>
                </a:lnTo>
                <a:lnTo>
                  <a:pt x="1680210" y="748208"/>
                </a:lnTo>
                <a:lnTo>
                  <a:pt x="1680210" y="720433"/>
                </a:lnTo>
                <a:lnTo>
                  <a:pt x="1707985" y="720433"/>
                </a:lnTo>
                <a:lnTo>
                  <a:pt x="1707985" y="692315"/>
                </a:lnTo>
                <a:lnTo>
                  <a:pt x="1680210" y="692315"/>
                </a:lnTo>
                <a:lnTo>
                  <a:pt x="1680210" y="664540"/>
                </a:lnTo>
                <a:lnTo>
                  <a:pt x="1652092" y="664540"/>
                </a:lnTo>
                <a:close/>
                <a:moveTo>
                  <a:pt x="3576790" y="1557795"/>
                </a:moveTo>
                <a:lnTo>
                  <a:pt x="3595993" y="1557795"/>
                </a:lnTo>
                <a:lnTo>
                  <a:pt x="3595993" y="1538935"/>
                </a:lnTo>
                <a:lnTo>
                  <a:pt x="3614852" y="1538935"/>
                </a:lnTo>
                <a:lnTo>
                  <a:pt x="3614852" y="1519733"/>
                </a:lnTo>
                <a:lnTo>
                  <a:pt x="3595993" y="1519733"/>
                </a:lnTo>
                <a:lnTo>
                  <a:pt x="3595993" y="1500873"/>
                </a:lnTo>
                <a:lnTo>
                  <a:pt x="3576790" y="1500873"/>
                </a:lnTo>
                <a:lnTo>
                  <a:pt x="3576790" y="1519733"/>
                </a:lnTo>
                <a:lnTo>
                  <a:pt x="3557930" y="1519733"/>
                </a:lnTo>
                <a:lnTo>
                  <a:pt x="3557930" y="1538935"/>
                </a:lnTo>
                <a:lnTo>
                  <a:pt x="3576790" y="1538935"/>
                </a:lnTo>
                <a:lnTo>
                  <a:pt x="3576790" y="1557795"/>
                </a:lnTo>
                <a:close/>
                <a:moveTo>
                  <a:pt x="3439287" y="1284846"/>
                </a:moveTo>
                <a:lnTo>
                  <a:pt x="3459175" y="1284846"/>
                </a:lnTo>
                <a:lnTo>
                  <a:pt x="3459175" y="1264958"/>
                </a:lnTo>
                <a:lnTo>
                  <a:pt x="3479063" y="1264958"/>
                </a:lnTo>
                <a:lnTo>
                  <a:pt x="3479063" y="1245070"/>
                </a:lnTo>
                <a:lnTo>
                  <a:pt x="3459175" y="1245070"/>
                </a:lnTo>
                <a:lnTo>
                  <a:pt x="3459175" y="1225182"/>
                </a:lnTo>
                <a:lnTo>
                  <a:pt x="3439287" y="1225182"/>
                </a:lnTo>
                <a:lnTo>
                  <a:pt x="3439287" y="1245070"/>
                </a:lnTo>
                <a:lnTo>
                  <a:pt x="3419399" y="1245070"/>
                </a:lnTo>
                <a:lnTo>
                  <a:pt x="3419399" y="1264958"/>
                </a:lnTo>
                <a:lnTo>
                  <a:pt x="3439287" y="1264958"/>
                </a:lnTo>
                <a:lnTo>
                  <a:pt x="3439287" y="1284846"/>
                </a:lnTo>
                <a:close/>
                <a:moveTo>
                  <a:pt x="3438259" y="1562595"/>
                </a:moveTo>
                <a:lnTo>
                  <a:pt x="3460204" y="1562595"/>
                </a:lnTo>
                <a:lnTo>
                  <a:pt x="3460204" y="1540307"/>
                </a:lnTo>
                <a:lnTo>
                  <a:pt x="3482492" y="1540307"/>
                </a:lnTo>
                <a:lnTo>
                  <a:pt x="3482492" y="1518361"/>
                </a:lnTo>
                <a:lnTo>
                  <a:pt x="3460204" y="1518361"/>
                </a:lnTo>
                <a:lnTo>
                  <a:pt x="3460204" y="1496073"/>
                </a:lnTo>
                <a:lnTo>
                  <a:pt x="3438259" y="1496073"/>
                </a:lnTo>
                <a:lnTo>
                  <a:pt x="3438259" y="1518361"/>
                </a:lnTo>
                <a:lnTo>
                  <a:pt x="3415970" y="1518361"/>
                </a:lnTo>
                <a:lnTo>
                  <a:pt x="3415970" y="1540307"/>
                </a:lnTo>
                <a:lnTo>
                  <a:pt x="3438259" y="1540307"/>
                </a:lnTo>
                <a:lnTo>
                  <a:pt x="3438259" y="1562595"/>
                </a:lnTo>
                <a:close/>
                <a:moveTo>
                  <a:pt x="3442716" y="725576"/>
                </a:moveTo>
                <a:lnTo>
                  <a:pt x="3455746" y="725576"/>
                </a:lnTo>
                <a:lnTo>
                  <a:pt x="3455746" y="712889"/>
                </a:lnTo>
                <a:lnTo>
                  <a:pt x="3468434" y="712889"/>
                </a:lnTo>
                <a:lnTo>
                  <a:pt x="3468434" y="699859"/>
                </a:lnTo>
                <a:lnTo>
                  <a:pt x="3455746" y="699859"/>
                </a:lnTo>
                <a:lnTo>
                  <a:pt x="3455746" y="687172"/>
                </a:lnTo>
                <a:lnTo>
                  <a:pt x="3442716" y="687172"/>
                </a:lnTo>
                <a:lnTo>
                  <a:pt x="3442716" y="699859"/>
                </a:lnTo>
                <a:lnTo>
                  <a:pt x="3430029" y="699859"/>
                </a:lnTo>
                <a:lnTo>
                  <a:pt x="3430029" y="712889"/>
                </a:lnTo>
                <a:lnTo>
                  <a:pt x="3442716" y="712889"/>
                </a:lnTo>
                <a:lnTo>
                  <a:pt x="3442716" y="725576"/>
                </a:lnTo>
                <a:close/>
                <a:moveTo>
                  <a:pt x="3440659" y="1006069"/>
                </a:moveTo>
                <a:lnTo>
                  <a:pt x="3457804" y="1006069"/>
                </a:lnTo>
                <a:lnTo>
                  <a:pt x="3457804" y="989267"/>
                </a:lnTo>
                <a:lnTo>
                  <a:pt x="3474606" y="989267"/>
                </a:lnTo>
                <a:lnTo>
                  <a:pt x="3474606" y="972122"/>
                </a:lnTo>
                <a:lnTo>
                  <a:pt x="3457804" y="972122"/>
                </a:lnTo>
                <a:lnTo>
                  <a:pt x="3457804" y="955319"/>
                </a:lnTo>
                <a:lnTo>
                  <a:pt x="3440659" y="955319"/>
                </a:lnTo>
                <a:lnTo>
                  <a:pt x="3440659" y="972122"/>
                </a:lnTo>
                <a:lnTo>
                  <a:pt x="3423857" y="972122"/>
                </a:lnTo>
                <a:lnTo>
                  <a:pt x="3423857" y="989267"/>
                </a:lnTo>
                <a:lnTo>
                  <a:pt x="3440659" y="989267"/>
                </a:lnTo>
                <a:lnTo>
                  <a:pt x="3440659" y="1006069"/>
                </a:lnTo>
                <a:close/>
                <a:moveTo>
                  <a:pt x="3579533" y="1001611"/>
                </a:moveTo>
                <a:lnTo>
                  <a:pt x="3593249" y="1001611"/>
                </a:lnTo>
                <a:lnTo>
                  <a:pt x="3593249" y="987552"/>
                </a:lnTo>
                <a:lnTo>
                  <a:pt x="3607308" y="987552"/>
                </a:lnTo>
                <a:lnTo>
                  <a:pt x="3607308" y="973836"/>
                </a:lnTo>
                <a:lnTo>
                  <a:pt x="3593249" y="973836"/>
                </a:lnTo>
                <a:lnTo>
                  <a:pt x="3593249" y="959777"/>
                </a:lnTo>
                <a:lnTo>
                  <a:pt x="3579533" y="959777"/>
                </a:lnTo>
                <a:lnTo>
                  <a:pt x="3579533" y="973836"/>
                </a:lnTo>
                <a:lnTo>
                  <a:pt x="3565474" y="973836"/>
                </a:lnTo>
                <a:lnTo>
                  <a:pt x="3565474" y="987552"/>
                </a:lnTo>
                <a:lnTo>
                  <a:pt x="3579533" y="987552"/>
                </a:lnTo>
                <a:lnTo>
                  <a:pt x="3579533" y="1001611"/>
                </a:lnTo>
                <a:close/>
                <a:moveTo>
                  <a:pt x="3368307" y="1903781"/>
                </a:moveTo>
                <a:lnTo>
                  <a:pt x="3368307" y="1928470"/>
                </a:lnTo>
                <a:lnTo>
                  <a:pt x="3343618" y="1928470"/>
                </a:lnTo>
                <a:lnTo>
                  <a:pt x="3343618" y="1953158"/>
                </a:lnTo>
                <a:lnTo>
                  <a:pt x="3368307" y="1953158"/>
                </a:lnTo>
                <a:lnTo>
                  <a:pt x="3368307" y="1977847"/>
                </a:lnTo>
                <a:lnTo>
                  <a:pt x="3392996" y="1977847"/>
                </a:lnTo>
                <a:lnTo>
                  <a:pt x="3392996" y="1953158"/>
                </a:lnTo>
                <a:lnTo>
                  <a:pt x="3417685" y="1953158"/>
                </a:lnTo>
                <a:lnTo>
                  <a:pt x="3417685" y="1928470"/>
                </a:lnTo>
                <a:lnTo>
                  <a:pt x="3392996" y="1928470"/>
                </a:lnTo>
                <a:lnTo>
                  <a:pt x="3392996" y="1903781"/>
                </a:lnTo>
                <a:lnTo>
                  <a:pt x="3368307" y="1903781"/>
                </a:lnTo>
                <a:close/>
                <a:moveTo>
                  <a:pt x="3716693" y="1275931"/>
                </a:moveTo>
                <a:lnTo>
                  <a:pt x="3730409" y="1275931"/>
                </a:lnTo>
                <a:lnTo>
                  <a:pt x="3730409" y="1261872"/>
                </a:lnTo>
                <a:lnTo>
                  <a:pt x="3744468" y="1261872"/>
                </a:lnTo>
                <a:lnTo>
                  <a:pt x="3744468" y="1248156"/>
                </a:lnTo>
                <a:lnTo>
                  <a:pt x="3730409" y="1248156"/>
                </a:lnTo>
                <a:lnTo>
                  <a:pt x="3730409" y="1234097"/>
                </a:lnTo>
                <a:lnTo>
                  <a:pt x="3716693" y="1234097"/>
                </a:lnTo>
                <a:lnTo>
                  <a:pt x="3716693" y="1248156"/>
                </a:lnTo>
                <a:lnTo>
                  <a:pt x="3702634" y="1248156"/>
                </a:lnTo>
                <a:lnTo>
                  <a:pt x="3702634" y="1261872"/>
                </a:lnTo>
                <a:lnTo>
                  <a:pt x="3716693" y="1261872"/>
                </a:lnTo>
                <a:lnTo>
                  <a:pt x="3716693" y="1275931"/>
                </a:lnTo>
                <a:close/>
                <a:moveTo>
                  <a:pt x="3784588" y="1688783"/>
                </a:moveTo>
                <a:lnTo>
                  <a:pt x="3799675" y="1688783"/>
                </a:lnTo>
                <a:lnTo>
                  <a:pt x="3799675" y="1674038"/>
                </a:lnTo>
                <a:lnTo>
                  <a:pt x="3814420" y="1674038"/>
                </a:lnTo>
                <a:lnTo>
                  <a:pt x="3814420" y="1658950"/>
                </a:lnTo>
                <a:lnTo>
                  <a:pt x="3799675" y="1658950"/>
                </a:lnTo>
                <a:lnTo>
                  <a:pt x="3799675" y="1644206"/>
                </a:lnTo>
                <a:lnTo>
                  <a:pt x="3784588" y="1644206"/>
                </a:lnTo>
                <a:lnTo>
                  <a:pt x="3784588" y="1658950"/>
                </a:lnTo>
                <a:lnTo>
                  <a:pt x="3769843" y="1658950"/>
                </a:lnTo>
                <a:lnTo>
                  <a:pt x="3769843" y="1674038"/>
                </a:lnTo>
                <a:lnTo>
                  <a:pt x="3784588" y="1674038"/>
                </a:lnTo>
                <a:lnTo>
                  <a:pt x="3784588" y="1688783"/>
                </a:lnTo>
                <a:close/>
                <a:moveTo>
                  <a:pt x="3854539" y="1548194"/>
                </a:moveTo>
                <a:lnTo>
                  <a:pt x="3866884" y="1548194"/>
                </a:lnTo>
                <a:lnTo>
                  <a:pt x="3866884" y="1535506"/>
                </a:lnTo>
                <a:lnTo>
                  <a:pt x="3879571" y="1535506"/>
                </a:lnTo>
                <a:lnTo>
                  <a:pt x="3879571" y="1523162"/>
                </a:lnTo>
                <a:lnTo>
                  <a:pt x="3866884" y="1523162"/>
                </a:lnTo>
                <a:lnTo>
                  <a:pt x="3866884" y="1510475"/>
                </a:lnTo>
                <a:lnTo>
                  <a:pt x="3854539" y="1510475"/>
                </a:lnTo>
                <a:lnTo>
                  <a:pt x="3854539" y="1523162"/>
                </a:lnTo>
                <a:lnTo>
                  <a:pt x="3841852" y="1523162"/>
                </a:lnTo>
                <a:lnTo>
                  <a:pt x="3841852" y="1535506"/>
                </a:lnTo>
                <a:lnTo>
                  <a:pt x="3854539" y="1535506"/>
                </a:lnTo>
                <a:lnTo>
                  <a:pt x="3854539" y="1548194"/>
                </a:lnTo>
                <a:close/>
                <a:moveTo>
                  <a:pt x="2091690" y="3217774"/>
                </a:moveTo>
                <a:lnTo>
                  <a:pt x="2091690" y="3189313"/>
                </a:lnTo>
                <a:lnTo>
                  <a:pt x="2120151" y="3189313"/>
                </a:lnTo>
                <a:lnTo>
                  <a:pt x="2120151" y="3161195"/>
                </a:lnTo>
                <a:lnTo>
                  <a:pt x="2091690" y="3161195"/>
                </a:lnTo>
                <a:lnTo>
                  <a:pt x="2091690" y="3132734"/>
                </a:lnTo>
                <a:lnTo>
                  <a:pt x="2063572" y="3132734"/>
                </a:lnTo>
                <a:lnTo>
                  <a:pt x="2063572" y="3161195"/>
                </a:lnTo>
                <a:lnTo>
                  <a:pt x="2035111" y="3161195"/>
                </a:lnTo>
                <a:lnTo>
                  <a:pt x="2035111" y="3189313"/>
                </a:lnTo>
                <a:lnTo>
                  <a:pt x="2063572" y="3189313"/>
                </a:lnTo>
                <a:lnTo>
                  <a:pt x="2063572" y="3217774"/>
                </a:lnTo>
                <a:lnTo>
                  <a:pt x="2091690" y="3217774"/>
                </a:lnTo>
                <a:close/>
                <a:moveTo>
                  <a:pt x="3645713" y="1693926"/>
                </a:moveTo>
                <a:lnTo>
                  <a:pt x="3664229" y="1693926"/>
                </a:lnTo>
                <a:lnTo>
                  <a:pt x="3664229" y="1675752"/>
                </a:lnTo>
                <a:lnTo>
                  <a:pt x="3682403" y="1675752"/>
                </a:lnTo>
                <a:lnTo>
                  <a:pt x="3682403" y="1657236"/>
                </a:lnTo>
                <a:lnTo>
                  <a:pt x="3664229" y="1657236"/>
                </a:lnTo>
                <a:lnTo>
                  <a:pt x="3664229" y="1639062"/>
                </a:lnTo>
                <a:lnTo>
                  <a:pt x="3645713" y="1639062"/>
                </a:lnTo>
                <a:lnTo>
                  <a:pt x="3645713" y="1657236"/>
                </a:lnTo>
                <a:lnTo>
                  <a:pt x="3627539" y="1657236"/>
                </a:lnTo>
                <a:lnTo>
                  <a:pt x="3627539" y="1675752"/>
                </a:lnTo>
                <a:lnTo>
                  <a:pt x="3645713" y="1675752"/>
                </a:lnTo>
                <a:lnTo>
                  <a:pt x="3645713" y="1693926"/>
                </a:lnTo>
                <a:close/>
                <a:moveTo>
                  <a:pt x="3646742" y="1417206"/>
                </a:moveTo>
                <a:lnTo>
                  <a:pt x="3663201" y="1417206"/>
                </a:lnTo>
                <a:lnTo>
                  <a:pt x="3663201" y="1400404"/>
                </a:lnTo>
                <a:lnTo>
                  <a:pt x="3680003" y="1400404"/>
                </a:lnTo>
                <a:lnTo>
                  <a:pt x="3680003" y="1383944"/>
                </a:lnTo>
                <a:lnTo>
                  <a:pt x="3663201" y="1383944"/>
                </a:lnTo>
                <a:lnTo>
                  <a:pt x="3663201" y="1367142"/>
                </a:lnTo>
                <a:lnTo>
                  <a:pt x="3646742" y="1367142"/>
                </a:lnTo>
                <a:lnTo>
                  <a:pt x="3646742" y="1383944"/>
                </a:lnTo>
                <a:lnTo>
                  <a:pt x="3629939" y="1383944"/>
                </a:lnTo>
                <a:lnTo>
                  <a:pt x="3629939" y="1400404"/>
                </a:lnTo>
                <a:lnTo>
                  <a:pt x="3646742" y="1400404"/>
                </a:lnTo>
                <a:lnTo>
                  <a:pt x="3646742" y="1417206"/>
                </a:lnTo>
                <a:close/>
                <a:moveTo>
                  <a:pt x="3715664" y="1552994"/>
                </a:moveTo>
                <a:lnTo>
                  <a:pt x="3731438" y="1552994"/>
                </a:lnTo>
                <a:lnTo>
                  <a:pt x="3731438" y="1537221"/>
                </a:lnTo>
                <a:lnTo>
                  <a:pt x="3747211" y="1537221"/>
                </a:lnTo>
                <a:lnTo>
                  <a:pt x="3747211" y="1521447"/>
                </a:lnTo>
                <a:lnTo>
                  <a:pt x="3731438" y="1521447"/>
                </a:lnTo>
                <a:lnTo>
                  <a:pt x="3731438" y="1505674"/>
                </a:lnTo>
                <a:lnTo>
                  <a:pt x="3715664" y="1505674"/>
                </a:lnTo>
                <a:lnTo>
                  <a:pt x="3715664" y="1521447"/>
                </a:lnTo>
                <a:lnTo>
                  <a:pt x="3699891" y="1521447"/>
                </a:lnTo>
                <a:lnTo>
                  <a:pt x="3699891" y="1537221"/>
                </a:lnTo>
                <a:lnTo>
                  <a:pt x="3715664" y="1537221"/>
                </a:lnTo>
                <a:lnTo>
                  <a:pt x="3715664" y="1552994"/>
                </a:lnTo>
                <a:close/>
                <a:moveTo>
                  <a:pt x="3647770" y="1139114"/>
                </a:moveTo>
                <a:lnTo>
                  <a:pt x="3662172" y="1139114"/>
                </a:lnTo>
                <a:lnTo>
                  <a:pt x="3662172" y="1125055"/>
                </a:lnTo>
                <a:lnTo>
                  <a:pt x="3676231" y="1125055"/>
                </a:lnTo>
                <a:lnTo>
                  <a:pt x="3676231" y="1110653"/>
                </a:lnTo>
                <a:lnTo>
                  <a:pt x="3662172" y="1110653"/>
                </a:lnTo>
                <a:lnTo>
                  <a:pt x="3662172" y="1096594"/>
                </a:lnTo>
                <a:lnTo>
                  <a:pt x="3647770" y="1096594"/>
                </a:lnTo>
                <a:lnTo>
                  <a:pt x="3647770" y="1110653"/>
                </a:lnTo>
                <a:lnTo>
                  <a:pt x="3633712" y="1110653"/>
                </a:lnTo>
                <a:lnTo>
                  <a:pt x="3633712" y="1125055"/>
                </a:lnTo>
                <a:lnTo>
                  <a:pt x="3647770" y="1125055"/>
                </a:lnTo>
                <a:lnTo>
                  <a:pt x="3647770" y="1139114"/>
                </a:lnTo>
                <a:close/>
                <a:moveTo>
                  <a:pt x="3785273" y="1412405"/>
                </a:moveTo>
                <a:lnTo>
                  <a:pt x="3798989" y="1412405"/>
                </a:lnTo>
                <a:lnTo>
                  <a:pt x="3798989" y="1399032"/>
                </a:lnTo>
                <a:lnTo>
                  <a:pt x="3812362" y="1399032"/>
                </a:lnTo>
                <a:lnTo>
                  <a:pt x="3812362" y="1385316"/>
                </a:lnTo>
                <a:lnTo>
                  <a:pt x="3798989" y="1385316"/>
                </a:lnTo>
                <a:lnTo>
                  <a:pt x="3798989" y="1371943"/>
                </a:lnTo>
                <a:lnTo>
                  <a:pt x="3785273" y="1371943"/>
                </a:lnTo>
                <a:lnTo>
                  <a:pt x="3785273" y="1385316"/>
                </a:lnTo>
                <a:lnTo>
                  <a:pt x="3771900" y="1385316"/>
                </a:lnTo>
                <a:lnTo>
                  <a:pt x="3771900" y="1399032"/>
                </a:lnTo>
                <a:lnTo>
                  <a:pt x="3785273" y="1399032"/>
                </a:lnTo>
                <a:lnTo>
                  <a:pt x="3785273" y="1412405"/>
                </a:lnTo>
                <a:close/>
                <a:moveTo>
                  <a:pt x="2571750" y="3080271"/>
                </a:moveTo>
                <a:lnTo>
                  <a:pt x="2571750" y="3052153"/>
                </a:lnTo>
                <a:lnTo>
                  <a:pt x="2599868" y="3052153"/>
                </a:lnTo>
                <a:lnTo>
                  <a:pt x="2599868" y="3024035"/>
                </a:lnTo>
                <a:lnTo>
                  <a:pt x="2571750" y="3024035"/>
                </a:lnTo>
                <a:lnTo>
                  <a:pt x="2571750" y="2995917"/>
                </a:lnTo>
                <a:lnTo>
                  <a:pt x="2543632" y="2995917"/>
                </a:lnTo>
                <a:lnTo>
                  <a:pt x="2543632" y="3024035"/>
                </a:lnTo>
                <a:lnTo>
                  <a:pt x="2515514" y="3024035"/>
                </a:lnTo>
                <a:lnTo>
                  <a:pt x="2515514" y="3052153"/>
                </a:lnTo>
                <a:lnTo>
                  <a:pt x="2543632" y="3052153"/>
                </a:lnTo>
                <a:lnTo>
                  <a:pt x="2543632" y="3080271"/>
                </a:lnTo>
                <a:lnTo>
                  <a:pt x="2571750" y="3080271"/>
                </a:lnTo>
                <a:close/>
                <a:moveTo>
                  <a:pt x="2502142" y="3214688"/>
                </a:moveTo>
                <a:lnTo>
                  <a:pt x="2502142" y="3188284"/>
                </a:lnTo>
                <a:lnTo>
                  <a:pt x="2528545" y="3188284"/>
                </a:lnTo>
                <a:lnTo>
                  <a:pt x="2528545" y="3162224"/>
                </a:lnTo>
                <a:lnTo>
                  <a:pt x="2502142" y="3162224"/>
                </a:lnTo>
                <a:lnTo>
                  <a:pt x="2502142" y="3135821"/>
                </a:lnTo>
                <a:lnTo>
                  <a:pt x="2476081" y="3135821"/>
                </a:lnTo>
                <a:lnTo>
                  <a:pt x="2476081" y="3162224"/>
                </a:lnTo>
                <a:lnTo>
                  <a:pt x="2449678" y="3162224"/>
                </a:lnTo>
                <a:lnTo>
                  <a:pt x="2449678" y="3188284"/>
                </a:lnTo>
                <a:lnTo>
                  <a:pt x="2476081" y="3188284"/>
                </a:lnTo>
                <a:lnTo>
                  <a:pt x="2476081" y="3214688"/>
                </a:lnTo>
                <a:lnTo>
                  <a:pt x="2502142" y="3214688"/>
                </a:lnTo>
                <a:close/>
                <a:moveTo>
                  <a:pt x="2638958" y="3213316"/>
                </a:moveTo>
                <a:lnTo>
                  <a:pt x="2638958" y="3187941"/>
                </a:lnTo>
                <a:lnTo>
                  <a:pt x="2664333" y="3187941"/>
                </a:lnTo>
                <a:lnTo>
                  <a:pt x="2664333" y="3162567"/>
                </a:lnTo>
                <a:lnTo>
                  <a:pt x="2638958" y="3162567"/>
                </a:lnTo>
                <a:lnTo>
                  <a:pt x="2638958" y="3137192"/>
                </a:lnTo>
                <a:lnTo>
                  <a:pt x="2613584" y="3137192"/>
                </a:lnTo>
                <a:lnTo>
                  <a:pt x="2613584" y="3162567"/>
                </a:lnTo>
                <a:lnTo>
                  <a:pt x="2588209" y="3162567"/>
                </a:lnTo>
                <a:lnTo>
                  <a:pt x="2588209" y="3187941"/>
                </a:lnTo>
                <a:lnTo>
                  <a:pt x="2613584" y="3187941"/>
                </a:lnTo>
                <a:lnTo>
                  <a:pt x="2613584" y="3213316"/>
                </a:lnTo>
                <a:lnTo>
                  <a:pt x="2638958" y="3213316"/>
                </a:lnTo>
                <a:close/>
                <a:moveTo>
                  <a:pt x="2432876" y="3349104"/>
                </a:moveTo>
                <a:lnTo>
                  <a:pt x="2432876" y="3324758"/>
                </a:lnTo>
                <a:lnTo>
                  <a:pt x="2457221" y="3324758"/>
                </a:lnTo>
                <a:lnTo>
                  <a:pt x="2457221" y="3300070"/>
                </a:lnTo>
                <a:lnTo>
                  <a:pt x="2432876" y="3300070"/>
                </a:lnTo>
                <a:lnTo>
                  <a:pt x="2432876" y="3275724"/>
                </a:lnTo>
                <a:lnTo>
                  <a:pt x="2408187" y="3275724"/>
                </a:lnTo>
                <a:lnTo>
                  <a:pt x="2408187" y="3300070"/>
                </a:lnTo>
                <a:lnTo>
                  <a:pt x="2383841" y="3300070"/>
                </a:lnTo>
                <a:lnTo>
                  <a:pt x="2383841" y="3324758"/>
                </a:lnTo>
                <a:lnTo>
                  <a:pt x="2408187" y="3324758"/>
                </a:lnTo>
                <a:lnTo>
                  <a:pt x="2408187" y="3349104"/>
                </a:lnTo>
                <a:lnTo>
                  <a:pt x="2432876" y="3349104"/>
                </a:lnTo>
                <a:close/>
                <a:moveTo>
                  <a:pt x="2708224" y="3078213"/>
                </a:moveTo>
                <a:lnTo>
                  <a:pt x="2708224" y="3051467"/>
                </a:lnTo>
                <a:lnTo>
                  <a:pt x="2734970" y="3051467"/>
                </a:lnTo>
                <a:lnTo>
                  <a:pt x="2734970" y="3024721"/>
                </a:lnTo>
                <a:lnTo>
                  <a:pt x="2708224" y="3024721"/>
                </a:lnTo>
                <a:lnTo>
                  <a:pt x="2708224" y="2997975"/>
                </a:lnTo>
                <a:lnTo>
                  <a:pt x="2681478" y="2997975"/>
                </a:lnTo>
                <a:lnTo>
                  <a:pt x="2681478" y="3024721"/>
                </a:lnTo>
                <a:lnTo>
                  <a:pt x="2654732" y="3024721"/>
                </a:lnTo>
                <a:lnTo>
                  <a:pt x="2654732" y="3051467"/>
                </a:lnTo>
                <a:lnTo>
                  <a:pt x="2681478" y="3051467"/>
                </a:lnTo>
                <a:lnTo>
                  <a:pt x="2681478" y="3078213"/>
                </a:lnTo>
                <a:lnTo>
                  <a:pt x="2708224" y="3078213"/>
                </a:lnTo>
                <a:close/>
                <a:moveTo>
                  <a:pt x="2365667" y="3216402"/>
                </a:moveTo>
                <a:lnTo>
                  <a:pt x="2365667" y="3188970"/>
                </a:lnTo>
                <a:lnTo>
                  <a:pt x="2393099" y="3188970"/>
                </a:lnTo>
                <a:lnTo>
                  <a:pt x="2393099" y="3161538"/>
                </a:lnTo>
                <a:lnTo>
                  <a:pt x="2365667" y="3161538"/>
                </a:lnTo>
                <a:lnTo>
                  <a:pt x="2365667" y="3134106"/>
                </a:lnTo>
                <a:lnTo>
                  <a:pt x="2338235" y="3134106"/>
                </a:lnTo>
                <a:lnTo>
                  <a:pt x="2338235" y="3161538"/>
                </a:lnTo>
                <a:lnTo>
                  <a:pt x="2310803" y="3161538"/>
                </a:lnTo>
                <a:lnTo>
                  <a:pt x="2310803" y="3188970"/>
                </a:lnTo>
                <a:lnTo>
                  <a:pt x="2338235" y="3188970"/>
                </a:lnTo>
                <a:lnTo>
                  <a:pt x="2338235" y="3216402"/>
                </a:lnTo>
                <a:lnTo>
                  <a:pt x="2365667" y="3216402"/>
                </a:lnTo>
                <a:close/>
                <a:moveTo>
                  <a:pt x="2159242" y="3351162"/>
                </a:moveTo>
                <a:lnTo>
                  <a:pt x="2159242" y="3325444"/>
                </a:lnTo>
                <a:lnTo>
                  <a:pt x="2184959" y="3325444"/>
                </a:lnTo>
                <a:lnTo>
                  <a:pt x="2184959" y="3299384"/>
                </a:lnTo>
                <a:lnTo>
                  <a:pt x="2159242" y="3299384"/>
                </a:lnTo>
                <a:lnTo>
                  <a:pt x="2159242" y="3273666"/>
                </a:lnTo>
                <a:lnTo>
                  <a:pt x="2133181" y="3273666"/>
                </a:lnTo>
                <a:lnTo>
                  <a:pt x="2133181" y="3299384"/>
                </a:lnTo>
                <a:lnTo>
                  <a:pt x="2107463" y="3299384"/>
                </a:lnTo>
                <a:lnTo>
                  <a:pt x="2107463" y="3325444"/>
                </a:lnTo>
                <a:lnTo>
                  <a:pt x="2133181" y="3325444"/>
                </a:lnTo>
                <a:lnTo>
                  <a:pt x="2133181" y="3351162"/>
                </a:lnTo>
                <a:lnTo>
                  <a:pt x="2159242" y="3351162"/>
                </a:lnTo>
                <a:close/>
                <a:moveTo>
                  <a:pt x="2228850" y="3217088"/>
                </a:moveTo>
                <a:lnTo>
                  <a:pt x="2228850" y="3189313"/>
                </a:lnTo>
                <a:lnTo>
                  <a:pt x="2256625" y="3189313"/>
                </a:lnTo>
                <a:lnTo>
                  <a:pt x="2256625" y="3161195"/>
                </a:lnTo>
                <a:lnTo>
                  <a:pt x="2228850" y="3161195"/>
                </a:lnTo>
                <a:lnTo>
                  <a:pt x="2228850" y="3133420"/>
                </a:lnTo>
                <a:lnTo>
                  <a:pt x="2200732" y="3133420"/>
                </a:lnTo>
                <a:lnTo>
                  <a:pt x="2200732" y="3161195"/>
                </a:lnTo>
                <a:lnTo>
                  <a:pt x="2172958" y="3161195"/>
                </a:lnTo>
                <a:lnTo>
                  <a:pt x="2172958" y="3189313"/>
                </a:lnTo>
                <a:lnTo>
                  <a:pt x="2200732" y="3189313"/>
                </a:lnTo>
                <a:lnTo>
                  <a:pt x="2200732" y="3217088"/>
                </a:lnTo>
                <a:lnTo>
                  <a:pt x="2228850" y="3217088"/>
                </a:lnTo>
                <a:close/>
                <a:moveTo>
                  <a:pt x="2296058" y="3350476"/>
                </a:moveTo>
                <a:lnTo>
                  <a:pt x="2296058" y="3325101"/>
                </a:lnTo>
                <a:lnTo>
                  <a:pt x="2321433" y="3325101"/>
                </a:lnTo>
                <a:lnTo>
                  <a:pt x="2321433" y="3299727"/>
                </a:lnTo>
                <a:lnTo>
                  <a:pt x="2296058" y="3299727"/>
                </a:lnTo>
                <a:lnTo>
                  <a:pt x="2296058" y="3274352"/>
                </a:lnTo>
                <a:lnTo>
                  <a:pt x="2270684" y="3274352"/>
                </a:lnTo>
                <a:lnTo>
                  <a:pt x="2270684" y="3299727"/>
                </a:lnTo>
                <a:lnTo>
                  <a:pt x="2245309" y="3299727"/>
                </a:lnTo>
                <a:lnTo>
                  <a:pt x="2245309" y="3325101"/>
                </a:lnTo>
                <a:lnTo>
                  <a:pt x="2270684" y="3325101"/>
                </a:lnTo>
                <a:lnTo>
                  <a:pt x="2270684" y="3350476"/>
                </a:lnTo>
                <a:lnTo>
                  <a:pt x="2296058" y="3350476"/>
                </a:lnTo>
                <a:close/>
                <a:moveTo>
                  <a:pt x="2844698" y="3076156"/>
                </a:moveTo>
                <a:lnTo>
                  <a:pt x="2844698" y="3050781"/>
                </a:lnTo>
                <a:lnTo>
                  <a:pt x="2870073" y="3050781"/>
                </a:lnTo>
                <a:lnTo>
                  <a:pt x="2870073" y="3025407"/>
                </a:lnTo>
                <a:lnTo>
                  <a:pt x="2844698" y="3025407"/>
                </a:lnTo>
                <a:lnTo>
                  <a:pt x="2844698" y="3000032"/>
                </a:lnTo>
                <a:lnTo>
                  <a:pt x="2819324" y="3000032"/>
                </a:lnTo>
                <a:lnTo>
                  <a:pt x="2819324" y="3025407"/>
                </a:lnTo>
                <a:lnTo>
                  <a:pt x="2793949" y="3025407"/>
                </a:lnTo>
                <a:lnTo>
                  <a:pt x="2793949" y="3050781"/>
                </a:lnTo>
                <a:lnTo>
                  <a:pt x="2819324" y="3050781"/>
                </a:lnTo>
                <a:lnTo>
                  <a:pt x="2819324" y="3076156"/>
                </a:lnTo>
                <a:lnTo>
                  <a:pt x="2844698" y="3076156"/>
                </a:lnTo>
                <a:close/>
                <a:moveTo>
                  <a:pt x="3256178" y="2527516"/>
                </a:moveTo>
                <a:lnTo>
                  <a:pt x="3256178" y="2502141"/>
                </a:lnTo>
                <a:lnTo>
                  <a:pt x="3281553" y="2502141"/>
                </a:lnTo>
                <a:lnTo>
                  <a:pt x="3281553" y="2476767"/>
                </a:lnTo>
                <a:lnTo>
                  <a:pt x="3256178" y="2476767"/>
                </a:lnTo>
                <a:lnTo>
                  <a:pt x="3256178" y="2451392"/>
                </a:lnTo>
                <a:lnTo>
                  <a:pt x="3230804" y="2451392"/>
                </a:lnTo>
                <a:lnTo>
                  <a:pt x="3230804" y="2476767"/>
                </a:lnTo>
                <a:lnTo>
                  <a:pt x="3205429" y="2476767"/>
                </a:lnTo>
                <a:lnTo>
                  <a:pt x="3205429" y="2502141"/>
                </a:lnTo>
                <a:lnTo>
                  <a:pt x="3230804" y="2502141"/>
                </a:lnTo>
                <a:lnTo>
                  <a:pt x="3230804" y="2527516"/>
                </a:lnTo>
                <a:lnTo>
                  <a:pt x="3256178" y="2527516"/>
                </a:lnTo>
                <a:close/>
                <a:moveTo>
                  <a:pt x="3187598" y="2664676"/>
                </a:moveTo>
                <a:lnTo>
                  <a:pt x="3187598" y="2639301"/>
                </a:lnTo>
                <a:lnTo>
                  <a:pt x="3212973" y="2639301"/>
                </a:lnTo>
                <a:lnTo>
                  <a:pt x="3212973" y="2613927"/>
                </a:lnTo>
                <a:lnTo>
                  <a:pt x="3187598" y="2613927"/>
                </a:lnTo>
                <a:lnTo>
                  <a:pt x="3187598" y="2588552"/>
                </a:lnTo>
                <a:lnTo>
                  <a:pt x="3162224" y="2588552"/>
                </a:lnTo>
                <a:lnTo>
                  <a:pt x="3162224" y="2613927"/>
                </a:lnTo>
                <a:lnTo>
                  <a:pt x="3136849" y="2613927"/>
                </a:lnTo>
                <a:lnTo>
                  <a:pt x="3136849" y="2639301"/>
                </a:lnTo>
                <a:lnTo>
                  <a:pt x="3162224" y="2639301"/>
                </a:lnTo>
                <a:lnTo>
                  <a:pt x="3162224" y="2664676"/>
                </a:lnTo>
                <a:lnTo>
                  <a:pt x="3187598" y="2664676"/>
                </a:lnTo>
                <a:close/>
                <a:moveTo>
                  <a:pt x="3324416" y="2389670"/>
                </a:moveTo>
                <a:lnTo>
                  <a:pt x="3324416" y="2364638"/>
                </a:lnTo>
                <a:lnTo>
                  <a:pt x="3349447" y="2364638"/>
                </a:lnTo>
                <a:lnTo>
                  <a:pt x="3349447" y="2339950"/>
                </a:lnTo>
                <a:lnTo>
                  <a:pt x="3324416" y="2339950"/>
                </a:lnTo>
                <a:lnTo>
                  <a:pt x="3324416" y="2314918"/>
                </a:lnTo>
                <a:lnTo>
                  <a:pt x="3299727" y="2314918"/>
                </a:lnTo>
                <a:lnTo>
                  <a:pt x="3299727" y="2339950"/>
                </a:lnTo>
                <a:lnTo>
                  <a:pt x="3274695" y="2339950"/>
                </a:lnTo>
                <a:lnTo>
                  <a:pt x="3274695" y="2364638"/>
                </a:lnTo>
                <a:lnTo>
                  <a:pt x="3299727" y="2364638"/>
                </a:lnTo>
                <a:lnTo>
                  <a:pt x="3299727" y="2389670"/>
                </a:lnTo>
                <a:lnTo>
                  <a:pt x="3324416" y="2389670"/>
                </a:lnTo>
                <a:close/>
                <a:moveTo>
                  <a:pt x="3118676" y="2801150"/>
                </a:moveTo>
                <a:lnTo>
                  <a:pt x="3118676" y="2776118"/>
                </a:lnTo>
                <a:lnTo>
                  <a:pt x="3143707" y="2776118"/>
                </a:lnTo>
                <a:lnTo>
                  <a:pt x="3143707" y="2751430"/>
                </a:lnTo>
                <a:lnTo>
                  <a:pt x="3118676" y="2751430"/>
                </a:lnTo>
                <a:lnTo>
                  <a:pt x="3118676" y="2726398"/>
                </a:lnTo>
                <a:lnTo>
                  <a:pt x="3093987" y="2726398"/>
                </a:lnTo>
                <a:lnTo>
                  <a:pt x="3093987" y="2751430"/>
                </a:lnTo>
                <a:lnTo>
                  <a:pt x="3068955" y="2751430"/>
                </a:lnTo>
                <a:lnTo>
                  <a:pt x="3068955" y="2776118"/>
                </a:lnTo>
                <a:lnTo>
                  <a:pt x="3093987" y="2776118"/>
                </a:lnTo>
                <a:lnTo>
                  <a:pt x="3093987" y="2801150"/>
                </a:lnTo>
                <a:lnTo>
                  <a:pt x="3118676" y="2801150"/>
                </a:lnTo>
                <a:close/>
                <a:moveTo>
                  <a:pt x="2913622" y="2940368"/>
                </a:moveTo>
                <a:lnTo>
                  <a:pt x="2913622" y="2913964"/>
                </a:lnTo>
                <a:lnTo>
                  <a:pt x="2940025" y="2913964"/>
                </a:lnTo>
                <a:lnTo>
                  <a:pt x="2940025" y="2887904"/>
                </a:lnTo>
                <a:lnTo>
                  <a:pt x="2913622" y="2887904"/>
                </a:lnTo>
                <a:lnTo>
                  <a:pt x="2913622" y="2861501"/>
                </a:lnTo>
                <a:lnTo>
                  <a:pt x="2887561" y="2861501"/>
                </a:lnTo>
                <a:lnTo>
                  <a:pt x="2887561" y="2887904"/>
                </a:lnTo>
                <a:lnTo>
                  <a:pt x="2861158" y="2887904"/>
                </a:lnTo>
                <a:lnTo>
                  <a:pt x="2861158" y="2913964"/>
                </a:lnTo>
                <a:lnTo>
                  <a:pt x="2887561" y="2913964"/>
                </a:lnTo>
                <a:lnTo>
                  <a:pt x="2887561" y="2940368"/>
                </a:lnTo>
                <a:lnTo>
                  <a:pt x="2913622" y="2940368"/>
                </a:lnTo>
                <a:close/>
                <a:moveTo>
                  <a:pt x="3050096" y="2937624"/>
                </a:moveTo>
                <a:lnTo>
                  <a:pt x="3050096" y="2913278"/>
                </a:lnTo>
                <a:lnTo>
                  <a:pt x="3074441" y="2913278"/>
                </a:lnTo>
                <a:lnTo>
                  <a:pt x="3074441" y="2888590"/>
                </a:lnTo>
                <a:lnTo>
                  <a:pt x="3050096" y="2888590"/>
                </a:lnTo>
                <a:lnTo>
                  <a:pt x="3050096" y="2864244"/>
                </a:lnTo>
                <a:lnTo>
                  <a:pt x="3025407" y="2864244"/>
                </a:lnTo>
                <a:lnTo>
                  <a:pt x="3025407" y="2888590"/>
                </a:lnTo>
                <a:lnTo>
                  <a:pt x="3001061" y="2888590"/>
                </a:lnTo>
                <a:lnTo>
                  <a:pt x="3001061" y="2913278"/>
                </a:lnTo>
                <a:lnTo>
                  <a:pt x="3025407" y="2913278"/>
                </a:lnTo>
                <a:lnTo>
                  <a:pt x="3025407" y="2937624"/>
                </a:lnTo>
                <a:lnTo>
                  <a:pt x="3050096" y="2937624"/>
                </a:lnTo>
                <a:close/>
                <a:moveTo>
                  <a:pt x="3392653" y="2251481"/>
                </a:moveTo>
                <a:lnTo>
                  <a:pt x="3392653" y="2227136"/>
                </a:lnTo>
                <a:lnTo>
                  <a:pt x="3416999" y="2227136"/>
                </a:lnTo>
                <a:lnTo>
                  <a:pt x="3416999" y="2203133"/>
                </a:lnTo>
                <a:lnTo>
                  <a:pt x="3392653" y="2203133"/>
                </a:lnTo>
                <a:lnTo>
                  <a:pt x="3392653" y="2178787"/>
                </a:lnTo>
                <a:lnTo>
                  <a:pt x="3368650" y="2178787"/>
                </a:lnTo>
                <a:lnTo>
                  <a:pt x="3368650" y="2203133"/>
                </a:lnTo>
                <a:lnTo>
                  <a:pt x="3344304" y="2203133"/>
                </a:lnTo>
                <a:lnTo>
                  <a:pt x="3344304" y="2227136"/>
                </a:lnTo>
                <a:lnTo>
                  <a:pt x="3368650" y="2227136"/>
                </a:lnTo>
                <a:lnTo>
                  <a:pt x="3368650" y="2251481"/>
                </a:lnTo>
                <a:lnTo>
                  <a:pt x="3392653" y="2251481"/>
                </a:lnTo>
                <a:close/>
                <a:moveTo>
                  <a:pt x="2777490" y="2943111"/>
                </a:moveTo>
                <a:lnTo>
                  <a:pt x="2777490" y="2914993"/>
                </a:lnTo>
                <a:lnTo>
                  <a:pt x="2805608" y="2914993"/>
                </a:lnTo>
                <a:lnTo>
                  <a:pt x="2805608" y="2886875"/>
                </a:lnTo>
                <a:lnTo>
                  <a:pt x="2777490" y="2886875"/>
                </a:lnTo>
                <a:lnTo>
                  <a:pt x="2777490" y="2858757"/>
                </a:lnTo>
                <a:lnTo>
                  <a:pt x="2749372" y="2858757"/>
                </a:lnTo>
                <a:lnTo>
                  <a:pt x="2749372" y="2886875"/>
                </a:lnTo>
                <a:lnTo>
                  <a:pt x="2721254" y="2886875"/>
                </a:lnTo>
                <a:lnTo>
                  <a:pt x="2721254" y="2914993"/>
                </a:lnTo>
                <a:lnTo>
                  <a:pt x="2749372" y="2914993"/>
                </a:lnTo>
                <a:lnTo>
                  <a:pt x="2749372" y="2943111"/>
                </a:lnTo>
                <a:lnTo>
                  <a:pt x="2777490" y="2943111"/>
                </a:lnTo>
                <a:close/>
                <a:moveTo>
                  <a:pt x="2982544" y="2804236"/>
                </a:moveTo>
                <a:lnTo>
                  <a:pt x="2982544" y="2777147"/>
                </a:lnTo>
                <a:lnTo>
                  <a:pt x="3009634" y="2777147"/>
                </a:lnTo>
                <a:lnTo>
                  <a:pt x="3009634" y="2750401"/>
                </a:lnTo>
                <a:lnTo>
                  <a:pt x="2982544" y="2750401"/>
                </a:lnTo>
                <a:lnTo>
                  <a:pt x="2982544" y="2723312"/>
                </a:lnTo>
                <a:lnTo>
                  <a:pt x="2955798" y="2723312"/>
                </a:lnTo>
                <a:lnTo>
                  <a:pt x="2955798" y="2750401"/>
                </a:lnTo>
                <a:lnTo>
                  <a:pt x="2928709" y="2750401"/>
                </a:lnTo>
                <a:lnTo>
                  <a:pt x="2928709" y="2777147"/>
                </a:lnTo>
                <a:lnTo>
                  <a:pt x="2955798" y="2777147"/>
                </a:lnTo>
                <a:lnTo>
                  <a:pt x="2955798" y="2804236"/>
                </a:lnTo>
                <a:lnTo>
                  <a:pt x="2982544" y="2804236"/>
                </a:lnTo>
                <a:close/>
                <a:moveTo>
                  <a:pt x="1584884" y="531152"/>
                </a:moveTo>
                <a:lnTo>
                  <a:pt x="1584884" y="556527"/>
                </a:lnTo>
                <a:lnTo>
                  <a:pt x="1559509" y="556527"/>
                </a:lnTo>
                <a:lnTo>
                  <a:pt x="1559509" y="581901"/>
                </a:lnTo>
                <a:lnTo>
                  <a:pt x="1584884" y="581901"/>
                </a:lnTo>
                <a:lnTo>
                  <a:pt x="1584884" y="607276"/>
                </a:lnTo>
                <a:lnTo>
                  <a:pt x="1610258" y="607276"/>
                </a:lnTo>
                <a:lnTo>
                  <a:pt x="1610258" y="581901"/>
                </a:lnTo>
                <a:lnTo>
                  <a:pt x="1635633" y="581901"/>
                </a:lnTo>
                <a:lnTo>
                  <a:pt x="1635633" y="556527"/>
                </a:lnTo>
                <a:lnTo>
                  <a:pt x="1610258" y="556527"/>
                </a:lnTo>
                <a:lnTo>
                  <a:pt x="1610258" y="531152"/>
                </a:lnTo>
                <a:lnTo>
                  <a:pt x="1584884" y="531152"/>
                </a:lnTo>
                <a:close/>
                <a:moveTo>
                  <a:pt x="1544764" y="2947911"/>
                </a:moveTo>
                <a:lnTo>
                  <a:pt x="1544764" y="2916707"/>
                </a:lnTo>
                <a:lnTo>
                  <a:pt x="1575968" y="2916707"/>
                </a:lnTo>
                <a:lnTo>
                  <a:pt x="1575968" y="2885161"/>
                </a:lnTo>
                <a:lnTo>
                  <a:pt x="1544764" y="2885161"/>
                </a:lnTo>
                <a:lnTo>
                  <a:pt x="1544764" y="2853957"/>
                </a:lnTo>
                <a:lnTo>
                  <a:pt x="1513218" y="2853957"/>
                </a:lnTo>
                <a:lnTo>
                  <a:pt x="1513218" y="2885161"/>
                </a:lnTo>
                <a:lnTo>
                  <a:pt x="1482014" y="2885161"/>
                </a:lnTo>
                <a:lnTo>
                  <a:pt x="1482014" y="2916707"/>
                </a:lnTo>
                <a:lnTo>
                  <a:pt x="1513218" y="2916707"/>
                </a:lnTo>
                <a:lnTo>
                  <a:pt x="1513218" y="2947911"/>
                </a:lnTo>
                <a:lnTo>
                  <a:pt x="1544764" y="2947911"/>
                </a:lnTo>
                <a:close/>
                <a:moveTo>
                  <a:pt x="1339024" y="2811094"/>
                </a:moveTo>
                <a:lnTo>
                  <a:pt x="1339024" y="2779547"/>
                </a:lnTo>
                <a:lnTo>
                  <a:pt x="1370571" y="2779547"/>
                </a:lnTo>
                <a:lnTo>
                  <a:pt x="1370571" y="2748001"/>
                </a:lnTo>
                <a:lnTo>
                  <a:pt x="1339024" y="2748001"/>
                </a:lnTo>
                <a:lnTo>
                  <a:pt x="1339024" y="2716454"/>
                </a:lnTo>
                <a:lnTo>
                  <a:pt x="1307478" y="2716454"/>
                </a:lnTo>
                <a:lnTo>
                  <a:pt x="1307478" y="2748001"/>
                </a:lnTo>
                <a:lnTo>
                  <a:pt x="1275931" y="2748001"/>
                </a:lnTo>
                <a:lnTo>
                  <a:pt x="1275931" y="2779547"/>
                </a:lnTo>
                <a:lnTo>
                  <a:pt x="1307478" y="2779547"/>
                </a:lnTo>
                <a:lnTo>
                  <a:pt x="1307478" y="2811094"/>
                </a:lnTo>
                <a:lnTo>
                  <a:pt x="1339024" y="2811094"/>
                </a:lnTo>
                <a:close/>
                <a:moveTo>
                  <a:pt x="1201179" y="2809380"/>
                </a:moveTo>
                <a:lnTo>
                  <a:pt x="1201179" y="2778862"/>
                </a:lnTo>
                <a:lnTo>
                  <a:pt x="1231697" y="2778862"/>
                </a:lnTo>
                <a:lnTo>
                  <a:pt x="1231697" y="2748686"/>
                </a:lnTo>
                <a:lnTo>
                  <a:pt x="1201179" y="2748686"/>
                </a:lnTo>
                <a:lnTo>
                  <a:pt x="1201179" y="2718168"/>
                </a:lnTo>
                <a:lnTo>
                  <a:pt x="1171003" y="2718168"/>
                </a:lnTo>
                <a:lnTo>
                  <a:pt x="1171003" y="2748686"/>
                </a:lnTo>
                <a:lnTo>
                  <a:pt x="1140485" y="2748686"/>
                </a:lnTo>
                <a:lnTo>
                  <a:pt x="1140485" y="2778862"/>
                </a:lnTo>
                <a:lnTo>
                  <a:pt x="1171003" y="2778862"/>
                </a:lnTo>
                <a:lnTo>
                  <a:pt x="1171003" y="2809380"/>
                </a:lnTo>
                <a:lnTo>
                  <a:pt x="1201179" y="2809380"/>
                </a:lnTo>
                <a:close/>
                <a:moveTo>
                  <a:pt x="1476527" y="2812123"/>
                </a:moveTo>
                <a:lnTo>
                  <a:pt x="1476527" y="2779890"/>
                </a:lnTo>
                <a:lnTo>
                  <a:pt x="1508760" y="2779890"/>
                </a:lnTo>
                <a:lnTo>
                  <a:pt x="1508760" y="2747658"/>
                </a:lnTo>
                <a:lnTo>
                  <a:pt x="1476527" y="2747658"/>
                </a:lnTo>
                <a:lnTo>
                  <a:pt x="1476527" y="2715425"/>
                </a:lnTo>
                <a:lnTo>
                  <a:pt x="1444295" y="2715425"/>
                </a:lnTo>
                <a:lnTo>
                  <a:pt x="1444295" y="2747658"/>
                </a:lnTo>
                <a:lnTo>
                  <a:pt x="1412062" y="2747658"/>
                </a:lnTo>
                <a:lnTo>
                  <a:pt x="1412062" y="2779890"/>
                </a:lnTo>
                <a:lnTo>
                  <a:pt x="1444295" y="2779890"/>
                </a:lnTo>
                <a:lnTo>
                  <a:pt x="1444295" y="2812123"/>
                </a:lnTo>
                <a:lnTo>
                  <a:pt x="1476527" y="2812123"/>
                </a:lnTo>
                <a:close/>
                <a:moveTo>
                  <a:pt x="1406919" y="2946540"/>
                </a:moveTo>
                <a:lnTo>
                  <a:pt x="1406919" y="2916022"/>
                </a:lnTo>
                <a:lnTo>
                  <a:pt x="1437437" y="2916022"/>
                </a:lnTo>
                <a:lnTo>
                  <a:pt x="1437437" y="2885846"/>
                </a:lnTo>
                <a:lnTo>
                  <a:pt x="1406919" y="2885846"/>
                </a:lnTo>
                <a:lnTo>
                  <a:pt x="1406919" y="2855328"/>
                </a:lnTo>
                <a:lnTo>
                  <a:pt x="1376743" y="2855328"/>
                </a:lnTo>
                <a:lnTo>
                  <a:pt x="1376743" y="2885846"/>
                </a:lnTo>
                <a:lnTo>
                  <a:pt x="1346225" y="2885846"/>
                </a:lnTo>
                <a:lnTo>
                  <a:pt x="1346225" y="2916022"/>
                </a:lnTo>
                <a:lnTo>
                  <a:pt x="1376743" y="2916022"/>
                </a:lnTo>
                <a:lnTo>
                  <a:pt x="1376743" y="2946540"/>
                </a:lnTo>
                <a:lnTo>
                  <a:pt x="1406919" y="2946540"/>
                </a:lnTo>
                <a:close/>
                <a:moveTo>
                  <a:pt x="1269416" y="2945168"/>
                </a:moveTo>
                <a:lnTo>
                  <a:pt x="1269416" y="2915679"/>
                </a:lnTo>
                <a:lnTo>
                  <a:pt x="1298905" y="2915679"/>
                </a:lnTo>
                <a:lnTo>
                  <a:pt x="1298905" y="2886189"/>
                </a:lnTo>
                <a:lnTo>
                  <a:pt x="1269416" y="2886189"/>
                </a:lnTo>
                <a:lnTo>
                  <a:pt x="1269416" y="2856700"/>
                </a:lnTo>
                <a:lnTo>
                  <a:pt x="1239926" y="2856700"/>
                </a:lnTo>
                <a:lnTo>
                  <a:pt x="1239926" y="2886189"/>
                </a:lnTo>
                <a:lnTo>
                  <a:pt x="1210437" y="2886189"/>
                </a:lnTo>
                <a:lnTo>
                  <a:pt x="1210437" y="2915679"/>
                </a:lnTo>
                <a:lnTo>
                  <a:pt x="1239926" y="2915679"/>
                </a:lnTo>
                <a:lnTo>
                  <a:pt x="1239926" y="2945168"/>
                </a:lnTo>
                <a:lnTo>
                  <a:pt x="1269416" y="2945168"/>
                </a:lnTo>
                <a:close/>
                <a:moveTo>
                  <a:pt x="926516" y="2534031"/>
                </a:moveTo>
                <a:lnTo>
                  <a:pt x="926516" y="2504199"/>
                </a:lnTo>
                <a:lnTo>
                  <a:pt x="956348" y="2504199"/>
                </a:lnTo>
                <a:lnTo>
                  <a:pt x="956348" y="2474709"/>
                </a:lnTo>
                <a:lnTo>
                  <a:pt x="926516" y="2474709"/>
                </a:lnTo>
                <a:lnTo>
                  <a:pt x="926516" y="2444877"/>
                </a:lnTo>
                <a:lnTo>
                  <a:pt x="897026" y="2444877"/>
                </a:lnTo>
                <a:lnTo>
                  <a:pt x="897026" y="2474709"/>
                </a:lnTo>
                <a:lnTo>
                  <a:pt x="867194" y="2474709"/>
                </a:lnTo>
                <a:lnTo>
                  <a:pt x="867194" y="2504199"/>
                </a:lnTo>
                <a:lnTo>
                  <a:pt x="897026" y="2504199"/>
                </a:lnTo>
                <a:lnTo>
                  <a:pt x="897026" y="2534031"/>
                </a:lnTo>
                <a:lnTo>
                  <a:pt x="926516" y="2534031"/>
                </a:lnTo>
                <a:close/>
                <a:moveTo>
                  <a:pt x="995096" y="2670848"/>
                </a:moveTo>
                <a:lnTo>
                  <a:pt x="995096" y="2641359"/>
                </a:lnTo>
                <a:lnTo>
                  <a:pt x="1024585" y="2641359"/>
                </a:lnTo>
                <a:lnTo>
                  <a:pt x="1024585" y="2611869"/>
                </a:lnTo>
                <a:lnTo>
                  <a:pt x="995096" y="2611869"/>
                </a:lnTo>
                <a:lnTo>
                  <a:pt x="995096" y="2582380"/>
                </a:lnTo>
                <a:lnTo>
                  <a:pt x="965606" y="2582380"/>
                </a:lnTo>
                <a:lnTo>
                  <a:pt x="965606" y="2611869"/>
                </a:lnTo>
                <a:lnTo>
                  <a:pt x="936117" y="2611869"/>
                </a:lnTo>
                <a:lnTo>
                  <a:pt x="936117" y="2641359"/>
                </a:lnTo>
                <a:lnTo>
                  <a:pt x="965606" y="2641359"/>
                </a:lnTo>
                <a:lnTo>
                  <a:pt x="965606" y="2670848"/>
                </a:lnTo>
                <a:lnTo>
                  <a:pt x="995096" y="2670848"/>
                </a:lnTo>
                <a:close/>
                <a:moveTo>
                  <a:pt x="1132942" y="2673248"/>
                </a:moveTo>
                <a:lnTo>
                  <a:pt x="1132942" y="2642045"/>
                </a:lnTo>
                <a:lnTo>
                  <a:pt x="1164145" y="2642045"/>
                </a:lnTo>
                <a:lnTo>
                  <a:pt x="1164145" y="2611184"/>
                </a:lnTo>
                <a:lnTo>
                  <a:pt x="1132942" y="2611184"/>
                </a:lnTo>
                <a:lnTo>
                  <a:pt x="1132942" y="2579980"/>
                </a:lnTo>
                <a:lnTo>
                  <a:pt x="1102081" y="2579980"/>
                </a:lnTo>
                <a:lnTo>
                  <a:pt x="1102081" y="2611184"/>
                </a:lnTo>
                <a:lnTo>
                  <a:pt x="1070877" y="2611184"/>
                </a:lnTo>
                <a:lnTo>
                  <a:pt x="1070877" y="2642045"/>
                </a:lnTo>
                <a:lnTo>
                  <a:pt x="1102081" y="2642045"/>
                </a:lnTo>
                <a:lnTo>
                  <a:pt x="1102081" y="2673248"/>
                </a:lnTo>
                <a:lnTo>
                  <a:pt x="1132942" y="2673248"/>
                </a:lnTo>
                <a:close/>
                <a:moveTo>
                  <a:pt x="1063333" y="2807322"/>
                </a:moveTo>
                <a:lnTo>
                  <a:pt x="1063333" y="2778176"/>
                </a:lnTo>
                <a:lnTo>
                  <a:pt x="1092479" y="2778176"/>
                </a:lnTo>
                <a:lnTo>
                  <a:pt x="1092479" y="2749372"/>
                </a:lnTo>
                <a:lnTo>
                  <a:pt x="1063333" y="2749372"/>
                </a:lnTo>
                <a:lnTo>
                  <a:pt x="1063333" y="2720226"/>
                </a:lnTo>
                <a:lnTo>
                  <a:pt x="1034529" y="2720226"/>
                </a:lnTo>
                <a:lnTo>
                  <a:pt x="1034529" y="2749372"/>
                </a:lnTo>
                <a:lnTo>
                  <a:pt x="1005383" y="2749372"/>
                </a:lnTo>
                <a:lnTo>
                  <a:pt x="1005383" y="2778176"/>
                </a:lnTo>
                <a:lnTo>
                  <a:pt x="1034529" y="2778176"/>
                </a:lnTo>
                <a:lnTo>
                  <a:pt x="1034529" y="2807322"/>
                </a:lnTo>
                <a:lnTo>
                  <a:pt x="1063333" y="2807322"/>
                </a:lnTo>
                <a:close/>
                <a:moveTo>
                  <a:pt x="2161299" y="3083700"/>
                </a:moveTo>
                <a:lnTo>
                  <a:pt x="2161299" y="3053182"/>
                </a:lnTo>
                <a:lnTo>
                  <a:pt x="2191817" y="3053182"/>
                </a:lnTo>
                <a:lnTo>
                  <a:pt x="2191817" y="3023006"/>
                </a:lnTo>
                <a:lnTo>
                  <a:pt x="2161299" y="3023006"/>
                </a:lnTo>
                <a:lnTo>
                  <a:pt x="2161299" y="2992488"/>
                </a:lnTo>
                <a:lnTo>
                  <a:pt x="2131124" y="2992488"/>
                </a:lnTo>
                <a:lnTo>
                  <a:pt x="2131124" y="3023006"/>
                </a:lnTo>
                <a:lnTo>
                  <a:pt x="2100605" y="3023006"/>
                </a:lnTo>
                <a:lnTo>
                  <a:pt x="2100605" y="3053182"/>
                </a:lnTo>
                <a:lnTo>
                  <a:pt x="2131124" y="3053182"/>
                </a:lnTo>
                <a:lnTo>
                  <a:pt x="2131124" y="3083700"/>
                </a:lnTo>
                <a:lnTo>
                  <a:pt x="2161299" y="3083700"/>
                </a:lnTo>
                <a:close/>
                <a:moveTo>
                  <a:pt x="2093747" y="2949283"/>
                </a:moveTo>
                <a:lnTo>
                  <a:pt x="2093747" y="2917050"/>
                </a:lnTo>
                <a:lnTo>
                  <a:pt x="2125980" y="2917050"/>
                </a:lnTo>
                <a:lnTo>
                  <a:pt x="2125980" y="2884818"/>
                </a:lnTo>
                <a:lnTo>
                  <a:pt x="2093747" y="2884818"/>
                </a:lnTo>
                <a:lnTo>
                  <a:pt x="2093747" y="2852585"/>
                </a:lnTo>
                <a:lnTo>
                  <a:pt x="2061515" y="2852585"/>
                </a:lnTo>
                <a:lnTo>
                  <a:pt x="2061515" y="2884818"/>
                </a:lnTo>
                <a:lnTo>
                  <a:pt x="2029282" y="2884818"/>
                </a:lnTo>
                <a:lnTo>
                  <a:pt x="2029282" y="2917050"/>
                </a:lnTo>
                <a:lnTo>
                  <a:pt x="2061515" y="2917050"/>
                </a:lnTo>
                <a:lnTo>
                  <a:pt x="2061515" y="2949283"/>
                </a:lnTo>
                <a:lnTo>
                  <a:pt x="2093747" y="2949283"/>
                </a:lnTo>
                <a:close/>
                <a:moveTo>
                  <a:pt x="2230565" y="2948597"/>
                </a:moveTo>
                <a:lnTo>
                  <a:pt x="2230565" y="2916707"/>
                </a:lnTo>
                <a:lnTo>
                  <a:pt x="2262454" y="2916707"/>
                </a:lnTo>
                <a:lnTo>
                  <a:pt x="2262454" y="2885161"/>
                </a:lnTo>
                <a:lnTo>
                  <a:pt x="2230565" y="2885161"/>
                </a:lnTo>
                <a:lnTo>
                  <a:pt x="2230565" y="2853271"/>
                </a:lnTo>
                <a:lnTo>
                  <a:pt x="2199018" y="2853271"/>
                </a:lnTo>
                <a:lnTo>
                  <a:pt x="2199018" y="2885161"/>
                </a:lnTo>
                <a:lnTo>
                  <a:pt x="2167128" y="2885161"/>
                </a:lnTo>
                <a:lnTo>
                  <a:pt x="2167128" y="2916707"/>
                </a:lnTo>
                <a:lnTo>
                  <a:pt x="2199018" y="2916707"/>
                </a:lnTo>
                <a:lnTo>
                  <a:pt x="2199018" y="2948597"/>
                </a:lnTo>
                <a:lnTo>
                  <a:pt x="2230565" y="2948597"/>
                </a:lnTo>
                <a:close/>
                <a:moveTo>
                  <a:pt x="857936" y="2396871"/>
                </a:moveTo>
                <a:lnTo>
                  <a:pt x="857936" y="2367039"/>
                </a:lnTo>
                <a:lnTo>
                  <a:pt x="887768" y="2367039"/>
                </a:lnTo>
                <a:lnTo>
                  <a:pt x="887768" y="2337549"/>
                </a:lnTo>
                <a:lnTo>
                  <a:pt x="857936" y="2337549"/>
                </a:lnTo>
                <a:lnTo>
                  <a:pt x="857936" y="2307717"/>
                </a:lnTo>
                <a:lnTo>
                  <a:pt x="828446" y="2307717"/>
                </a:lnTo>
                <a:lnTo>
                  <a:pt x="828446" y="2337549"/>
                </a:lnTo>
                <a:lnTo>
                  <a:pt x="798614" y="2337549"/>
                </a:lnTo>
                <a:lnTo>
                  <a:pt x="798614" y="2367039"/>
                </a:lnTo>
                <a:lnTo>
                  <a:pt x="828446" y="2367039"/>
                </a:lnTo>
                <a:lnTo>
                  <a:pt x="828446" y="2396871"/>
                </a:lnTo>
                <a:lnTo>
                  <a:pt x="857936" y="2396871"/>
                </a:lnTo>
                <a:close/>
                <a:moveTo>
                  <a:pt x="1956587" y="2949283"/>
                </a:moveTo>
                <a:lnTo>
                  <a:pt x="1956587" y="2917050"/>
                </a:lnTo>
                <a:lnTo>
                  <a:pt x="1988820" y="2917050"/>
                </a:lnTo>
                <a:lnTo>
                  <a:pt x="1988820" y="2884818"/>
                </a:lnTo>
                <a:lnTo>
                  <a:pt x="1956587" y="2884818"/>
                </a:lnTo>
                <a:lnTo>
                  <a:pt x="1956587" y="2852585"/>
                </a:lnTo>
                <a:lnTo>
                  <a:pt x="1924355" y="2852585"/>
                </a:lnTo>
                <a:lnTo>
                  <a:pt x="1924355" y="2884818"/>
                </a:lnTo>
                <a:lnTo>
                  <a:pt x="1892122" y="2884818"/>
                </a:lnTo>
                <a:lnTo>
                  <a:pt x="1892122" y="2917050"/>
                </a:lnTo>
                <a:lnTo>
                  <a:pt x="1924355" y="2917050"/>
                </a:lnTo>
                <a:lnTo>
                  <a:pt x="1924355" y="2949283"/>
                </a:lnTo>
                <a:lnTo>
                  <a:pt x="1956587" y="2949283"/>
                </a:lnTo>
                <a:close/>
                <a:moveTo>
                  <a:pt x="1681924" y="2948597"/>
                </a:moveTo>
                <a:lnTo>
                  <a:pt x="1681924" y="2916707"/>
                </a:lnTo>
                <a:lnTo>
                  <a:pt x="1713814" y="2916707"/>
                </a:lnTo>
                <a:lnTo>
                  <a:pt x="1713814" y="2885161"/>
                </a:lnTo>
                <a:lnTo>
                  <a:pt x="1681924" y="2885161"/>
                </a:lnTo>
                <a:lnTo>
                  <a:pt x="1681924" y="2853271"/>
                </a:lnTo>
                <a:lnTo>
                  <a:pt x="1650378" y="2853271"/>
                </a:lnTo>
                <a:lnTo>
                  <a:pt x="1650378" y="2885161"/>
                </a:lnTo>
                <a:lnTo>
                  <a:pt x="1618488" y="2885161"/>
                </a:lnTo>
                <a:lnTo>
                  <a:pt x="1618488" y="2916707"/>
                </a:lnTo>
                <a:lnTo>
                  <a:pt x="1650378" y="2916707"/>
                </a:lnTo>
                <a:lnTo>
                  <a:pt x="1650378" y="2948597"/>
                </a:lnTo>
                <a:lnTo>
                  <a:pt x="1681924" y="2948597"/>
                </a:lnTo>
                <a:close/>
                <a:moveTo>
                  <a:pt x="1612659" y="3083014"/>
                </a:moveTo>
                <a:lnTo>
                  <a:pt x="1612659" y="3053182"/>
                </a:lnTo>
                <a:lnTo>
                  <a:pt x="1642491" y="3053182"/>
                </a:lnTo>
                <a:lnTo>
                  <a:pt x="1642491" y="3023006"/>
                </a:lnTo>
                <a:lnTo>
                  <a:pt x="1612659" y="3023006"/>
                </a:lnTo>
                <a:lnTo>
                  <a:pt x="1612659" y="2993174"/>
                </a:lnTo>
                <a:lnTo>
                  <a:pt x="1582483" y="2993174"/>
                </a:lnTo>
                <a:lnTo>
                  <a:pt x="1582483" y="3023006"/>
                </a:lnTo>
                <a:lnTo>
                  <a:pt x="1552651" y="3023006"/>
                </a:lnTo>
                <a:lnTo>
                  <a:pt x="1552651" y="3053182"/>
                </a:lnTo>
                <a:lnTo>
                  <a:pt x="1582483" y="3053182"/>
                </a:lnTo>
                <a:lnTo>
                  <a:pt x="1582483" y="3083014"/>
                </a:lnTo>
                <a:lnTo>
                  <a:pt x="1612659" y="3083014"/>
                </a:lnTo>
                <a:close/>
                <a:moveTo>
                  <a:pt x="1887322" y="3084043"/>
                </a:moveTo>
                <a:lnTo>
                  <a:pt x="1887322" y="3053525"/>
                </a:lnTo>
                <a:lnTo>
                  <a:pt x="1917840" y="3053525"/>
                </a:lnTo>
                <a:lnTo>
                  <a:pt x="1917840" y="3022664"/>
                </a:lnTo>
                <a:lnTo>
                  <a:pt x="1887322" y="3022664"/>
                </a:lnTo>
                <a:lnTo>
                  <a:pt x="1887322" y="2992145"/>
                </a:lnTo>
                <a:lnTo>
                  <a:pt x="1856461" y="2992145"/>
                </a:lnTo>
                <a:lnTo>
                  <a:pt x="1856461" y="3022664"/>
                </a:lnTo>
                <a:lnTo>
                  <a:pt x="1825942" y="3022664"/>
                </a:lnTo>
                <a:lnTo>
                  <a:pt x="1825942" y="3053525"/>
                </a:lnTo>
                <a:lnTo>
                  <a:pt x="1856461" y="3053525"/>
                </a:lnTo>
                <a:lnTo>
                  <a:pt x="1856461" y="3084043"/>
                </a:lnTo>
                <a:lnTo>
                  <a:pt x="1887322" y="3084043"/>
                </a:lnTo>
                <a:close/>
                <a:moveTo>
                  <a:pt x="1749819" y="3083700"/>
                </a:moveTo>
                <a:lnTo>
                  <a:pt x="1749819" y="3053182"/>
                </a:lnTo>
                <a:lnTo>
                  <a:pt x="1780337" y="3053182"/>
                </a:lnTo>
                <a:lnTo>
                  <a:pt x="1780337" y="3023006"/>
                </a:lnTo>
                <a:lnTo>
                  <a:pt x="1749819" y="3023006"/>
                </a:lnTo>
                <a:lnTo>
                  <a:pt x="1749819" y="2992488"/>
                </a:lnTo>
                <a:lnTo>
                  <a:pt x="1719643" y="2992488"/>
                </a:lnTo>
                <a:lnTo>
                  <a:pt x="1719643" y="3023006"/>
                </a:lnTo>
                <a:lnTo>
                  <a:pt x="1689125" y="3023006"/>
                </a:lnTo>
                <a:lnTo>
                  <a:pt x="1689125" y="3053182"/>
                </a:lnTo>
                <a:lnTo>
                  <a:pt x="1719643" y="3053182"/>
                </a:lnTo>
                <a:lnTo>
                  <a:pt x="1719643" y="3083700"/>
                </a:lnTo>
                <a:lnTo>
                  <a:pt x="1749819" y="3083700"/>
                </a:lnTo>
                <a:close/>
                <a:moveTo>
                  <a:pt x="1819427" y="2949283"/>
                </a:moveTo>
                <a:lnTo>
                  <a:pt x="1819427" y="2917050"/>
                </a:lnTo>
                <a:lnTo>
                  <a:pt x="1851660" y="2917050"/>
                </a:lnTo>
                <a:lnTo>
                  <a:pt x="1851660" y="2884818"/>
                </a:lnTo>
                <a:lnTo>
                  <a:pt x="1819427" y="2884818"/>
                </a:lnTo>
                <a:lnTo>
                  <a:pt x="1819427" y="2852585"/>
                </a:lnTo>
                <a:lnTo>
                  <a:pt x="1787195" y="2852585"/>
                </a:lnTo>
                <a:lnTo>
                  <a:pt x="1787195" y="2884818"/>
                </a:lnTo>
                <a:lnTo>
                  <a:pt x="1754962" y="2884818"/>
                </a:lnTo>
                <a:lnTo>
                  <a:pt x="1754962" y="2917050"/>
                </a:lnTo>
                <a:lnTo>
                  <a:pt x="1787195" y="2917050"/>
                </a:lnTo>
                <a:lnTo>
                  <a:pt x="1787195" y="2949283"/>
                </a:lnTo>
                <a:lnTo>
                  <a:pt x="1819427" y="2949283"/>
                </a:lnTo>
                <a:close/>
                <a:moveTo>
                  <a:pt x="2024482" y="3084043"/>
                </a:moveTo>
                <a:lnTo>
                  <a:pt x="2024482" y="3053525"/>
                </a:lnTo>
                <a:lnTo>
                  <a:pt x="2055000" y="3053525"/>
                </a:lnTo>
                <a:lnTo>
                  <a:pt x="2055000" y="3022664"/>
                </a:lnTo>
                <a:lnTo>
                  <a:pt x="2024482" y="3022664"/>
                </a:lnTo>
                <a:lnTo>
                  <a:pt x="2024482" y="2992145"/>
                </a:lnTo>
                <a:lnTo>
                  <a:pt x="1993621" y="2992145"/>
                </a:lnTo>
                <a:lnTo>
                  <a:pt x="1993621" y="3022664"/>
                </a:lnTo>
                <a:lnTo>
                  <a:pt x="1963102" y="3022664"/>
                </a:lnTo>
                <a:lnTo>
                  <a:pt x="1963102" y="3053525"/>
                </a:lnTo>
                <a:lnTo>
                  <a:pt x="1993621" y="3053525"/>
                </a:lnTo>
                <a:lnTo>
                  <a:pt x="1993621" y="3084043"/>
                </a:lnTo>
                <a:lnTo>
                  <a:pt x="2024482" y="3084043"/>
                </a:lnTo>
                <a:close/>
                <a:moveTo>
                  <a:pt x="1171003" y="1072248"/>
                </a:moveTo>
                <a:lnTo>
                  <a:pt x="1171003" y="1102766"/>
                </a:lnTo>
                <a:lnTo>
                  <a:pt x="1140485" y="1102766"/>
                </a:lnTo>
                <a:lnTo>
                  <a:pt x="1140485" y="1132942"/>
                </a:lnTo>
                <a:lnTo>
                  <a:pt x="1171003" y="1132942"/>
                </a:lnTo>
                <a:lnTo>
                  <a:pt x="1171003" y="1163460"/>
                </a:lnTo>
                <a:lnTo>
                  <a:pt x="1201179" y="1163460"/>
                </a:lnTo>
                <a:lnTo>
                  <a:pt x="1201179" y="1132942"/>
                </a:lnTo>
                <a:lnTo>
                  <a:pt x="1231697" y="1132942"/>
                </a:lnTo>
                <a:lnTo>
                  <a:pt x="1231697" y="1102766"/>
                </a:lnTo>
                <a:lnTo>
                  <a:pt x="1201179" y="1102766"/>
                </a:lnTo>
                <a:lnTo>
                  <a:pt x="1201179" y="1072248"/>
                </a:lnTo>
                <a:lnTo>
                  <a:pt x="1171003" y="1072248"/>
                </a:lnTo>
                <a:close/>
                <a:moveTo>
                  <a:pt x="965606" y="1210780"/>
                </a:moveTo>
                <a:lnTo>
                  <a:pt x="965606" y="1240269"/>
                </a:lnTo>
                <a:lnTo>
                  <a:pt x="936117" y="1240269"/>
                </a:lnTo>
                <a:lnTo>
                  <a:pt x="936117" y="1269759"/>
                </a:lnTo>
                <a:lnTo>
                  <a:pt x="965606" y="1269759"/>
                </a:lnTo>
                <a:lnTo>
                  <a:pt x="965606" y="1299248"/>
                </a:lnTo>
                <a:lnTo>
                  <a:pt x="995096" y="1299248"/>
                </a:lnTo>
                <a:lnTo>
                  <a:pt x="995096" y="1269759"/>
                </a:lnTo>
                <a:lnTo>
                  <a:pt x="1024585" y="1269759"/>
                </a:lnTo>
                <a:lnTo>
                  <a:pt x="1024585" y="1240269"/>
                </a:lnTo>
                <a:lnTo>
                  <a:pt x="995096" y="1240269"/>
                </a:lnTo>
                <a:lnTo>
                  <a:pt x="995096" y="1210780"/>
                </a:lnTo>
                <a:lnTo>
                  <a:pt x="965606" y="1210780"/>
                </a:lnTo>
                <a:close/>
                <a:moveTo>
                  <a:pt x="1034529" y="1074306"/>
                </a:moveTo>
                <a:lnTo>
                  <a:pt x="1034529" y="1103452"/>
                </a:lnTo>
                <a:lnTo>
                  <a:pt x="1005383" y="1103452"/>
                </a:lnTo>
                <a:lnTo>
                  <a:pt x="1005383" y="1132256"/>
                </a:lnTo>
                <a:lnTo>
                  <a:pt x="1034529" y="1132256"/>
                </a:lnTo>
                <a:lnTo>
                  <a:pt x="1034529" y="1161402"/>
                </a:lnTo>
                <a:lnTo>
                  <a:pt x="1063333" y="1161402"/>
                </a:lnTo>
                <a:lnTo>
                  <a:pt x="1063333" y="1132256"/>
                </a:lnTo>
                <a:lnTo>
                  <a:pt x="1092479" y="1132256"/>
                </a:lnTo>
                <a:lnTo>
                  <a:pt x="1092479" y="1103452"/>
                </a:lnTo>
                <a:lnTo>
                  <a:pt x="1063333" y="1103452"/>
                </a:lnTo>
                <a:lnTo>
                  <a:pt x="1063333" y="1074306"/>
                </a:lnTo>
                <a:lnTo>
                  <a:pt x="1034529" y="1074306"/>
                </a:lnTo>
                <a:close/>
                <a:moveTo>
                  <a:pt x="1307478" y="1070534"/>
                </a:moveTo>
                <a:lnTo>
                  <a:pt x="1307478" y="1102081"/>
                </a:lnTo>
                <a:lnTo>
                  <a:pt x="1275931" y="1102081"/>
                </a:lnTo>
                <a:lnTo>
                  <a:pt x="1275931" y="1133627"/>
                </a:lnTo>
                <a:lnTo>
                  <a:pt x="1307478" y="1133627"/>
                </a:lnTo>
                <a:lnTo>
                  <a:pt x="1307478" y="1165174"/>
                </a:lnTo>
                <a:lnTo>
                  <a:pt x="1339024" y="1165174"/>
                </a:lnTo>
                <a:lnTo>
                  <a:pt x="1339024" y="1133627"/>
                </a:lnTo>
                <a:lnTo>
                  <a:pt x="1370571" y="1133627"/>
                </a:lnTo>
                <a:lnTo>
                  <a:pt x="1370571" y="1102081"/>
                </a:lnTo>
                <a:lnTo>
                  <a:pt x="1339024" y="1102081"/>
                </a:lnTo>
                <a:lnTo>
                  <a:pt x="1339024" y="1070534"/>
                </a:lnTo>
                <a:lnTo>
                  <a:pt x="1307478" y="1070534"/>
                </a:lnTo>
                <a:close/>
                <a:moveTo>
                  <a:pt x="1102081" y="1208380"/>
                </a:moveTo>
                <a:lnTo>
                  <a:pt x="1102081" y="1239584"/>
                </a:lnTo>
                <a:lnTo>
                  <a:pt x="1070877" y="1239584"/>
                </a:lnTo>
                <a:lnTo>
                  <a:pt x="1070877" y="1270445"/>
                </a:lnTo>
                <a:lnTo>
                  <a:pt x="1102081" y="1270445"/>
                </a:lnTo>
                <a:lnTo>
                  <a:pt x="1102081" y="1301648"/>
                </a:lnTo>
                <a:lnTo>
                  <a:pt x="1132942" y="1301648"/>
                </a:lnTo>
                <a:lnTo>
                  <a:pt x="1132942" y="1270445"/>
                </a:lnTo>
                <a:lnTo>
                  <a:pt x="1164145" y="1270445"/>
                </a:lnTo>
                <a:lnTo>
                  <a:pt x="1164145" y="1239584"/>
                </a:lnTo>
                <a:lnTo>
                  <a:pt x="1132942" y="1239584"/>
                </a:lnTo>
                <a:lnTo>
                  <a:pt x="1132942" y="1208380"/>
                </a:lnTo>
                <a:lnTo>
                  <a:pt x="1102081" y="1208380"/>
                </a:lnTo>
                <a:close/>
                <a:moveTo>
                  <a:pt x="1239926" y="936460"/>
                </a:moveTo>
                <a:lnTo>
                  <a:pt x="1239926" y="965949"/>
                </a:lnTo>
                <a:lnTo>
                  <a:pt x="1210437" y="965949"/>
                </a:lnTo>
                <a:lnTo>
                  <a:pt x="1210437" y="995439"/>
                </a:lnTo>
                <a:lnTo>
                  <a:pt x="1239926" y="995439"/>
                </a:lnTo>
                <a:lnTo>
                  <a:pt x="1239926" y="1024928"/>
                </a:lnTo>
                <a:lnTo>
                  <a:pt x="1269416" y="1024928"/>
                </a:lnTo>
                <a:lnTo>
                  <a:pt x="1269416" y="995439"/>
                </a:lnTo>
                <a:lnTo>
                  <a:pt x="1298905" y="995439"/>
                </a:lnTo>
                <a:lnTo>
                  <a:pt x="1298905" y="965949"/>
                </a:lnTo>
                <a:lnTo>
                  <a:pt x="1269416" y="965949"/>
                </a:lnTo>
                <a:lnTo>
                  <a:pt x="1269416" y="936460"/>
                </a:lnTo>
                <a:lnTo>
                  <a:pt x="1239926" y="936460"/>
                </a:lnTo>
                <a:close/>
                <a:moveTo>
                  <a:pt x="1376743" y="935088"/>
                </a:moveTo>
                <a:lnTo>
                  <a:pt x="1376743" y="965606"/>
                </a:lnTo>
                <a:lnTo>
                  <a:pt x="1346225" y="965606"/>
                </a:lnTo>
                <a:lnTo>
                  <a:pt x="1346225" y="995782"/>
                </a:lnTo>
                <a:lnTo>
                  <a:pt x="1376743" y="995782"/>
                </a:lnTo>
                <a:lnTo>
                  <a:pt x="1376743" y="1026300"/>
                </a:lnTo>
                <a:lnTo>
                  <a:pt x="1406919" y="1026300"/>
                </a:lnTo>
                <a:lnTo>
                  <a:pt x="1406919" y="995782"/>
                </a:lnTo>
                <a:lnTo>
                  <a:pt x="1437437" y="995782"/>
                </a:lnTo>
                <a:lnTo>
                  <a:pt x="1437437" y="965606"/>
                </a:lnTo>
                <a:lnTo>
                  <a:pt x="1406919" y="965606"/>
                </a:lnTo>
                <a:lnTo>
                  <a:pt x="1406919" y="935088"/>
                </a:lnTo>
                <a:lnTo>
                  <a:pt x="1376743" y="935088"/>
                </a:lnTo>
                <a:close/>
                <a:moveTo>
                  <a:pt x="1513218" y="933717"/>
                </a:moveTo>
                <a:lnTo>
                  <a:pt x="1513218" y="964921"/>
                </a:lnTo>
                <a:lnTo>
                  <a:pt x="1482014" y="964921"/>
                </a:lnTo>
                <a:lnTo>
                  <a:pt x="1482014" y="996467"/>
                </a:lnTo>
                <a:lnTo>
                  <a:pt x="1513218" y="996467"/>
                </a:lnTo>
                <a:lnTo>
                  <a:pt x="1513218" y="1027671"/>
                </a:lnTo>
                <a:lnTo>
                  <a:pt x="1544764" y="1027671"/>
                </a:lnTo>
                <a:lnTo>
                  <a:pt x="1544764" y="996467"/>
                </a:lnTo>
                <a:lnTo>
                  <a:pt x="1575968" y="996467"/>
                </a:lnTo>
                <a:lnTo>
                  <a:pt x="1575968" y="964921"/>
                </a:lnTo>
                <a:lnTo>
                  <a:pt x="1544764" y="964921"/>
                </a:lnTo>
                <a:lnTo>
                  <a:pt x="1544764" y="933717"/>
                </a:lnTo>
                <a:lnTo>
                  <a:pt x="1513218" y="933717"/>
                </a:lnTo>
                <a:close/>
                <a:moveTo>
                  <a:pt x="1582483" y="798614"/>
                </a:moveTo>
                <a:lnTo>
                  <a:pt x="1582483" y="828446"/>
                </a:lnTo>
                <a:lnTo>
                  <a:pt x="1552651" y="828446"/>
                </a:lnTo>
                <a:lnTo>
                  <a:pt x="1552651" y="858622"/>
                </a:lnTo>
                <a:lnTo>
                  <a:pt x="1582483" y="858622"/>
                </a:lnTo>
                <a:lnTo>
                  <a:pt x="1582483" y="888454"/>
                </a:lnTo>
                <a:lnTo>
                  <a:pt x="1612659" y="888454"/>
                </a:lnTo>
                <a:lnTo>
                  <a:pt x="1612659" y="858622"/>
                </a:lnTo>
                <a:lnTo>
                  <a:pt x="1642491" y="858622"/>
                </a:lnTo>
                <a:lnTo>
                  <a:pt x="1642491" y="828446"/>
                </a:lnTo>
                <a:lnTo>
                  <a:pt x="1612659" y="828446"/>
                </a:lnTo>
                <a:lnTo>
                  <a:pt x="1612659" y="798614"/>
                </a:lnTo>
                <a:lnTo>
                  <a:pt x="1582483" y="798614"/>
                </a:lnTo>
                <a:close/>
                <a:moveTo>
                  <a:pt x="1445666" y="799643"/>
                </a:moveTo>
                <a:lnTo>
                  <a:pt x="1445666" y="828789"/>
                </a:lnTo>
                <a:lnTo>
                  <a:pt x="1416520" y="828789"/>
                </a:lnTo>
                <a:lnTo>
                  <a:pt x="1416520" y="858279"/>
                </a:lnTo>
                <a:lnTo>
                  <a:pt x="1445666" y="858279"/>
                </a:lnTo>
                <a:lnTo>
                  <a:pt x="1445666" y="887425"/>
                </a:lnTo>
                <a:lnTo>
                  <a:pt x="1475156" y="887425"/>
                </a:lnTo>
                <a:lnTo>
                  <a:pt x="1475156" y="858279"/>
                </a:lnTo>
                <a:lnTo>
                  <a:pt x="1504302" y="858279"/>
                </a:lnTo>
                <a:lnTo>
                  <a:pt x="1504302" y="828789"/>
                </a:lnTo>
                <a:lnTo>
                  <a:pt x="1475156" y="828789"/>
                </a:lnTo>
                <a:lnTo>
                  <a:pt x="1475156" y="799643"/>
                </a:lnTo>
                <a:lnTo>
                  <a:pt x="1445666" y="799643"/>
                </a:lnTo>
                <a:close/>
                <a:moveTo>
                  <a:pt x="555841" y="1764563"/>
                </a:moveTo>
                <a:lnTo>
                  <a:pt x="555841" y="1790624"/>
                </a:lnTo>
                <a:lnTo>
                  <a:pt x="529780" y="1790624"/>
                </a:lnTo>
                <a:lnTo>
                  <a:pt x="529780" y="1816684"/>
                </a:lnTo>
                <a:lnTo>
                  <a:pt x="555841" y="1816684"/>
                </a:lnTo>
                <a:lnTo>
                  <a:pt x="555841" y="1842745"/>
                </a:lnTo>
                <a:lnTo>
                  <a:pt x="581901" y="1842745"/>
                </a:lnTo>
                <a:lnTo>
                  <a:pt x="581901" y="1816684"/>
                </a:lnTo>
                <a:lnTo>
                  <a:pt x="607962" y="1816684"/>
                </a:lnTo>
                <a:lnTo>
                  <a:pt x="607962" y="1790624"/>
                </a:lnTo>
                <a:lnTo>
                  <a:pt x="581901" y="1790624"/>
                </a:lnTo>
                <a:lnTo>
                  <a:pt x="581901" y="1764563"/>
                </a:lnTo>
                <a:lnTo>
                  <a:pt x="555841" y="1764563"/>
                </a:lnTo>
                <a:close/>
                <a:moveTo>
                  <a:pt x="650824" y="2255596"/>
                </a:moveTo>
                <a:lnTo>
                  <a:pt x="650824" y="2228507"/>
                </a:lnTo>
                <a:lnTo>
                  <a:pt x="677913" y="2228507"/>
                </a:lnTo>
                <a:lnTo>
                  <a:pt x="677913" y="2201761"/>
                </a:lnTo>
                <a:lnTo>
                  <a:pt x="650824" y="2201761"/>
                </a:lnTo>
                <a:lnTo>
                  <a:pt x="650824" y="2174672"/>
                </a:lnTo>
                <a:lnTo>
                  <a:pt x="624078" y="2174672"/>
                </a:lnTo>
                <a:lnTo>
                  <a:pt x="624078" y="2201761"/>
                </a:lnTo>
                <a:lnTo>
                  <a:pt x="596989" y="2201761"/>
                </a:lnTo>
                <a:lnTo>
                  <a:pt x="596989" y="2228507"/>
                </a:lnTo>
                <a:lnTo>
                  <a:pt x="624078" y="2228507"/>
                </a:lnTo>
                <a:lnTo>
                  <a:pt x="624078" y="2255596"/>
                </a:lnTo>
                <a:lnTo>
                  <a:pt x="650824" y="2255596"/>
                </a:lnTo>
                <a:close/>
                <a:moveTo>
                  <a:pt x="2573807" y="1989163"/>
                </a:moveTo>
                <a:lnTo>
                  <a:pt x="2573807" y="1956930"/>
                </a:lnTo>
                <a:lnTo>
                  <a:pt x="2606040" y="1956930"/>
                </a:lnTo>
                <a:lnTo>
                  <a:pt x="2606040" y="1924698"/>
                </a:lnTo>
                <a:lnTo>
                  <a:pt x="2573807" y="1924698"/>
                </a:lnTo>
                <a:lnTo>
                  <a:pt x="2573807" y="1892465"/>
                </a:lnTo>
                <a:lnTo>
                  <a:pt x="2541575" y="1892465"/>
                </a:lnTo>
                <a:lnTo>
                  <a:pt x="2541575" y="1924698"/>
                </a:lnTo>
                <a:lnTo>
                  <a:pt x="2509342" y="1924698"/>
                </a:lnTo>
                <a:lnTo>
                  <a:pt x="2509342" y="1956930"/>
                </a:lnTo>
                <a:lnTo>
                  <a:pt x="2541575" y="1956930"/>
                </a:lnTo>
                <a:lnTo>
                  <a:pt x="2541575" y="1989163"/>
                </a:lnTo>
                <a:lnTo>
                  <a:pt x="2573807" y="1989163"/>
                </a:lnTo>
                <a:close/>
                <a:moveTo>
                  <a:pt x="788327" y="2530945"/>
                </a:moveTo>
                <a:lnTo>
                  <a:pt x="788327" y="2503170"/>
                </a:lnTo>
                <a:lnTo>
                  <a:pt x="816102" y="2503170"/>
                </a:lnTo>
                <a:lnTo>
                  <a:pt x="816102" y="2475738"/>
                </a:lnTo>
                <a:lnTo>
                  <a:pt x="788327" y="2475738"/>
                </a:lnTo>
                <a:lnTo>
                  <a:pt x="788327" y="2447963"/>
                </a:lnTo>
                <a:lnTo>
                  <a:pt x="760895" y="2447963"/>
                </a:lnTo>
                <a:lnTo>
                  <a:pt x="760895" y="2475738"/>
                </a:lnTo>
                <a:lnTo>
                  <a:pt x="733120" y="2475738"/>
                </a:lnTo>
                <a:lnTo>
                  <a:pt x="733120" y="2503170"/>
                </a:lnTo>
                <a:lnTo>
                  <a:pt x="760895" y="2503170"/>
                </a:lnTo>
                <a:lnTo>
                  <a:pt x="760895" y="2530945"/>
                </a:lnTo>
                <a:lnTo>
                  <a:pt x="788327" y="2530945"/>
                </a:lnTo>
                <a:close/>
                <a:moveTo>
                  <a:pt x="719747" y="2393442"/>
                </a:moveTo>
                <a:lnTo>
                  <a:pt x="719747" y="2366010"/>
                </a:lnTo>
                <a:lnTo>
                  <a:pt x="747179" y="2366010"/>
                </a:lnTo>
                <a:lnTo>
                  <a:pt x="747179" y="2338578"/>
                </a:lnTo>
                <a:lnTo>
                  <a:pt x="719747" y="2338578"/>
                </a:lnTo>
                <a:lnTo>
                  <a:pt x="719747" y="2311146"/>
                </a:lnTo>
                <a:lnTo>
                  <a:pt x="692315" y="2311146"/>
                </a:lnTo>
                <a:lnTo>
                  <a:pt x="692315" y="2338578"/>
                </a:lnTo>
                <a:lnTo>
                  <a:pt x="664883" y="2338578"/>
                </a:lnTo>
                <a:lnTo>
                  <a:pt x="664883" y="2366010"/>
                </a:lnTo>
                <a:lnTo>
                  <a:pt x="692315" y="2366010"/>
                </a:lnTo>
                <a:lnTo>
                  <a:pt x="692315" y="2393442"/>
                </a:lnTo>
                <a:lnTo>
                  <a:pt x="719747" y="2393442"/>
                </a:lnTo>
                <a:close/>
                <a:moveTo>
                  <a:pt x="581901" y="2117065"/>
                </a:moveTo>
                <a:lnTo>
                  <a:pt x="581901" y="2091004"/>
                </a:lnTo>
                <a:lnTo>
                  <a:pt x="607962" y="2091004"/>
                </a:lnTo>
                <a:lnTo>
                  <a:pt x="607962" y="2064944"/>
                </a:lnTo>
                <a:lnTo>
                  <a:pt x="581901" y="2064944"/>
                </a:lnTo>
                <a:lnTo>
                  <a:pt x="581901" y="2038883"/>
                </a:lnTo>
                <a:lnTo>
                  <a:pt x="555841" y="2038883"/>
                </a:lnTo>
                <a:lnTo>
                  <a:pt x="555841" y="2064944"/>
                </a:lnTo>
                <a:lnTo>
                  <a:pt x="529780" y="2064944"/>
                </a:lnTo>
                <a:lnTo>
                  <a:pt x="529780" y="2091004"/>
                </a:lnTo>
                <a:lnTo>
                  <a:pt x="555841" y="2091004"/>
                </a:lnTo>
                <a:lnTo>
                  <a:pt x="555841" y="2117065"/>
                </a:lnTo>
                <a:lnTo>
                  <a:pt x="581901" y="2117065"/>
                </a:lnTo>
                <a:close/>
                <a:moveTo>
                  <a:pt x="829475" y="1213866"/>
                </a:moveTo>
                <a:lnTo>
                  <a:pt x="829475" y="1241298"/>
                </a:lnTo>
                <a:lnTo>
                  <a:pt x="802043" y="1241298"/>
                </a:lnTo>
                <a:lnTo>
                  <a:pt x="802043" y="1268730"/>
                </a:lnTo>
                <a:lnTo>
                  <a:pt x="829475" y="1268730"/>
                </a:lnTo>
                <a:lnTo>
                  <a:pt x="829475" y="1296162"/>
                </a:lnTo>
                <a:lnTo>
                  <a:pt x="856907" y="1296162"/>
                </a:lnTo>
                <a:lnTo>
                  <a:pt x="856907" y="1268730"/>
                </a:lnTo>
                <a:lnTo>
                  <a:pt x="884339" y="1268730"/>
                </a:lnTo>
                <a:lnTo>
                  <a:pt x="884339" y="1241298"/>
                </a:lnTo>
                <a:lnTo>
                  <a:pt x="856907" y="1241298"/>
                </a:lnTo>
                <a:lnTo>
                  <a:pt x="856907" y="1213866"/>
                </a:lnTo>
                <a:lnTo>
                  <a:pt x="829475" y="1213866"/>
                </a:lnTo>
                <a:close/>
                <a:moveTo>
                  <a:pt x="624078" y="1626375"/>
                </a:moveTo>
                <a:lnTo>
                  <a:pt x="624078" y="1653121"/>
                </a:lnTo>
                <a:lnTo>
                  <a:pt x="597332" y="1653121"/>
                </a:lnTo>
                <a:lnTo>
                  <a:pt x="597332" y="1679867"/>
                </a:lnTo>
                <a:lnTo>
                  <a:pt x="624078" y="1679867"/>
                </a:lnTo>
                <a:lnTo>
                  <a:pt x="624078" y="1706613"/>
                </a:lnTo>
                <a:lnTo>
                  <a:pt x="650824" y="1706613"/>
                </a:lnTo>
                <a:lnTo>
                  <a:pt x="650824" y="1679867"/>
                </a:lnTo>
                <a:lnTo>
                  <a:pt x="677570" y="1679867"/>
                </a:lnTo>
                <a:lnTo>
                  <a:pt x="677570" y="1653121"/>
                </a:lnTo>
                <a:lnTo>
                  <a:pt x="650824" y="1653121"/>
                </a:lnTo>
                <a:lnTo>
                  <a:pt x="650824" y="1626375"/>
                </a:lnTo>
                <a:lnTo>
                  <a:pt x="624078" y="1626375"/>
                </a:lnTo>
                <a:close/>
                <a:moveTo>
                  <a:pt x="760895" y="1350683"/>
                </a:moveTo>
                <a:lnTo>
                  <a:pt x="760895" y="1378458"/>
                </a:lnTo>
                <a:lnTo>
                  <a:pt x="733120" y="1378458"/>
                </a:lnTo>
                <a:lnTo>
                  <a:pt x="733120" y="1405890"/>
                </a:lnTo>
                <a:lnTo>
                  <a:pt x="760895" y="1405890"/>
                </a:lnTo>
                <a:lnTo>
                  <a:pt x="760895" y="1433665"/>
                </a:lnTo>
                <a:lnTo>
                  <a:pt x="788327" y="1433665"/>
                </a:lnTo>
                <a:lnTo>
                  <a:pt x="788327" y="1405890"/>
                </a:lnTo>
                <a:lnTo>
                  <a:pt x="816102" y="1405890"/>
                </a:lnTo>
                <a:lnTo>
                  <a:pt x="816102" y="1378458"/>
                </a:lnTo>
                <a:lnTo>
                  <a:pt x="788327" y="1378458"/>
                </a:lnTo>
                <a:lnTo>
                  <a:pt x="788327" y="1350683"/>
                </a:lnTo>
                <a:lnTo>
                  <a:pt x="760895" y="1350683"/>
                </a:lnTo>
                <a:close/>
                <a:moveTo>
                  <a:pt x="692315" y="1488186"/>
                </a:moveTo>
                <a:lnTo>
                  <a:pt x="692315" y="1515618"/>
                </a:lnTo>
                <a:lnTo>
                  <a:pt x="664883" y="1515618"/>
                </a:lnTo>
                <a:lnTo>
                  <a:pt x="664883" y="1543050"/>
                </a:lnTo>
                <a:lnTo>
                  <a:pt x="692315" y="1543050"/>
                </a:lnTo>
                <a:lnTo>
                  <a:pt x="692315" y="1570482"/>
                </a:lnTo>
                <a:lnTo>
                  <a:pt x="719747" y="1570482"/>
                </a:lnTo>
                <a:lnTo>
                  <a:pt x="719747" y="1543050"/>
                </a:lnTo>
                <a:lnTo>
                  <a:pt x="747179" y="1543050"/>
                </a:lnTo>
                <a:lnTo>
                  <a:pt x="747179" y="1515618"/>
                </a:lnTo>
                <a:lnTo>
                  <a:pt x="719747" y="1515618"/>
                </a:lnTo>
                <a:lnTo>
                  <a:pt x="719747" y="1488186"/>
                </a:lnTo>
                <a:lnTo>
                  <a:pt x="692315" y="1488186"/>
                </a:lnTo>
                <a:close/>
                <a:moveTo>
                  <a:pt x="1789252" y="663854"/>
                </a:moveTo>
                <a:lnTo>
                  <a:pt x="1789252" y="692315"/>
                </a:lnTo>
                <a:lnTo>
                  <a:pt x="1760791" y="692315"/>
                </a:lnTo>
                <a:lnTo>
                  <a:pt x="1760791" y="720433"/>
                </a:lnTo>
                <a:lnTo>
                  <a:pt x="1789252" y="720433"/>
                </a:lnTo>
                <a:lnTo>
                  <a:pt x="1789252" y="748894"/>
                </a:lnTo>
                <a:lnTo>
                  <a:pt x="1817370" y="748894"/>
                </a:lnTo>
                <a:lnTo>
                  <a:pt x="1817370" y="720433"/>
                </a:lnTo>
                <a:lnTo>
                  <a:pt x="1845831" y="720433"/>
                </a:lnTo>
                <a:lnTo>
                  <a:pt x="1845831" y="692315"/>
                </a:lnTo>
                <a:lnTo>
                  <a:pt x="1817370" y="692315"/>
                </a:lnTo>
                <a:lnTo>
                  <a:pt x="1817370" y="663854"/>
                </a:lnTo>
                <a:lnTo>
                  <a:pt x="1789252" y="663854"/>
                </a:lnTo>
                <a:close/>
                <a:moveTo>
                  <a:pt x="2749372" y="938517"/>
                </a:moveTo>
                <a:lnTo>
                  <a:pt x="2749372" y="966635"/>
                </a:lnTo>
                <a:lnTo>
                  <a:pt x="2721254" y="966635"/>
                </a:lnTo>
                <a:lnTo>
                  <a:pt x="2721254" y="994753"/>
                </a:lnTo>
                <a:lnTo>
                  <a:pt x="2749372" y="994753"/>
                </a:lnTo>
                <a:lnTo>
                  <a:pt x="2749372" y="1022871"/>
                </a:lnTo>
                <a:lnTo>
                  <a:pt x="2777490" y="1022871"/>
                </a:lnTo>
                <a:lnTo>
                  <a:pt x="2777490" y="994753"/>
                </a:lnTo>
                <a:lnTo>
                  <a:pt x="2805608" y="994753"/>
                </a:lnTo>
                <a:lnTo>
                  <a:pt x="2805608" y="966635"/>
                </a:lnTo>
                <a:lnTo>
                  <a:pt x="2777490" y="966635"/>
                </a:lnTo>
                <a:lnTo>
                  <a:pt x="2777490" y="938517"/>
                </a:lnTo>
                <a:lnTo>
                  <a:pt x="2749372" y="938517"/>
                </a:lnTo>
                <a:close/>
                <a:moveTo>
                  <a:pt x="2613584" y="668312"/>
                </a:moveTo>
                <a:lnTo>
                  <a:pt x="2613584" y="693687"/>
                </a:lnTo>
                <a:lnTo>
                  <a:pt x="2588209" y="693687"/>
                </a:lnTo>
                <a:lnTo>
                  <a:pt x="2588209" y="719061"/>
                </a:lnTo>
                <a:lnTo>
                  <a:pt x="2613584" y="719061"/>
                </a:lnTo>
                <a:lnTo>
                  <a:pt x="2613584" y="744436"/>
                </a:lnTo>
                <a:lnTo>
                  <a:pt x="2638958" y="744436"/>
                </a:lnTo>
                <a:lnTo>
                  <a:pt x="2638958" y="719061"/>
                </a:lnTo>
                <a:lnTo>
                  <a:pt x="2664333" y="719061"/>
                </a:lnTo>
                <a:lnTo>
                  <a:pt x="2664333" y="693687"/>
                </a:lnTo>
                <a:lnTo>
                  <a:pt x="2638958" y="693687"/>
                </a:lnTo>
                <a:lnTo>
                  <a:pt x="2638958" y="668312"/>
                </a:lnTo>
                <a:lnTo>
                  <a:pt x="2613584" y="668312"/>
                </a:lnTo>
                <a:close/>
                <a:moveTo>
                  <a:pt x="2681478" y="803415"/>
                </a:moveTo>
                <a:lnTo>
                  <a:pt x="2681478" y="830161"/>
                </a:lnTo>
                <a:lnTo>
                  <a:pt x="2654732" y="830161"/>
                </a:lnTo>
                <a:lnTo>
                  <a:pt x="2654732" y="856907"/>
                </a:lnTo>
                <a:lnTo>
                  <a:pt x="2681478" y="856907"/>
                </a:lnTo>
                <a:lnTo>
                  <a:pt x="2681478" y="883653"/>
                </a:lnTo>
                <a:lnTo>
                  <a:pt x="2708224" y="883653"/>
                </a:lnTo>
                <a:lnTo>
                  <a:pt x="2708224" y="856907"/>
                </a:lnTo>
                <a:lnTo>
                  <a:pt x="2734970" y="856907"/>
                </a:lnTo>
                <a:lnTo>
                  <a:pt x="2734970" y="830161"/>
                </a:lnTo>
                <a:lnTo>
                  <a:pt x="2708224" y="830161"/>
                </a:lnTo>
                <a:lnTo>
                  <a:pt x="2708224" y="803415"/>
                </a:lnTo>
                <a:lnTo>
                  <a:pt x="2681478" y="803415"/>
                </a:lnTo>
                <a:close/>
                <a:moveTo>
                  <a:pt x="2543632" y="801357"/>
                </a:moveTo>
                <a:lnTo>
                  <a:pt x="2543632" y="829475"/>
                </a:lnTo>
                <a:lnTo>
                  <a:pt x="2515514" y="829475"/>
                </a:lnTo>
                <a:lnTo>
                  <a:pt x="2515514" y="857593"/>
                </a:lnTo>
                <a:lnTo>
                  <a:pt x="2543632" y="857593"/>
                </a:lnTo>
                <a:lnTo>
                  <a:pt x="2543632" y="885711"/>
                </a:lnTo>
                <a:lnTo>
                  <a:pt x="2571750" y="885711"/>
                </a:lnTo>
                <a:lnTo>
                  <a:pt x="2571750" y="857593"/>
                </a:lnTo>
                <a:lnTo>
                  <a:pt x="2599868" y="857593"/>
                </a:lnTo>
                <a:lnTo>
                  <a:pt x="2599868" y="829475"/>
                </a:lnTo>
                <a:lnTo>
                  <a:pt x="2571750" y="829475"/>
                </a:lnTo>
                <a:lnTo>
                  <a:pt x="2571750" y="801357"/>
                </a:lnTo>
                <a:lnTo>
                  <a:pt x="2543632" y="801357"/>
                </a:lnTo>
                <a:close/>
                <a:moveTo>
                  <a:pt x="2475738" y="666598"/>
                </a:moveTo>
                <a:lnTo>
                  <a:pt x="2475738" y="693001"/>
                </a:lnTo>
                <a:lnTo>
                  <a:pt x="2449335" y="693001"/>
                </a:lnTo>
                <a:lnTo>
                  <a:pt x="2449335" y="719747"/>
                </a:lnTo>
                <a:lnTo>
                  <a:pt x="2475738" y="719747"/>
                </a:lnTo>
                <a:lnTo>
                  <a:pt x="2475738" y="746150"/>
                </a:lnTo>
                <a:lnTo>
                  <a:pt x="2502484" y="746150"/>
                </a:lnTo>
                <a:lnTo>
                  <a:pt x="2502484" y="719747"/>
                </a:lnTo>
                <a:lnTo>
                  <a:pt x="2528888" y="719747"/>
                </a:lnTo>
                <a:lnTo>
                  <a:pt x="2528888" y="693001"/>
                </a:lnTo>
                <a:lnTo>
                  <a:pt x="2502484" y="693001"/>
                </a:lnTo>
                <a:lnTo>
                  <a:pt x="2502484" y="666598"/>
                </a:lnTo>
                <a:lnTo>
                  <a:pt x="2475738" y="666598"/>
                </a:lnTo>
                <a:close/>
                <a:moveTo>
                  <a:pt x="2819324" y="805472"/>
                </a:moveTo>
                <a:lnTo>
                  <a:pt x="2819324" y="830847"/>
                </a:lnTo>
                <a:lnTo>
                  <a:pt x="2793949" y="830847"/>
                </a:lnTo>
                <a:lnTo>
                  <a:pt x="2793949" y="856221"/>
                </a:lnTo>
                <a:lnTo>
                  <a:pt x="2819324" y="856221"/>
                </a:lnTo>
                <a:lnTo>
                  <a:pt x="2819324" y="881596"/>
                </a:lnTo>
                <a:lnTo>
                  <a:pt x="2844698" y="881596"/>
                </a:lnTo>
                <a:lnTo>
                  <a:pt x="2844698" y="856221"/>
                </a:lnTo>
                <a:lnTo>
                  <a:pt x="2870073" y="856221"/>
                </a:lnTo>
                <a:lnTo>
                  <a:pt x="2870073" y="830847"/>
                </a:lnTo>
                <a:lnTo>
                  <a:pt x="2844698" y="830847"/>
                </a:lnTo>
                <a:lnTo>
                  <a:pt x="2844698" y="805472"/>
                </a:lnTo>
                <a:lnTo>
                  <a:pt x="2819324" y="805472"/>
                </a:lnTo>
                <a:close/>
                <a:moveTo>
                  <a:pt x="3024035" y="1213866"/>
                </a:moveTo>
                <a:lnTo>
                  <a:pt x="3024035" y="1241298"/>
                </a:lnTo>
                <a:lnTo>
                  <a:pt x="2996603" y="1241298"/>
                </a:lnTo>
                <a:lnTo>
                  <a:pt x="2996603" y="1268730"/>
                </a:lnTo>
                <a:lnTo>
                  <a:pt x="3024035" y="1268730"/>
                </a:lnTo>
                <a:lnTo>
                  <a:pt x="3024035" y="1296162"/>
                </a:lnTo>
                <a:lnTo>
                  <a:pt x="3051467" y="1296162"/>
                </a:lnTo>
                <a:lnTo>
                  <a:pt x="3051467" y="1268730"/>
                </a:lnTo>
                <a:lnTo>
                  <a:pt x="3078899" y="1268730"/>
                </a:lnTo>
                <a:lnTo>
                  <a:pt x="3078899" y="1241298"/>
                </a:lnTo>
                <a:lnTo>
                  <a:pt x="3051467" y="1241298"/>
                </a:lnTo>
                <a:lnTo>
                  <a:pt x="3051467" y="1213866"/>
                </a:lnTo>
                <a:lnTo>
                  <a:pt x="3024035" y="1213866"/>
                </a:lnTo>
                <a:close/>
                <a:moveTo>
                  <a:pt x="2405786" y="799643"/>
                </a:moveTo>
                <a:lnTo>
                  <a:pt x="2405786" y="828789"/>
                </a:lnTo>
                <a:lnTo>
                  <a:pt x="2376640" y="828789"/>
                </a:lnTo>
                <a:lnTo>
                  <a:pt x="2376640" y="858279"/>
                </a:lnTo>
                <a:lnTo>
                  <a:pt x="2405786" y="858279"/>
                </a:lnTo>
                <a:lnTo>
                  <a:pt x="2405786" y="887425"/>
                </a:lnTo>
                <a:lnTo>
                  <a:pt x="2435276" y="887425"/>
                </a:lnTo>
                <a:lnTo>
                  <a:pt x="2435276" y="858279"/>
                </a:lnTo>
                <a:lnTo>
                  <a:pt x="2464423" y="858279"/>
                </a:lnTo>
                <a:lnTo>
                  <a:pt x="2464423" y="828789"/>
                </a:lnTo>
                <a:lnTo>
                  <a:pt x="2435276" y="828789"/>
                </a:lnTo>
                <a:lnTo>
                  <a:pt x="2435276" y="799643"/>
                </a:lnTo>
                <a:lnTo>
                  <a:pt x="2405786" y="799643"/>
                </a:lnTo>
                <a:close/>
                <a:moveTo>
                  <a:pt x="2955455" y="1077049"/>
                </a:moveTo>
                <a:lnTo>
                  <a:pt x="2955455" y="1104138"/>
                </a:lnTo>
                <a:lnTo>
                  <a:pt x="2928366" y="1104138"/>
                </a:lnTo>
                <a:lnTo>
                  <a:pt x="2928366" y="1131570"/>
                </a:lnTo>
                <a:lnTo>
                  <a:pt x="2955455" y="1131570"/>
                </a:lnTo>
                <a:lnTo>
                  <a:pt x="2955455" y="1158659"/>
                </a:lnTo>
                <a:lnTo>
                  <a:pt x="2982887" y="1158659"/>
                </a:lnTo>
                <a:lnTo>
                  <a:pt x="2982887" y="1131570"/>
                </a:lnTo>
                <a:lnTo>
                  <a:pt x="3009976" y="1131570"/>
                </a:lnTo>
                <a:lnTo>
                  <a:pt x="3009976" y="1104138"/>
                </a:lnTo>
                <a:lnTo>
                  <a:pt x="2982887" y="1104138"/>
                </a:lnTo>
                <a:lnTo>
                  <a:pt x="2982887" y="1077049"/>
                </a:lnTo>
                <a:lnTo>
                  <a:pt x="2955455" y="1077049"/>
                </a:lnTo>
                <a:close/>
                <a:moveTo>
                  <a:pt x="2887561" y="941261"/>
                </a:moveTo>
                <a:lnTo>
                  <a:pt x="2887561" y="967664"/>
                </a:lnTo>
                <a:lnTo>
                  <a:pt x="2861158" y="967664"/>
                </a:lnTo>
                <a:lnTo>
                  <a:pt x="2861158" y="993724"/>
                </a:lnTo>
                <a:lnTo>
                  <a:pt x="2887561" y="993724"/>
                </a:lnTo>
                <a:lnTo>
                  <a:pt x="2887561" y="1020128"/>
                </a:lnTo>
                <a:lnTo>
                  <a:pt x="2913622" y="1020128"/>
                </a:lnTo>
                <a:lnTo>
                  <a:pt x="2913622" y="993724"/>
                </a:lnTo>
                <a:lnTo>
                  <a:pt x="2940025" y="993724"/>
                </a:lnTo>
                <a:lnTo>
                  <a:pt x="2940025" y="967664"/>
                </a:lnTo>
                <a:lnTo>
                  <a:pt x="2913622" y="967664"/>
                </a:lnTo>
                <a:lnTo>
                  <a:pt x="2913622" y="941261"/>
                </a:lnTo>
                <a:lnTo>
                  <a:pt x="2887561" y="941261"/>
                </a:lnTo>
                <a:close/>
                <a:moveTo>
                  <a:pt x="2200732" y="664197"/>
                </a:moveTo>
                <a:lnTo>
                  <a:pt x="2200732" y="692315"/>
                </a:lnTo>
                <a:lnTo>
                  <a:pt x="2172614" y="692315"/>
                </a:lnTo>
                <a:lnTo>
                  <a:pt x="2172614" y="720433"/>
                </a:lnTo>
                <a:lnTo>
                  <a:pt x="2200732" y="720433"/>
                </a:lnTo>
                <a:lnTo>
                  <a:pt x="2200732" y="748551"/>
                </a:lnTo>
                <a:lnTo>
                  <a:pt x="2228850" y="748551"/>
                </a:lnTo>
                <a:lnTo>
                  <a:pt x="2228850" y="720433"/>
                </a:lnTo>
                <a:lnTo>
                  <a:pt x="2256968" y="720433"/>
                </a:lnTo>
                <a:lnTo>
                  <a:pt x="2256968" y="692315"/>
                </a:lnTo>
                <a:lnTo>
                  <a:pt x="2228850" y="692315"/>
                </a:lnTo>
                <a:lnTo>
                  <a:pt x="2228850" y="664197"/>
                </a:lnTo>
                <a:lnTo>
                  <a:pt x="2200732" y="664197"/>
                </a:lnTo>
                <a:close/>
                <a:moveTo>
                  <a:pt x="1858861" y="530123"/>
                </a:moveTo>
                <a:lnTo>
                  <a:pt x="1858861" y="556184"/>
                </a:lnTo>
                <a:lnTo>
                  <a:pt x="1832800" y="556184"/>
                </a:lnTo>
                <a:lnTo>
                  <a:pt x="1832800" y="582244"/>
                </a:lnTo>
                <a:lnTo>
                  <a:pt x="1858861" y="582244"/>
                </a:lnTo>
                <a:lnTo>
                  <a:pt x="1858861" y="608305"/>
                </a:lnTo>
                <a:lnTo>
                  <a:pt x="1884921" y="608305"/>
                </a:lnTo>
                <a:lnTo>
                  <a:pt x="1884921" y="582244"/>
                </a:lnTo>
                <a:lnTo>
                  <a:pt x="1910982" y="582244"/>
                </a:lnTo>
                <a:lnTo>
                  <a:pt x="1910982" y="556184"/>
                </a:lnTo>
                <a:lnTo>
                  <a:pt x="1884921" y="556184"/>
                </a:lnTo>
                <a:lnTo>
                  <a:pt x="1884921" y="530123"/>
                </a:lnTo>
                <a:lnTo>
                  <a:pt x="1858861" y="530123"/>
                </a:lnTo>
                <a:close/>
                <a:moveTo>
                  <a:pt x="2338235" y="665226"/>
                </a:moveTo>
                <a:lnTo>
                  <a:pt x="2338235" y="692658"/>
                </a:lnTo>
                <a:lnTo>
                  <a:pt x="2310803" y="692658"/>
                </a:lnTo>
                <a:lnTo>
                  <a:pt x="2310803" y="720090"/>
                </a:lnTo>
                <a:lnTo>
                  <a:pt x="2338235" y="720090"/>
                </a:lnTo>
                <a:lnTo>
                  <a:pt x="2338235" y="747522"/>
                </a:lnTo>
                <a:lnTo>
                  <a:pt x="2365667" y="747522"/>
                </a:lnTo>
                <a:lnTo>
                  <a:pt x="2365667" y="720090"/>
                </a:lnTo>
                <a:lnTo>
                  <a:pt x="2393099" y="720090"/>
                </a:lnTo>
                <a:lnTo>
                  <a:pt x="2393099" y="692658"/>
                </a:lnTo>
                <a:lnTo>
                  <a:pt x="2365667" y="692658"/>
                </a:lnTo>
                <a:lnTo>
                  <a:pt x="2365667" y="665226"/>
                </a:lnTo>
                <a:lnTo>
                  <a:pt x="2338235" y="665226"/>
                </a:lnTo>
                <a:close/>
                <a:moveTo>
                  <a:pt x="1721701" y="530466"/>
                </a:moveTo>
                <a:lnTo>
                  <a:pt x="1721701" y="556184"/>
                </a:lnTo>
                <a:lnTo>
                  <a:pt x="1695983" y="556184"/>
                </a:lnTo>
                <a:lnTo>
                  <a:pt x="1695983" y="582244"/>
                </a:lnTo>
                <a:lnTo>
                  <a:pt x="1721701" y="582244"/>
                </a:lnTo>
                <a:lnTo>
                  <a:pt x="1721701" y="607962"/>
                </a:lnTo>
                <a:lnTo>
                  <a:pt x="1747761" y="607962"/>
                </a:lnTo>
                <a:lnTo>
                  <a:pt x="1747761" y="582244"/>
                </a:lnTo>
                <a:lnTo>
                  <a:pt x="1773479" y="582244"/>
                </a:lnTo>
                <a:lnTo>
                  <a:pt x="1773479" y="556184"/>
                </a:lnTo>
                <a:lnTo>
                  <a:pt x="1747761" y="556184"/>
                </a:lnTo>
                <a:lnTo>
                  <a:pt x="1747761" y="530466"/>
                </a:lnTo>
                <a:lnTo>
                  <a:pt x="1721701" y="530466"/>
                </a:lnTo>
                <a:close/>
                <a:moveTo>
                  <a:pt x="1996021" y="530123"/>
                </a:moveTo>
                <a:lnTo>
                  <a:pt x="1996021" y="556184"/>
                </a:lnTo>
                <a:lnTo>
                  <a:pt x="1969960" y="556184"/>
                </a:lnTo>
                <a:lnTo>
                  <a:pt x="1969960" y="582244"/>
                </a:lnTo>
                <a:lnTo>
                  <a:pt x="1996021" y="582244"/>
                </a:lnTo>
                <a:lnTo>
                  <a:pt x="1996021" y="608305"/>
                </a:lnTo>
                <a:lnTo>
                  <a:pt x="2022081" y="608305"/>
                </a:lnTo>
                <a:lnTo>
                  <a:pt x="2022081" y="582244"/>
                </a:lnTo>
                <a:lnTo>
                  <a:pt x="2048142" y="582244"/>
                </a:lnTo>
                <a:lnTo>
                  <a:pt x="2048142" y="556184"/>
                </a:lnTo>
                <a:lnTo>
                  <a:pt x="2022081" y="556184"/>
                </a:lnTo>
                <a:lnTo>
                  <a:pt x="2022081" y="530123"/>
                </a:lnTo>
                <a:lnTo>
                  <a:pt x="1996021" y="530123"/>
                </a:lnTo>
                <a:close/>
                <a:moveTo>
                  <a:pt x="1926069" y="663512"/>
                </a:moveTo>
                <a:lnTo>
                  <a:pt x="1926069" y="691972"/>
                </a:lnTo>
                <a:lnTo>
                  <a:pt x="1897609" y="691972"/>
                </a:lnTo>
                <a:lnTo>
                  <a:pt x="1897609" y="720776"/>
                </a:lnTo>
                <a:lnTo>
                  <a:pt x="1926069" y="720776"/>
                </a:lnTo>
                <a:lnTo>
                  <a:pt x="1926069" y="749237"/>
                </a:lnTo>
                <a:lnTo>
                  <a:pt x="1954873" y="749237"/>
                </a:lnTo>
                <a:lnTo>
                  <a:pt x="1954873" y="720776"/>
                </a:lnTo>
                <a:lnTo>
                  <a:pt x="1983334" y="720776"/>
                </a:lnTo>
                <a:lnTo>
                  <a:pt x="1983334" y="691972"/>
                </a:lnTo>
                <a:lnTo>
                  <a:pt x="1954873" y="691972"/>
                </a:lnTo>
                <a:lnTo>
                  <a:pt x="1954873" y="663512"/>
                </a:lnTo>
                <a:lnTo>
                  <a:pt x="1926069" y="663512"/>
                </a:lnTo>
                <a:close/>
                <a:moveTo>
                  <a:pt x="3093987" y="1080478"/>
                </a:moveTo>
                <a:lnTo>
                  <a:pt x="3093987" y="1105510"/>
                </a:lnTo>
                <a:lnTo>
                  <a:pt x="3068955" y="1105510"/>
                </a:lnTo>
                <a:lnTo>
                  <a:pt x="3068955" y="1130198"/>
                </a:lnTo>
                <a:lnTo>
                  <a:pt x="3093987" y="1130198"/>
                </a:lnTo>
                <a:lnTo>
                  <a:pt x="3093987" y="1155230"/>
                </a:lnTo>
                <a:lnTo>
                  <a:pt x="3118676" y="1155230"/>
                </a:lnTo>
                <a:lnTo>
                  <a:pt x="3118676" y="1130198"/>
                </a:lnTo>
                <a:lnTo>
                  <a:pt x="3143707" y="1130198"/>
                </a:lnTo>
                <a:lnTo>
                  <a:pt x="3143707" y="1105510"/>
                </a:lnTo>
                <a:lnTo>
                  <a:pt x="3118676" y="1105510"/>
                </a:lnTo>
                <a:lnTo>
                  <a:pt x="3118676" y="1080478"/>
                </a:lnTo>
                <a:lnTo>
                  <a:pt x="3093987" y="1080478"/>
                </a:lnTo>
                <a:close/>
                <a:moveTo>
                  <a:pt x="2270684" y="531152"/>
                </a:moveTo>
                <a:lnTo>
                  <a:pt x="2270684" y="556527"/>
                </a:lnTo>
                <a:lnTo>
                  <a:pt x="2245309" y="556527"/>
                </a:lnTo>
                <a:lnTo>
                  <a:pt x="2245309" y="581901"/>
                </a:lnTo>
                <a:lnTo>
                  <a:pt x="2270684" y="581901"/>
                </a:lnTo>
                <a:lnTo>
                  <a:pt x="2270684" y="607276"/>
                </a:lnTo>
                <a:lnTo>
                  <a:pt x="2296058" y="607276"/>
                </a:lnTo>
                <a:lnTo>
                  <a:pt x="2296058" y="581901"/>
                </a:lnTo>
                <a:lnTo>
                  <a:pt x="2321433" y="581901"/>
                </a:lnTo>
                <a:lnTo>
                  <a:pt x="2321433" y="556527"/>
                </a:lnTo>
                <a:lnTo>
                  <a:pt x="2296058" y="556527"/>
                </a:lnTo>
                <a:lnTo>
                  <a:pt x="2296058" y="531152"/>
                </a:lnTo>
                <a:lnTo>
                  <a:pt x="2270684" y="531152"/>
                </a:lnTo>
                <a:close/>
                <a:moveTo>
                  <a:pt x="2133181" y="530466"/>
                </a:moveTo>
                <a:lnTo>
                  <a:pt x="2133181" y="556184"/>
                </a:lnTo>
                <a:lnTo>
                  <a:pt x="2107463" y="556184"/>
                </a:lnTo>
                <a:lnTo>
                  <a:pt x="2107463" y="582244"/>
                </a:lnTo>
                <a:lnTo>
                  <a:pt x="2133181" y="582244"/>
                </a:lnTo>
                <a:lnTo>
                  <a:pt x="2133181" y="607962"/>
                </a:lnTo>
                <a:lnTo>
                  <a:pt x="2159242" y="607962"/>
                </a:lnTo>
                <a:lnTo>
                  <a:pt x="2159242" y="582244"/>
                </a:lnTo>
                <a:lnTo>
                  <a:pt x="2184959" y="582244"/>
                </a:lnTo>
                <a:lnTo>
                  <a:pt x="2184959" y="556184"/>
                </a:lnTo>
                <a:lnTo>
                  <a:pt x="2159242" y="556184"/>
                </a:lnTo>
                <a:lnTo>
                  <a:pt x="2159242" y="530466"/>
                </a:lnTo>
                <a:lnTo>
                  <a:pt x="2133181" y="530466"/>
                </a:lnTo>
                <a:close/>
                <a:moveTo>
                  <a:pt x="2063572" y="663854"/>
                </a:moveTo>
                <a:lnTo>
                  <a:pt x="2063572" y="692315"/>
                </a:lnTo>
                <a:lnTo>
                  <a:pt x="2035111" y="692315"/>
                </a:lnTo>
                <a:lnTo>
                  <a:pt x="2035111" y="720433"/>
                </a:lnTo>
                <a:lnTo>
                  <a:pt x="2063572" y="720433"/>
                </a:lnTo>
                <a:lnTo>
                  <a:pt x="2063572" y="748894"/>
                </a:lnTo>
                <a:lnTo>
                  <a:pt x="2091690" y="748894"/>
                </a:lnTo>
                <a:lnTo>
                  <a:pt x="2091690" y="720433"/>
                </a:lnTo>
                <a:lnTo>
                  <a:pt x="2120151" y="720433"/>
                </a:lnTo>
                <a:lnTo>
                  <a:pt x="2120151" y="692315"/>
                </a:lnTo>
                <a:lnTo>
                  <a:pt x="2091690" y="692315"/>
                </a:lnTo>
                <a:lnTo>
                  <a:pt x="2091690" y="663854"/>
                </a:lnTo>
                <a:lnTo>
                  <a:pt x="2063572" y="663854"/>
                </a:lnTo>
                <a:close/>
                <a:moveTo>
                  <a:pt x="2778862" y="2673248"/>
                </a:moveTo>
                <a:lnTo>
                  <a:pt x="2778862" y="2642045"/>
                </a:lnTo>
                <a:lnTo>
                  <a:pt x="2810066" y="2642045"/>
                </a:lnTo>
                <a:lnTo>
                  <a:pt x="2810066" y="2611184"/>
                </a:lnTo>
                <a:lnTo>
                  <a:pt x="2778862" y="2611184"/>
                </a:lnTo>
                <a:lnTo>
                  <a:pt x="2778862" y="2579980"/>
                </a:lnTo>
                <a:lnTo>
                  <a:pt x="2748001" y="2579980"/>
                </a:lnTo>
                <a:lnTo>
                  <a:pt x="2748001" y="2611184"/>
                </a:lnTo>
                <a:lnTo>
                  <a:pt x="2716797" y="2611184"/>
                </a:lnTo>
                <a:lnTo>
                  <a:pt x="2716797" y="2642045"/>
                </a:lnTo>
                <a:lnTo>
                  <a:pt x="2748001" y="2642045"/>
                </a:lnTo>
                <a:lnTo>
                  <a:pt x="2748001" y="2673248"/>
                </a:lnTo>
                <a:lnTo>
                  <a:pt x="2778862" y="2673248"/>
                </a:lnTo>
                <a:close/>
                <a:moveTo>
                  <a:pt x="2298459" y="3083014"/>
                </a:moveTo>
                <a:lnTo>
                  <a:pt x="2298459" y="3053182"/>
                </a:lnTo>
                <a:lnTo>
                  <a:pt x="2328291" y="3053182"/>
                </a:lnTo>
                <a:lnTo>
                  <a:pt x="2328291" y="3023006"/>
                </a:lnTo>
                <a:lnTo>
                  <a:pt x="2298459" y="3023006"/>
                </a:lnTo>
                <a:lnTo>
                  <a:pt x="2298459" y="2993174"/>
                </a:lnTo>
                <a:lnTo>
                  <a:pt x="2268284" y="2993174"/>
                </a:lnTo>
                <a:lnTo>
                  <a:pt x="2268284" y="3023006"/>
                </a:lnTo>
                <a:lnTo>
                  <a:pt x="2238451" y="3023006"/>
                </a:lnTo>
                <a:lnTo>
                  <a:pt x="2238451" y="3053182"/>
                </a:lnTo>
                <a:lnTo>
                  <a:pt x="2268284" y="3053182"/>
                </a:lnTo>
                <a:lnTo>
                  <a:pt x="2268284" y="3083014"/>
                </a:lnTo>
                <a:lnTo>
                  <a:pt x="2298459" y="3083014"/>
                </a:lnTo>
                <a:close/>
                <a:moveTo>
                  <a:pt x="2641016" y="2945168"/>
                </a:moveTo>
                <a:lnTo>
                  <a:pt x="2641016" y="2915679"/>
                </a:lnTo>
                <a:lnTo>
                  <a:pt x="2670505" y="2915679"/>
                </a:lnTo>
                <a:lnTo>
                  <a:pt x="2670505" y="2886189"/>
                </a:lnTo>
                <a:lnTo>
                  <a:pt x="2641016" y="2886189"/>
                </a:lnTo>
                <a:lnTo>
                  <a:pt x="2641016" y="2856700"/>
                </a:lnTo>
                <a:lnTo>
                  <a:pt x="2611526" y="2856700"/>
                </a:lnTo>
                <a:lnTo>
                  <a:pt x="2611526" y="2886189"/>
                </a:lnTo>
                <a:lnTo>
                  <a:pt x="2582037" y="2886189"/>
                </a:lnTo>
                <a:lnTo>
                  <a:pt x="2582037" y="2915679"/>
                </a:lnTo>
                <a:lnTo>
                  <a:pt x="2611526" y="2915679"/>
                </a:lnTo>
                <a:lnTo>
                  <a:pt x="2611526" y="2945168"/>
                </a:lnTo>
                <a:lnTo>
                  <a:pt x="2641016" y="2945168"/>
                </a:lnTo>
                <a:close/>
                <a:moveTo>
                  <a:pt x="2709939" y="2809380"/>
                </a:moveTo>
                <a:lnTo>
                  <a:pt x="2709939" y="2778862"/>
                </a:lnTo>
                <a:lnTo>
                  <a:pt x="2740457" y="2778862"/>
                </a:lnTo>
                <a:lnTo>
                  <a:pt x="2740457" y="2748686"/>
                </a:lnTo>
                <a:lnTo>
                  <a:pt x="2709939" y="2748686"/>
                </a:lnTo>
                <a:lnTo>
                  <a:pt x="2709939" y="2718168"/>
                </a:lnTo>
                <a:lnTo>
                  <a:pt x="2679764" y="2718168"/>
                </a:lnTo>
                <a:lnTo>
                  <a:pt x="2679764" y="2748686"/>
                </a:lnTo>
                <a:lnTo>
                  <a:pt x="2649245" y="2748686"/>
                </a:lnTo>
                <a:lnTo>
                  <a:pt x="2649245" y="2778862"/>
                </a:lnTo>
                <a:lnTo>
                  <a:pt x="2679764" y="2778862"/>
                </a:lnTo>
                <a:lnTo>
                  <a:pt x="2679764" y="2809380"/>
                </a:lnTo>
                <a:lnTo>
                  <a:pt x="2709939" y="2809380"/>
                </a:lnTo>
                <a:close/>
                <a:moveTo>
                  <a:pt x="2846413" y="2807322"/>
                </a:moveTo>
                <a:lnTo>
                  <a:pt x="2846413" y="2778176"/>
                </a:lnTo>
                <a:lnTo>
                  <a:pt x="2875559" y="2778176"/>
                </a:lnTo>
                <a:lnTo>
                  <a:pt x="2875559" y="2749372"/>
                </a:lnTo>
                <a:lnTo>
                  <a:pt x="2846413" y="2749372"/>
                </a:lnTo>
                <a:lnTo>
                  <a:pt x="2846413" y="2720226"/>
                </a:lnTo>
                <a:lnTo>
                  <a:pt x="2817610" y="2720226"/>
                </a:lnTo>
                <a:lnTo>
                  <a:pt x="2817610" y="2749372"/>
                </a:lnTo>
                <a:lnTo>
                  <a:pt x="2788463" y="2749372"/>
                </a:lnTo>
                <a:lnTo>
                  <a:pt x="2788463" y="2778176"/>
                </a:lnTo>
                <a:lnTo>
                  <a:pt x="2817610" y="2778176"/>
                </a:lnTo>
                <a:lnTo>
                  <a:pt x="2817610" y="2807322"/>
                </a:lnTo>
                <a:lnTo>
                  <a:pt x="2846413" y="2807322"/>
                </a:lnTo>
                <a:close/>
                <a:moveTo>
                  <a:pt x="2573465" y="2811094"/>
                </a:moveTo>
                <a:lnTo>
                  <a:pt x="2573465" y="2779547"/>
                </a:lnTo>
                <a:lnTo>
                  <a:pt x="2605012" y="2779547"/>
                </a:lnTo>
                <a:lnTo>
                  <a:pt x="2605012" y="2748001"/>
                </a:lnTo>
                <a:lnTo>
                  <a:pt x="2573465" y="2748001"/>
                </a:lnTo>
                <a:lnTo>
                  <a:pt x="2573465" y="2716454"/>
                </a:lnTo>
                <a:lnTo>
                  <a:pt x="2541918" y="2716454"/>
                </a:lnTo>
                <a:lnTo>
                  <a:pt x="2541918" y="2748001"/>
                </a:lnTo>
                <a:lnTo>
                  <a:pt x="2510371" y="2748001"/>
                </a:lnTo>
                <a:lnTo>
                  <a:pt x="2510371" y="2779547"/>
                </a:lnTo>
                <a:lnTo>
                  <a:pt x="2541918" y="2779547"/>
                </a:lnTo>
                <a:lnTo>
                  <a:pt x="2541918" y="2811094"/>
                </a:lnTo>
                <a:lnTo>
                  <a:pt x="2573465" y="2811094"/>
                </a:lnTo>
                <a:close/>
                <a:moveTo>
                  <a:pt x="2435276" y="3081985"/>
                </a:moveTo>
                <a:lnTo>
                  <a:pt x="2435276" y="3052839"/>
                </a:lnTo>
                <a:lnTo>
                  <a:pt x="2464423" y="3052839"/>
                </a:lnTo>
                <a:lnTo>
                  <a:pt x="2464423" y="3023349"/>
                </a:lnTo>
                <a:lnTo>
                  <a:pt x="2435276" y="3023349"/>
                </a:lnTo>
                <a:lnTo>
                  <a:pt x="2435276" y="2994203"/>
                </a:lnTo>
                <a:lnTo>
                  <a:pt x="2405786" y="2994203"/>
                </a:lnTo>
                <a:lnTo>
                  <a:pt x="2405786" y="3023349"/>
                </a:lnTo>
                <a:lnTo>
                  <a:pt x="2376640" y="3023349"/>
                </a:lnTo>
                <a:lnTo>
                  <a:pt x="2376640" y="3052839"/>
                </a:lnTo>
                <a:lnTo>
                  <a:pt x="2405786" y="3052839"/>
                </a:lnTo>
                <a:lnTo>
                  <a:pt x="2405786" y="3081985"/>
                </a:lnTo>
                <a:lnTo>
                  <a:pt x="2435276" y="3081985"/>
                </a:lnTo>
                <a:close/>
                <a:moveTo>
                  <a:pt x="2915336" y="2670505"/>
                </a:moveTo>
                <a:lnTo>
                  <a:pt x="2915336" y="2641359"/>
                </a:lnTo>
                <a:lnTo>
                  <a:pt x="2944483" y="2641359"/>
                </a:lnTo>
                <a:lnTo>
                  <a:pt x="2944483" y="2611869"/>
                </a:lnTo>
                <a:lnTo>
                  <a:pt x="2915336" y="2611869"/>
                </a:lnTo>
                <a:lnTo>
                  <a:pt x="2915336" y="2582723"/>
                </a:lnTo>
                <a:lnTo>
                  <a:pt x="2885846" y="2582723"/>
                </a:lnTo>
                <a:lnTo>
                  <a:pt x="2885846" y="2611869"/>
                </a:lnTo>
                <a:lnTo>
                  <a:pt x="2856700" y="2611869"/>
                </a:lnTo>
                <a:lnTo>
                  <a:pt x="2856700" y="2641359"/>
                </a:lnTo>
                <a:lnTo>
                  <a:pt x="2885846" y="2641359"/>
                </a:lnTo>
                <a:lnTo>
                  <a:pt x="2885846" y="2670505"/>
                </a:lnTo>
                <a:lnTo>
                  <a:pt x="2915336" y="2670505"/>
                </a:lnTo>
                <a:close/>
                <a:moveTo>
                  <a:pt x="2367725" y="2947911"/>
                </a:moveTo>
                <a:lnTo>
                  <a:pt x="2367725" y="2916707"/>
                </a:lnTo>
                <a:lnTo>
                  <a:pt x="2398928" y="2916707"/>
                </a:lnTo>
                <a:lnTo>
                  <a:pt x="2398928" y="2885161"/>
                </a:lnTo>
                <a:lnTo>
                  <a:pt x="2367725" y="2885161"/>
                </a:lnTo>
                <a:lnTo>
                  <a:pt x="2367725" y="2853957"/>
                </a:lnTo>
                <a:lnTo>
                  <a:pt x="2336178" y="2853957"/>
                </a:lnTo>
                <a:lnTo>
                  <a:pt x="2336178" y="2885161"/>
                </a:lnTo>
                <a:lnTo>
                  <a:pt x="2304974" y="2885161"/>
                </a:lnTo>
                <a:lnTo>
                  <a:pt x="2304974" y="2916707"/>
                </a:lnTo>
                <a:lnTo>
                  <a:pt x="2336178" y="2916707"/>
                </a:lnTo>
                <a:lnTo>
                  <a:pt x="2336178" y="2947911"/>
                </a:lnTo>
                <a:lnTo>
                  <a:pt x="2367725" y="2947911"/>
                </a:lnTo>
                <a:close/>
                <a:moveTo>
                  <a:pt x="2504542" y="2946883"/>
                </a:moveTo>
                <a:lnTo>
                  <a:pt x="2504542" y="2916365"/>
                </a:lnTo>
                <a:lnTo>
                  <a:pt x="2535060" y="2916365"/>
                </a:lnTo>
                <a:lnTo>
                  <a:pt x="2535060" y="2885504"/>
                </a:lnTo>
                <a:lnTo>
                  <a:pt x="2504542" y="2885504"/>
                </a:lnTo>
                <a:lnTo>
                  <a:pt x="2504542" y="2854985"/>
                </a:lnTo>
                <a:lnTo>
                  <a:pt x="2473681" y="2854985"/>
                </a:lnTo>
                <a:lnTo>
                  <a:pt x="2473681" y="2885504"/>
                </a:lnTo>
                <a:lnTo>
                  <a:pt x="2443163" y="2885504"/>
                </a:lnTo>
                <a:lnTo>
                  <a:pt x="2443163" y="2916365"/>
                </a:lnTo>
                <a:lnTo>
                  <a:pt x="2473681" y="2916365"/>
                </a:lnTo>
                <a:lnTo>
                  <a:pt x="2473681" y="2946883"/>
                </a:lnTo>
                <a:lnTo>
                  <a:pt x="2504542" y="2946883"/>
                </a:lnTo>
                <a:close/>
                <a:moveTo>
                  <a:pt x="3299727" y="1491958"/>
                </a:moveTo>
                <a:lnTo>
                  <a:pt x="3299727" y="1516990"/>
                </a:lnTo>
                <a:lnTo>
                  <a:pt x="3274695" y="1516990"/>
                </a:lnTo>
                <a:lnTo>
                  <a:pt x="3274695" y="1541678"/>
                </a:lnTo>
                <a:lnTo>
                  <a:pt x="3299727" y="1541678"/>
                </a:lnTo>
                <a:lnTo>
                  <a:pt x="3299727" y="1566710"/>
                </a:lnTo>
                <a:lnTo>
                  <a:pt x="3324416" y="1566710"/>
                </a:lnTo>
                <a:lnTo>
                  <a:pt x="3324416" y="1541678"/>
                </a:lnTo>
                <a:lnTo>
                  <a:pt x="3349447" y="1541678"/>
                </a:lnTo>
                <a:lnTo>
                  <a:pt x="3349447" y="1516990"/>
                </a:lnTo>
                <a:lnTo>
                  <a:pt x="3324416" y="1516990"/>
                </a:lnTo>
                <a:lnTo>
                  <a:pt x="3324416" y="1491958"/>
                </a:lnTo>
                <a:lnTo>
                  <a:pt x="3299727" y="1491958"/>
                </a:lnTo>
                <a:close/>
                <a:moveTo>
                  <a:pt x="3299041" y="1764563"/>
                </a:moveTo>
                <a:lnTo>
                  <a:pt x="3299041" y="1790624"/>
                </a:lnTo>
                <a:lnTo>
                  <a:pt x="3272981" y="1790624"/>
                </a:lnTo>
                <a:lnTo>
                  <a:pt x="3272981" y="1816684"/>
                </a:lnTo>
                <a:lnTo>
                  <a:pt x="3299041" y="1816684"/>
                </a:lnTo>
                <a:lnTo>
                  <a:pt x="3299041" y="1842745"/>
                </a:lnTo>
                <a:lnTo>
                  <a:pt x="3325102" y="1842745"/>
                </a:lnTo>
                <a:lnTo>
                  <a:pt x="3325102" y="1816684"/>
                </a:lnTo>
                <a:lnTo>
                  <a:pt x="3351162" y="1816684"/>
                </a:lnTo>
                <a:lnTo>
                  <a:pt x="3351162" y="1790624"/>
                </a:lnTo>
                <a:lnTo>
                  <a:pt x="3325102" y="1790624"/>
                </a:lnTo>
                <a:lnTo>
                  <a:pt x="3325102" y="1764563"/>
                </a:lnTo>
                <a:lnTo>
                  <a:pt x="3299041" y="1764563"/>
                </a:lnTo>
                <a:close/>
                <a:moveTo>
                  <a:pt x="3162224" y="1216952"/>
                </a:moveTo>
                <a:lnTo>
                  <a:pt x="3162224" y="1242327"/>
                </a:lnTo>
                <a:lnTo>
                  <a:pt x="3136849" y="1242327"/>
                </a:lnTo>
                <a:lnTo>
                  <a:pt x="3136849" y="1267701"/>
                </a:lnTo>
                <a:lnTo>
                  <a:pt x="3162224" y="1267701"/>
                </a:lnTo>
                <a:lnTo>
                  <a:pt x="3162224" y="1293076"/>
                </a:lnTo>
                <a:lnTo>
                  <a:pt x="3187598" y="1293076"/>
                </a:lnTo>
                <a:lnTo>
                  <a:pt x="3187598" y="1267701"/>
                </a:lnTo>
                <a:lnTo>
                  <a:pt x="3212973" y="1267701"/>
                </a:lnTo>
                <a:lnTo>
                  <a:pt x="3212973" y="1242327"/>
                </a:lnTo>
                <a:lnTo>
                  <a:pt x="3187598" y="1242327"/>
                </a:lnTo>
                <a:lnTo>
                  <a:pt x="3187598" y="1216952"/>
                </a:lnTo>
                <a:lnTo>
                  <a:pt x="3162224" y="1216952"/>
                </a:lnTo>
                <a:close/>
                <a:moveTo>
                  <a:pt x="2983916" y="2533688"/>
                </a:moveTo>
                <a:lnTo>
                  <a:pt x="2983916" y="2504199"/>
                </a:lnTo>
                <a:lnTo>
                  <a:pt x="3013405" y="2504199"/>
                </a:lnTo>
                <a:lnTo>
                  <a:pt x="3013405" y="2474709"/>
                </a:lnTo>
                <a:lnTo>
                  <a:pt x="2983916" y="2474709"/>
                </a:lnTo>
                <a:lnTo>
                  <a:pt x="2983916" y="2445220"/>
                </a:lnTo>
                <a:lnTo>
                  <a:pt x="2954426" y="2445220"/>
                </a:lnTo>
                <a:lnTo>
                  <a:pt x="2954426" y="2474709"/>
                </a:lnTo>
                <a:lnTo>
                  <a:pt x="2924937" y="2474709"/>
                </a:lnTo>
                <a:lnTo>
                  <a:pt x="2924937" y="2504199"/>
                </a:lnTo>
                <a:lnTo>
                  <a:pt x="2954426" y="2504199"/>
                </a:lnTo>
                <a:lnTo>
                  <a:pt x="2954426" y="2533688"/>
                </a:lnTo>
                <a:lnTo>
                  <a:pt x="2983916" y="2533688"/>
                </a:lnTo>
                <a:close/>
                <a:moveTo>
                  <a:pt x="3325102" y="2117065"/>
                </a:moveTo>
                <a:lnTo>
                  <a:pt x="3325102" y="2091004"/>
                </a:lnTo>
                <a:lnTo>
                  <a:pt x="3351162" y="2091004"/>
                </a:lnTo>
                <a:lnTo>
                  <a:pt x="3351162" y="2064944"/>
                </a:lnTo>
                <a:lnTo>
                  <a:pt x="3325102" y="2064944"/>
                </a:lnTo>
                <a:lnTo>
                  <a:pt x="3325102" y="2038883"/>
                </a:lnTo>
                <a:lnTo>
                  <a:pt x="3299041" y="2038883"/>
                </a:lnTo>
                <a:lnTo>
                  <a:pt x="3299041" y="2064944"/>
                </a:lnTo>
                <a:lnTo>
                  <a:pt x="3272981" y="2064944"/>
                </a:lnTo>
                <a:lnTo>
                  <a:pt x="3272981" y="2091004"/>
                </a:lnTo>
                <a:lnTo>
                  <a:pt x="3299041" y="2091004"/>
                </a:lnTo>
                <a:lnTo>
                  <a:pt x="3299041" y="2117065"/>
                </a:lnTo>
                <a:lnTo>
                  <a:pt x="3325102" y="2117065"/>
                </a:lnTo>
                <a:close/>
                <a:moveTo>
                  <a:pt x="3230804" y="1354112"/>
                </a:moveTo>
                <a:lnTo>
                  <a:pt x="3230804" y="1379487"/>
                </a:lnTo>
                <a:lnTo>
                  <a:pt x="3205429" y="1379487"/>
                </a:lnTo>
                <a:lnTo>
                  <a:pt x="3205429" y="1404861"/>
                </a:lnTo>
                <a:lnTo>
                  <a:pt x="3230804" y="1404861"/>
                </a:lnTo>
                <a:lnTo>
                  <a:pt x="3230804" y="1430236"/>
                </a:lnTo>
                <a:lnTo>
                  <a:pt x="3256178" y="1430236"/>
                </a:lnTo>
                <a:lnTo>
                  <a:pt x="3256178" y="1404861"/>
                </a:lnTo>
                <a:lnTo>
                  <a:pt x="3281553" y="1404861"/>
                </a:lnTo>
                <a:lnTo>
                  <a:pt x="3281553" y="1379487"/>
                </a:lnTo>
                <a:lnTo>
                  <a:pt x="3256178" y="1379487"/>
                </a:lnTo>
                <a:lnTo>
                  <a:pt x="3256178" y="1354112"/>
                </a:lnTo>
                <a:lnTo>
                  <a:pt x="3230804" y="1354112"/>
                </a:lnTo>
                <a:close/>
                <a:moveTo>
                  <a:pt x="3051467" y="2668105"/>
                </a:moveTo>
                <a:lnTo>
                  <a:pt x="3051467" y="2640330"/>
                </a:lnTo>
                <a:lnTo>
                  <a:pt x="3079242" y="2640330"/>
                </a:lnTo>
                <a:lnTo>
                  <a:pt x="3079242" y="2612898"/>
                </a:lnTo>
                <a:lnTo>
                  <a:pt x="3051467" y="2612898"/>
                </a:lnTo>
                <a:lnTo>
                  <a:pt x="3051467" y="2585123"/>
                </a:lnTo>
                <a:lnTo>
                  <a:pt x="3024035" y="2585123"/>
                </a:lnTo>
                <a:lnTo>
                  <a:pt x="3024035" y="2612898"/>
                </a:lnTo>
                <a:lnTo>
                  <a:pt x="2996260" y="2612898"/>
                </a:lnTo>
                <a:lnTo>
                  <a:pt x="2996260" y="2640330"/>
                </a:lnTo>
                <a:lnTo>
                  <a:pt x="3024035" y="2640330"/>
                </a:lnTo>
                <a:lnTo>
                  <a:pt x="3024035" y="2668105"/>
                </a:lnTo>
                <a:lnTo>
                  <a:pt x="3051467" y="2668105"/>
                </a:lnTo>
                <a:close/>
                <a:moveTo>
                  <a:pt x="3256864" y="2255596"/>
                </a:moveTo>
                <a:lnTo>
                  <a:pt x="3256864" y="2228507"/>
                </a:lnTo>
                <a:lnTo>
                  <a:pt x="3283954" y="2228507"/>
                </a:lnTo>
                <a:lnTo>
                  <a:pt x="3283954" y="2201761"/>
                </a:lnTo>
                <a:lnTo>
                  <a:pt x="3256864" y="2201761"/>
                </a:lnTo>
                <a:lnTo>
                  <a:pt x="3256864" y="2174672"/>
                </a:lnTo>
                <a:lnTo>
                  <a:pt x="3230118" y="2174672"/>
                </a:lnTo>
                <a:lnTo>
                  <a:pt x="3230118" y="2201761"/>
                </a:lnTo>
                <a:lnTo>
                  <a:pt x="3203029" y="2201761"/>
                </a:lnTo>
                <a:lnTo>
                  <a:pt x="3203029" y="2228507"/>
                </a:lnTo>
                <a:lnTo>
                  <a:pt x="3230118" y="2228507"/>
                </a:lnTo>
                <a:lnTo>
                  <a:pt x="3230118" y="2255596"/>
                </a:lnTo>
                <a:lnTo>
                  <a:pt x="3256864" y="2255596"/>
                </a:lnTo>
                <a:close/>
                <a:moveTo>
                  <a:pt x="3120047" y="2530945"/>
                </a:moveTo>
                <a:lnTo>
                  <a:pt x="3120047" y="2503170"/>
                </a:lnTo>
                <a:lnTo>
                  <a:pt x="3147822" y="2503170"/>
                </a:lnTo>
                <a:lnTo>
                  <a:pt x="3147822" y="2475738"/>
                </a:lnTo>
                <a:lnTo>
                  <a:pt x="3120047" y="2475738"/>
                </a:lnTo>
                <a:lnTo>
                  <a:pt x="3120047" y="2447963"/>
                </a:lnTo>
                <a:lnTo>
                  <a:pt x="3092615" y="2447963"/>
                </a:lnTo>
                <a:lnTo>
                  <a:pt x="3092615" y="2475738"/>
                </a:lnTo>
                <a:lnTo>
                  <a:pt x="3064840" y="2475738"/>
                </a:lnTo>
                <a:lnTo>
                  <a:pt x="3064840" y="2503170"/>
                </a:lnTo>
                <a:lnTo>
                  <a:pt x="3092615" y="2503170"/>
                </a:lnTo>
                <a:lnTo>
                  <a:pt x="3092615" y="2530945"/>
                </a:lnTo>
                <a:lnTo>
                  <a:pt x="3120047" y="2530945"/>
                </a:lnTo>
                <a:close/>
                <a:moveTo>
                  <a:pt x="3188627" y="2393442"/>
                </a:moveTo>
                <a:lnTo>
                  <a:pt x="3188627" y="2366010"/>
                </a:lnTo>
                <a:lnTo>
                  <a:pt x="3216059" y="2366010"/>
                </a:lnTo>
                <a:lnTo>
                  <a:pt x="3216059" y="2338578"/>
                </a:lnTo>
                <a:lnTo>
                  <a:pt x="3188627" y="2338578"/>
                </a:lnTo>
                <a:lnTo>
                  <a:pt x="3188627" y="2311146"/>
                </a:lnTo>
                <a:lnTo>
                  <a:pt x="3161195" y="2311146"/>
                </a:lnTo>
                <a:lnTo>
                  <a:pt x="3161195" y="2338578"/>
                </a:lnTo>
                <a:lnTo>
                  <a:pt x="3133763" y="2338578"/>
                </a:lnTo>
                <a:lnTo>
                  <a:pt x="3133763" y="2366010"/>
                </a:lnTo>
                <a:lnTo>
                  <a:pt x="3161195" y="2366010"/>
                </a:lnTo>
                <a:lnTo>
                  <a:pt x="3161195" y="2393442"/>
                </a:lnTo>
                <a:lnTo>
                  <a:pt x="3188627" y="2393442"/>
                </a:lnTo>
                <a:close/>
                <a:moveTo>
                  <a:pt x="1581455" y="1069505"/>
                </a:moveTo>
                <a:lnTo>
                  <a:pt x="1581455" y="1101738"/>
                </a:lnTo>
                <a:lnTo>
                  <a:pt x="1549222" y="1101738"/>
                </a:lnTo>
                <a:lnTo>
                  <a:pt x="1549222" y="1133970"/>
                </a:lnTo>
                <a:lnTo>
                  <a:pt x="1581455" y="1133970"/>
                </a:lnTo>
                <a:lnTo>
                  <a:pt x="1581455" y="1166203"/>
                </a:lnTo>
                <a:lnTo>
                  <a:pt x="1613687" y="1166203"/>
                </a:lnTo>
                <a:lnTo>
                  <a:pt x="1613687" y="1133970"/>
                </a:lnTo>
                <a:lnTo>
                  <a:pt x="1645920" y="1133970"/>
                </a:lnTo>
                <a:lnTo>
                  <a:pt x="1645920" y="1101738"/>
                </a:lnTo>
                <a:lnTo>
                  <a:pt x="1613687" y="1101738"/>
                </a:lnTo>
                <a:lnTo>
                  <a:pt x="1613687" y="1069505"/>
                </a:lnTo>
                <a:lnTo>
                  <a:pt x="1581455" y="1069505"/>
                </a:lnTo>
                <a:close/>
                <a:moveTo>
                  <a:pt x="991324" y="3141993"/>
                </a:moveTo>
                <a:lnTo>
                  <a:pt x="969378" y="3141993"/>
                </a:lnTo>
                <a:lnTo>
                  <a:pt x="969378" y="3164281"/>
                </a:lnTo>
                <a:lnTo>
                  <a:pt x="947090" y="3164281"/>
                </a:lnTo>
                <a:lnTo>
                  <a:pt x="947090" y="3186227"/>
                </a:lnTo>
                <a:lnTo>
                  <a:pt x="969378" y="3186227"/>
                </a:lnTo>
                <a:lnTo>
                  <a:pt x="969378" y="3208515"/>
                </a:lnTo>
                <a:lnTo>
                  <a:pt x="991324" y="3208515"/>
                </a:lnTo>
                <a:lnTo>
                  <a:pt x="991324" y="3186227"/>
                </a:lnTo>
                <a:lnTo>
                  <a:pt x="1013612" y="3186227"/>
                </a:lnTo>
                <a:lnTo>
                  <a:pt x="1013612" y="3164281"/>
                </a:lnTo>
                <a:lnTo>
                  <a:pt x="991324" y="3164281"/>
                </a:lnTo>
                <a:lnTo>
                  <a:pt x="991324" y="3141993"/>
                </a:lnTo>
                <a:close/>
                <a:moveTo>
                  <a:pt x="1056475" y="3564446"/>
                </a:moveTo>
                <a:lnTo>
                  <a:pt x="1041387" y="3564446"/>
                </a:lnTo>
                <a:lnTo>
                  <a:pt x="1041387" y="3579190"/>
                </a:lnTo>
                <a:lnTo>
                  <a:pt x="1026643" y="3579190"/>
                </a:lnTo>
                <a:lnTo>
                  <a:pt x="1026643" y="3594278"/>
                </a:lnTo>
                <a:lnTo>
                  <a:pt x="1041387" y="3594278"/>
                </a:lnTo>
                <a:lnTo>
                  <a:pt x="1041387" y="3609023"/>
                </a:lnTo>
                <a:lnTo>
                  <a:pt x="1056475" y="3609023"/>
                </a:lnTo>
                <a:lnTo>
                  <a:pt x="1056475" y="3594278"/>
                </a:lnTo>
                <a:lnTo>
                  <a:pt x="1071220" y="3594278"/>
                </a:lnTo>
                <a:lnTo>
                  <a:pt x="1071220" y="3579190"/>
                </a:lnTo>
                <a:lnTo>
                  <a:pt x="1056475" y="3579190"/>
                </a:lnTo>
                <a:lnTo>
                  <a:pt x="1056475" y="3564446"/>
                </a:lnTo>
                <a:close/>
                <a:moveTo>
                  <a:pt x="1059218" y="3281553"/>
                </a:moveTo>
                <a:lnTo>
                  <a:pt x="1038644" y="3281553"/>
                </a:lnTo>
                <a:lnTo>
                  <a:pt x="1038644" y="3302127"/>
                </a:lnTo>
                <a:lnTo>
                  <a:pt x="1018070" y="3302127"/>
                </a:lnTo>
                <a:lnTo>
                  <a:pt x="1018070" y="3322701"/>
                </a:lnTo>
                <a:lnTo>
                  <a:pt x="1038644" y="3322701"/>
                </a:lnTo>
                <a:lnTo>
                  <a:pt x="1038644" y="3343275"/>
                </a:lnTo>
                <a:lnTo>
                  <a:pt x="1059218" y="3343275"/>
                </a:lnTo>
                <a:lnTo>
                  <a:pt x="1059218" y="3322701"/>
                </a:lnTo>
                <a:lnTo>
                  <a:pt x="1079792" y="3322701"/>
                </a:lnTo>
                <a:lnTo>
                  <a:pt x="1079792" y="3302127"/>
                </a:lnTo>
                <a:lnTo>
                  <a:pt x="1059218" y="3302127"/>
                </a:lnTo>
                <a:lnTo>
                  <a:pt x="1059218" y="3281553"/>
                </a:lnTo>
                <a:close/>
                <a:moveTo>
                  <a:pt x="988924" y="3424199"/>
                </a:moveTo>
                <a:lnTo>
                  <a:pt x="971779" y="3424199"/>
                </a:lnTo>
                <a:lnTo>
                  <a:pt x="971779" y="3441002"/>
                </a:lnTo>
                <a:lnTo>
                  <a:pt x="954976" y="3441002"/>
                </a:lnTo>
                <a:lnTo>
                  <a:pt x="954976" y="3458147"/>
                </a:lnTo>
                <a:lnTo>
                  <a:pt x="971779" y="3458147"/>
                </a:lnTo>
                <a:lnTo>
                  <a:pt x="971779" y="3474949"/>
                </a:lnTo>
                <a:lnTo>
                  <a:pt x="988924" y="3474949"/>
                </a:lnTo>
                <a:lnTo>
                  <a:pt x="988924" y="3458147"/>
                </a:lnTo>
                <a:lnTo>
                  <a:pt x="1005726" y="3458147"/>
                </a:lnTo>
                <a:lnTo>
                  <a:pt x="1005726" y="3441002"/>
                </a:lnTo>
                <a:lnTo>
                  <a:pt x="988924" y="3441002"/>
                </a:lnTo>
                <a:lnTo>
                  <a:pt x="988924" y="3424199"/>
                </a:lnTo>
                <a:close/>
                <a:moveTo>
                  <a:pt x="923430" y="3003118"/>
                </a:moveTo>
                <a:lnTo>
                  <a:pt x="900112" y="3003118"/>
                </a:lnTo>
                <a:lnTo>
                  <a:pt x="900112" y="3026435"/>
                </a:lnTo>
                <a:lnTo>
                  <a:pt x="876795" y="3026435"/>
                </a:lnTo>
                <a:lnTo>
                  <a:pt x="876795" y="3049753"/>
                </a:lnTo>
                <a:lnTo>
                  <a:pt x="900112" y="3049753"/>
                </a:lnTo>
                <a:lnTo>
                  <a:pt x="900112" y="3073070"/>
                </a:lnTo>
                <a:lnTo>
                  <a:pt x="923430" y="3073070"/>
                </a:lnTo>
                <a:lnTo>
                  <a:pt x="923430" y="3049753"/>
                </a:lnTo>
                <a:lnTo>
                  <a:pt x="946747" y="3049753"/>
                </a:lnTo>
                <a:lnTo>
                  <a:pt x="946747" y="3026435"/>
                </a:lnTo>
                <a:lnTo>
                  <a:pt x="923430" y="3026435"/>
                </a:lnTo>
                <a:lnTo>
                  <a:pt x="923430" y="3003118"/>
                </a:lnTo>
                <a:close/>
                <a:moveTo>
                  <a:pt x="1105510" y="3210916"/>
                </a:moveTo>
                <a:lnTo>
                  <a:pt x="1129513" y="3210916"/>
                </a:lnTo>
                <a:lnTo>
                  <a:pt x="1129513" y="3187256"/>
                </a:lnTo>
                <a:lnTo>
                  <a:pt x="1153173" y="3187256"/>
                </a:lnTo>
                <a:lnTo>
                  <a:pt x="1153173" y="3163253"/>
                </a:lnTo>
                <a:lnTo>
                  <a:pt x="1129513" y="3163253"/>
                </a:lnTo>
                <a:lnTo>
                  <a:pt x="1129513" y="3139592"/>
                </a:lnTo>
                <a:lnTo>
                  <a:pt x="1105510" y="3139592"/>
                </a:lnTo>
                <a:lnTo>
                  <a:pt x="1105510" y="3163253"/>
                </a:lnTo>
                <a:lnTo>
                  <a:pt x="1081849" y="3163253"/>
                </a:lnTo>
                <a:lnTo>
                  <a:pt x="1081849" y="3187256"/>
                </a:lnTo>
                <a:lnTo>
                  <a:pt x="1105510" y="3187256"/>
                </a:lnTo>
                <a:lnTo>
                  <a:pt x="1105510" y="3210916"/>
                </a:lnTo>
                <a:close/>
                <a:moveTo>
                  <a:pt x="1197064" y="3279153"/>
                </a:moveTo>
                <a:lnTo>
                  <a:pt x="1175118" y="3279153"/>
                </a:lnTo>
                <a:lnTo>
                  <a:pt x="1175118" y="3301441"/>
                </a:lnTo>
                <a:lnTo>
                  <a:pt x="1152830" y="3301441"/>
                </a:lnTo>
                <a:lnTo>
                  <a:pt x="1152830" y="3323387"/>
                </a:lnTo>
                <a:lnTo>
                  <a:pt x="1175118" y="3323387"/>
                </a:lnTo>
                <a:lnTo>
                  <a:pt x="1175118" y="3345675"/>
                </a:lnTo>
                <a:lnTo>
                  <a:pt x="1197064" y="3345675"/>
                </a:lnTo>
                <a:lnTo>
                  <a:pt x="1197064" y="3323387"/>
                </a:lnTo>
                <a:lnTo>
                  <a:pt x="1219352" y="3323387"/>
                </a:lnTo>
                <a:lnTo>
                  <a:pt x="1219352" y="3301441"/>
                </a:lnTo>
                <a:lnTo>
                  <a:pt x="1197064" y="3301441"/>
                </a:lnTo>
                <a:lnTo>
                  <a:pt x="1197064" y="3279153"/>
                </a:lnTo>
                <a:close/>
                <a:moveTo>
                  <a:pt x="1194321" y="3562045"/>
                </a:moveTo>
                <a:lnTo>
                  <a:pt x="1177861" y="3562045"/>
                </a:lnTo>
                <a:lnTo>
                  <a:pt x="1177861" y="3578504"/>
                </a:lnTo>
                <a:lnTo>
                  <a:pt x="1161402" y="3578504"/>
                </a:lnTo>
                <a:lnTo>
                  <a:pt x="1161402" y="3594964"/>
                </a:lnTo>
                <a:lnTo>
                  <a:pt x="1177861" y="3594964"/>
                </a:lnTo>
                <a:lnTo>
                  <a:pt x="1177861" y="3611423"/>
                </a:lnTo>
                <a:lnTo>
                  <a:pt x="1194321" y="3611423"/>
                </a:lnTo>
                <a:lnTo>
                  <a:pt x="1194321" y="3594964"/>
                </a:lnTo>
                <a:lnTo>
                  <a:pt x="1210780" y="3594964"/>
                </a:lnTo>
                <a:lnTo>
                  <a:pt x="1210780" y="3578504"/>
                </a:lnTo>
                <a:lnTo>
                  <a:pt x="1194321" y="3578504"/>
                </a:lnTo>
                <a:lnTo>
                  <a:pt x="1194321" y="3562045"/>
                </a:lnTo>
                <a:close/>
                <a:moveTo>
                  <a:pt x="921029" y="3284296"/>
                </a:moveTo>
                <a:lnTo>
                  <a:pt x="902513" y="3284296"/>
                </a:lnTo>
                <a:lnTo>
                  <a:pt x="902513" y="3303156"/>
                </a:lnTo>
                <a:lnTo>
                  <a:pt x="883653" y="3303156"/>
                </a:lnTo>
                <a:lnTo>
                  <a:pt x="883653" y="3321672"/>
                </a:lnTo>
                <a:lnTo>
                  <a:pt x="902513" y="3321672"/>
                </a:lnTo>
                <a:lnTo>
                  <a:pt x="902513" y="3340532"/>
                </a:lnTo>
                <a:lnTo>
                  <a:pt x="921029" y="3340532"/>
                </a:lnTo>
                <a:lnTo>
                  <a:pt x="921029" y="3321672"/>
                </a:lnTo>
                <a:lnTo>
                  <a:pt x="939889" y="3321672"/>
                </a:lnTo>
                <a:lnTo>
                  <a:pt x="939889" y="3303156"/>
                </a:lnTo>
                <a:lnTo>
                  <a:pt x="921029" y="3303156"/>
                </a:lnTo>
                <a:lnTo>
                  <a:pt x="921029" y="3284296"/>
                </a:lnTo>
                <a:close/>
                <a:moveTo>
                  <a:pt x="1123683" y="3705035"/>
                </a:moveTo>
                <a:lnTo>
                  <a:pt x="1111339" y="3705035"/>
                </a:lnTo>
                <a:lnTo>
                  <a:pt x="1111339" y="3717722"/>
                </a:lnTo>
                <a:lnTo>
                  <a:pt x="1098652" y="3717722"/>
                </a:lnTo>
                <a:lnTo>
                  <a:pt x="1098652" y="3730066"/>
                </a:lnTo>
                <a:lnTo>
                  <a:pt x="1111339" y="3730066"/>
                </a:lnTo>
                <a:lnTo>
                  <a:pt x="1111339" y="3742754"/>
                </a:lnTo>
                <a:lnTo>
                  <a:pt x="1123683" y="3742754"/>
                </a:lnTo>
                <a:lnTo>
                  <a:pt x="1123683" y="3730066"/>
                </a:lnTo>
                <a:lnTo>
                  <a:pt x="1136371" y="3730066"/>
                </a:lnTo>
                <a:lnTo>
                  <a:pt x="1136371" y="3717722"/>
                </a:lnTo>
                <a:lnTo>
                  <a:pt x="1123683" y="3717722"/>
                </a:lnTo>
                <a:lnTo>
                  <a:pt x="1123683" y="3705035"/>
                </a:lnTo>
                <a:close/>
                <a:moveTo>
                  <a:pt x="1126769" y="3421799"/>
                </a:moveTo>
                <a:lnTo>
                  <a:pt x="1108253" y="3421799"/>
                </a:lnTo>
                <a:lnTo>
                  <a:pt x="1108253" y="3440316"/>
                </a:lnTo>
                <a:lnTo>
                  <a:pt x="1089736" y="3440316"/>
                </a:lnTo>
                <a:lnTo>
                  <a:pt x="1089736" y="3458832"/>
                </a:lnTo>
                <a:lnTo>
                  <a:pt x="1108253" y="3458832"/>
                </a:lnTo>
                <a:lnTo>
                  <a:pt x="1108253" y="3477349"/>
                </a:lnTo>
                <a:lnTo>
                  <a:pt x="1126769" y="3477349"/>
                </a:lnTo>
                <a:lnTo>
                  <a:pt x="1126769" y="3458832"/>
                </a:lnTo>
                <a:lnTo>
                  <a:pt x="1145286" y="3458832"/>
                </a:lnTo>
                <a:lnTo>
                  <a:pt x="1145286" y="3440316"/>
                </a:lnTo>
                <a:lnTo>
                  <a:pt x="1126769" y="3440316"/>
                </a:lnTo>
                <a:lnTo>
                  <a:pt x="1126769" y="3421799"/>
                </a:lnTo>
                <a:close/>
                <a:moveTo>
                  <a:pt x="717004" y="2867673"/>
                </a:moveTo>
                <a:lnTo>
                  <a:pt x="695058" y="2867673"/>
                </a:lnTo>
                <a:lnTo>
                  <a:pt x="695058" y="2889961"/>
                </a:lnTo>
                <a:lnTo>
                  <a:pt x="672770" y="2889961"/>
                </a:lnTo>
                <a:lnTo>
                  <a:pt x="672770" y="2911907"/>
                </a:lnTo>
                <a:lnTo>
                  <a:pt x="695058" y="2911907"/>
                </a:lnTo>
                <a:lnTo>
                  <a:pt x="695058" y="2934195"/>
                </a:lnTo>
                <a:lnTo>
                  <a:pt x="717004" y="2934195"/>
                </a:lnTo>
                <a:lnTo>
                  <a:pt x="717004" y="2911907"/>
                </a:lnTo>
                <a:lnTo>
                  <a:pt x="739292" y="2911907"/>
                </a:lnTo>
                <a:lnTo>
                  <a:pt x="739292" y="2889961"/>
                </a:lnTo>
                <a:lnTo>
                  <a:pt x="717004" y="2889961"/>
                </a:lnTo>
                <a:lnTo>
                  <a:pt x="717004" y="2867673"/>
                </a:lnTo>
                <a:close/>
                <a:moveTo>
                  <a:pt x="714946" y="3148508"/>
                </a:moveTo>
                <a:lnTo>
                  <a:pt x="697116" y="3148508"/>
                </a:lnTo>
                <a:lnTo>
                  <a:pt x="697116" y="3166339"/>
                </a:lnTo>
                <a:lnTo>
                  <a:pt x="679285" y="3166339"/>
                </a:lnTo>
                <a:lnTo>
                  <a:pt x="679285" y="3184169"/>
                </a:lnTo>
                <a:lnTo>
                  <a:pt x="697116" y="3184169"/>
                </a:lnTo>
                <a:lnTo>
                  <a:pt x="697116" y="3202000"/>
                </a:lnTo>
                <a:lnTo>
                  <a:pt x="714946" y="3202000"/>
                </a:lnTo>
                <a:lnTo>
                  <a:pt x="714946" y="3184169"/>
                </a:lnTo>
                <a:lnTo>
                  <a:pt x="732777" y="3184169"/>
                </a:lnTo>
                <a:lnTo>
                  <a:pt x="732777" y="3166339"/>
                </a:lnTo>
                <a:lnTo>
                  <a:pt x="714946" y="3166339"/>
                </a:lnTo>
                <a:lnTo>
                  <a:pt x="714946" y="3148508"/>
                </a:lnTo>
                <a:close/>
                <a:moveTo>
                  <a:pt x="782841" y="3287382"/>
                </a:moveTo>
                <a:lnTo>
                  <a:pt x="766381" y="3287382"/>
                </a:lnTo>
                <a:lnTo>
                  <a:pt x="766381" y="3304184"/>
                </a:lnTo>
                <a:lnTo>
                  <a:pt x="749579" y="3304184"/>
                </a:lnTo>
                <a:lnTo>
                  <a:pt x="749579" y="3320644"/>
                </a:lnTo>
                <a:lnTo>
                  <a:pt x="766381" y="3320644"/>
                </a:lnTo>
                <a:lnTo>
                  <a:pt x="766381" y="3337446"/>
                </a:lnTo>
                <a:lnTo>
                  <a:pt x="782841" y="3337446"/>
                </a:lnTo>
                <a:lnTo>
                  <a:pt x="782841" y="3320644"/>
                </a:lnTo>
                <a:lnTo>
                  <a:pt x="799643" y="3320644"/>
                </a:lnTo>
                <a:lnTo>
                  <a:pt x="799643" y="3304184"/>
                </a:lnTo>
                <a:lnTo>
                  <a:pt x="782841" y="3304184"/>
                </a:lnTo>
                <a:lnTo>
                  <a:pt x="782841" y="3287382"/>
                </a:lnTo>
                <a:close/>
                <a:moveTo>
                  <a:pt x="648767" y="2729827"/>
                </a:moveTo>
                <a:lnTo>
                  <a:pt x="626135" y="2729827"/>
                </a:lnTo>
                <a:lnTo>
                  <a:pt x="626135" y="2752458"/>
                </a:lnTo>
                <a:lnTo>
                  <a:pt x="603504" y="2752458"/>
                </a:lnTo>
                <a:lnTo>
                  <a:pt x="603504" y="2775090"/>
                </a:lnTo>
                <a:lnTo>
                  <a:pt x="626135" y="2775090"/>
                </a:lnTo>
                <a:lnTo>
                  <a:pt x="626135" y="2797721"/>
                </a:lnTo>
                <a:lnTo>
                  <a:pt x="648767" y="2797721"/>
                </a:lnTo>
                <a:lnTo>
                  <a:pt x="648767" y="2775090"/>
                </a:lnTo>
                <a:lnTo>
                  <a:pt x="671398" y="2775090"/>
                </a:lnTo>
                <a:lnTo>
                  <a:pt x="671398" y="2752458"/>
                </a:lnTo>
                <a:lnTo>
                  <a:pt x="648767" y="2752458"/>
                </a:lnTo>
                <a:lnTo>
                  <a:pt x="648767" y="2729827"/>
                </a:lnTo>
                <a:close/>
                <a:moveTo>
                  <a:pt x="785241" y="3006204"/>
                </a:moveTo>
                <a:lnTo>
                  <a:pt x="763981" y="3006204"/>
                </a:lnTo>
                <a:lnTo>
                  <a:pt x="763981" y="3027464"/>
                </a:lnTo>
                <a:lnTo>
                  <a:pt x="742721" y="3027464"/>
                </a:lnTo>
                <a:lnTo>
                  <a:pt x="742721" y="3048724"/>
                </a:lnTo>
                <a:lnTo>
                  <a:pt x="763981" y="3048724"/>
                </a:lnTo>
                <a:lnTo>
                  <a:pt x="763981" y="3069984"/>
                </a:lnTo>
                <a:lnTo>
                  <a:pt x="785241" y="3069984"/>
                </a:lnTo>
                <a:lnTo>
                  <a:pt x="785241" y="3048724"/>
                </a:lnTo>
                <a:lnTo>
                  <a:pt x="806501" y="3048724"/>
                </a:lnTo>
                <a:lnTo>
                  <a:pt x="806501" y="3027464"/>
                </a:lnTo>
                <a:lnTo>
                  <a:pt x="785241" y="3027464"/>
                </a:lnTo>
                <a:lnTo>
                  <a:pt x="785241" y="3006204"/>
                </a:lnTo>
                <a:close/>
                <a:moveTo>
                  <a:pt x="850735" y="3427286"/>
                </a:moveTo>
                <a:lnTo>
                  <a:pt x="835647" y="3427286"/>
                </a:lnTo>
                <a:lnTo>
                  <a:pt x="835647" y="3442030"/>
                </a:lnTo>
                <a:lnTo>
                  <a:pt x="820903" y="3442030"/>
                </a:lnTo>
                <a:lnTo>
                  <a:pt x="820903" y="3457118"/>
                </a:lnTo>
                <a:lnTo>
                  <a:pt x="835647" y="3457118"/>
                </a:lnTo>
                <a:lnTo>
                  <a:pt x="835647" y="3471863"/>
                </a:lnTo>
                <a:lnTo>
                  <a:pt x="850735" y="3471863"/>
                </a:lnTo>
                <a:lnTo>
                  <a:pt x="850735" y="3457118"/>
                </a:lnTo>
                <a:lnTo>
                  <a:pt x="865480" y="3457118"/>
                </a:lnTo>
                <a:lnTo>
                  <a:pt x="865480" y="3442030"/>
                </a:lnTo>
                <a:lnTo>
                  <a:pt x="850735" y="3442030"/>
                </a:lnTo>
                <a:lnTo>
                  <a:pt x="850735" y="3427286"/>
                </a:lnTo>
                <a:close/>
                <a:moveTo>
                  <a:pt x="918286" y="3567189"/>
                </a:moveTo>
                <a:lnTo>
                  <a:pt x="905256" y="3567189"/>
                </a:lnTo>
                <a:lnTo>
                  <a:pt x="905256" y="3580219"/>
                </a:lnTo>
                <a:lnTo>
                  <a:pt x="892226" y="3580219"/>
                </a:lnTo>
                <a:lnTo>
                  <a:pt x="892226" y="3593249"/>
                </a:lnTo>
                <a:lnTo>
                  <a:pt x="905256" y="3593249"/>
                </a:lnTo>
                <a:lnTo>
                  <a:pt x="905256" y="3606279"/>
                </a:lnTo>
                <a:lnTo>
                  <a:pt x="918286" y="3606279"/>
                </a:lnTo>
                <a:lnTo>
                  <a:pt x="918286" y="3593249"/>
                </a:lnTo>
                <a:lnTo>
                  <a:pt x="931316" y="3593249"/>
                </a:lnTo>
                <a:lnTo>
                  <a:pt x="931316" y="3580219"/>
                </a:lnTo>
                <a:lnTo>
                  <a:pt x="918286" y="3580219"/>
                </a:lnTo>
                <a:lnTo>
                  <a:pt x="918286" y="3567189"/>
                </a:lnTo>
                <a:close/>
                <a:moveTo>
                  <a:pt x="1882178" y="3556216"/>
                </a:moveTo>
                <a:lnTo>
                  <a:pt x="1861604" y="3556216"/>
                </a:lnTo>
                <a:lnTo>
                  <a:pt x="1861604" y="3576447"/>
                </a:lnTo>
                <a:lnTo>
                  <a:pt x="1841373" y="3576447"/>
                </a:lnTo>
                <a:lnTo>
                  <a:pt x="1841373" y="3597021"/>
                </a:lnTo>
                <a:lnTo>
                  <a:pt x="1861604" y="3597021"/>
                </a:lnTo>
                <a:lnTo>
                  <a:pt x="1861604" y="3617252"/>
                </a:lnTo>
                <a:lnTo>
                  <a:pt x="1882178" y="3617252"/>
                </a:lnTo>
                <a:lnTo>
                  <a:pt x="1882178" y="3597021"/>
                </a:lnTo>
                <a:lnTo>
                  <a:pt x="1902409" y="3597021"/>
                </a:lnTo>
                <a:lnTo>
                  <a:pt x="1902409" y="3576447"/>
                </a:lnTo>
                <a:lnTo>
                  <a:pt x="1882178" y="3576447"/>
                </a:lnTo>
                <a:lnTo>
                  <a:pt x="1882178" y="3556216"/>
                </a:lnTo>
                <a:close/>
                <a:moveTo>
                  <a:pt x="830847" y="2937624"/>
                </a:moveTo>
                <a:lnTo>
                  <a:pt x="855535" y="2937624"/>
                </a:lnTo>
                <a:lnTo>
                  <a:pt x="855535" y="2913278"/>
                </a:lnTo>
                <a:lnTo>
                  <a:pt x="879881" y="2913278"/>
                </a:lnTo>
                <a:lnTo>
                  <a:pt x="879881" y="2888590"/>
                </a:lnTo>
                <a:lnTo>
                  <a:pt x="855535" y="2888590"/>
                </a:lnTo>
                <a:lnTo>
                  <a:pt x="855535" y="2864244"/>
                </a:lnTo>
                <a:lnTo>
                  <a:pt x="830847" y="2864244"/>
                </a:lnTo>
                <a:lnTo>
                  <a:pt x="830847" y="2888590"/>
                </a:lnTo>
                <a:lnTo>
                  <a:pt x="806501" y="2888590"/>
                </a:lnTo>
                <a:lnTo>
                  <a:pt x="806501" y="2913278"/>
                </a:lnTo>
                <a:lnTo>
                  <a:pt x="830847" y="2913278"/>
                </a:lnTo>
                <a:lnTo>
                  <a:pt x="830847" y="2937624"/>
                </a:lnTo>
                <a:close/>
                <a:moveTo>
                  <a:pt x="712546" y="3430029"/>
                </a:moveTo>
                <a:lnTo>
                  <a:pt x="699516" y="3430029"/>
                </a:lnTo>
                <a:lnTo>
                  <a:pt x="699516" y="3443059"/>
                </a:lnTo>
                <a:lnTo>
                  <a:pt x="686486" y="3443059"/>
                </a:lnTo>
                <a:lnTo>
                  <a:pt x="686486" y="3456089"/>
                </a:lnTo>
                <a:lnTo>
                  <a:pt x="699516" y="3456089"/>
                </a:lnTo>
                <a:lnTo>
                  <a:pt x="699516" y="3469119"/>
                </a:lnTo>
                <a:lnTo>
                  <a:pt x="712546" y="3469119"/>
                </a:lnTo>
                <a:lnTo>
                  <a:pt x="712546" y="3456089"/>
                </a:lnTo>
                <a:lnTo>
                  <a:pt x="725576" y="3456089"/>
                </a:lnTo>
                <a:lnTo>
                  <a:pt x="725576" y="3443059"/>
                </a:lnTo>
                <a:lnTo>
                  <a:pt x="712546" y="3443059"/>
                </a:lnTo>
                <a:lnTo>
                  <a:pt x="712546" y="3430029"/>
                </a:lnTo>
                <a:close/>
                <a:moveTo>
                  <a:pt x="1741246" y="3841166"/>
                </a:moveTo>
                <a:lnTo>
                  <a:pt x="1728216" y="3841166"/>
                </a:lnTo>
                <a:lnTo>
                  <a:pt x="1728216" y="3854539"/>
                </a:lnTo>
                <a:lnTo>
                  <a:pt x="1714843" y="3854539"/>
                </a:lnTo>
                <a:lnTo>
                  <a:pt x="1714843" y="3867569"/>
                </a:lnTo>
                <a:lnTo>
                  <a:pt x="1728216" y="3867569"/>
                </a:lnTo>
                <a:lnTo>
                  <a:pt x="1728216" y="3880942"/>
                </a:lnTo>
                <a:lnTo>
                  <a:pt x="1741246" y="3880942"/>
                </a:lnTo>
                <a:lnTo>
                  <a:pt x="1741246" y="3867569"/>
                </a:lnTo>
                <a:lnTo>
                  <a:pt x="1754619" y="3867569"/>
                </a:lnTo>
                <a:lnTo>
                  <a:pt x="1754619" y="3854539"/>
                </a:lnTo>
                <a:lnTo>
                  <a:pt x="1741246" y="3854539"/>
                </a:lnTo>
                <a:lnTo>
                  <a:pt x="1741246" y="3841166"/>
                </a:lnTo>
                <a:close/>
                <a:moveTo>
                  <a:pt x="1674381" y="3699205"/>
                </a:moveTo>
                <a:lnTo>
                  <a:pt x="1657921" y="3699205"/>
                </a:lnTo>
                <a:lnTo>
                  <a:pt x="1657921" y="3715664"/>
                </a:lnTo>
                <a:lnTo>
                  <a:pt x="1641462" y="3715664"/>
                </a:lnTo>
                <a:lnTo>
                  <a:pt x="1641462" y="3732124"/>
                </a:lnTo>
                <a:lnTo>
                  <a:pt x="1657921" y="3732124"/>
                </a:lnTo>
                <a:lnTo>
                  <a:pt x="1657921" y="3748583"/>
                </a:lnTo>
                <a:lnTo>
                  <a:pt x="1674381" y="3748583"/>
                </a:lnTo>
                <a:lnTo>
                  <a:pt x="1674381" y="3732124"/>
                </a:lnTo>
                <a:lnTo>
                  <a:pt x="1690840" y="3732124"/>
                </a:lnTo>
                <a:lnTo>
                  <a:pt x="1690840" y="3715664"/>
                </a:lnTo>
                <a:lnTo>
                  <a:pt x="1674381" y="3715664"/>
                </a:lnTo>
                <a:lnTo>
                  <a:pt x="1674381" y="3699205"/>
                </a:lnTo>
                <a:close/>
                <a:moveTo>
                  <a:pt x="1677467" y="3415627"/>
                </a:moveTo>
                <a:lnTo>
                  <a:pt x="1654835" y="3415627"/>
                </a:lnTo>
                <a:lnTo>
                  <a:pt x="1654835" y="3438258"/>
                </a:lnTo>
                <a:lnTo>
                  <a:pt x="1632204" y="3438258"/>
                </a:lnTo>
                <a:lnTo>
                  <a:pt x="1632204" y="3460890"/>
                </a:lnTo>
                <a:lnTo>
                  <a:pt x="1654835" y="3460890"/>
                </a:lnTo>
                <a:lnTo>
                  <a:pt x="1654835" y="3483521"/>
                </a:lnTo>
                <a:lnTo>
                  <a:pt x="1677467" y="3483521"/>
                </a:lnTo>
                <a:lnTo>
                  <a:pt x="1677467" y="3460890"/>
                </a:lnTo>
                <a:lnTo>
                  <a:pt x="1700098" y="3460890"/>
                </a:lnTo>
                <a:lnTo>
                  <a:pt x="1700098" y="3438258"/>
                </a:lnTo>
                <a:lnTo>
                  <a:pt x="1677467" y="3438258"/>
                </a:lnTo>
                <a:lnTo>
                  <a:pt x="1677467" y="3415627"/>
                </a:lnTo>
                <a:close/>
                <a:moveTo>
                  <a:pt x="1604086" y="3841852"/>
                </a:moveTo>
                <a:lnTo>
                  <a:pt x="1591056" y="3841852"/>
                </a:lnTo>
                <a:lnTo>
                  <a:pt x="1591056" y="3854539"/>
                </a:lnTo>
                <a:lnTo>
                  <a:pt x="1578369" y="3854539"/>
                </a:lnTo>
                <a:lnTo>
                  <a:pt x="1578369" y="3867569"/>
                </a:lnTo>
                <a:lnTo>
                  <a:pt x="1591056" y="3867569"/>
                </a:lnTo>
                <a:lnTo>
                  <a:pt x="1591056" y="3880256"/>
                </a:lnTo>
                <a:lnTo>
                  <a:pt x="1604086" y="3880256"/>
                </a:lnTo>
                <a:lnTo>
                  <a:pt x="1604086" y="3867569"/>
                </a:lnTo>
                <a:lnTo>
                  <a:pt x="1616773" y="3867569"/>
                </a:lnTo>
                <a:lnTo>
                  <a:pt x="1616773" y="3854539"/>
                </a:lnTo>
                <a:lnTo>
                  <a:pt x="1604086" y="3854539"/>
                </a:lnTo>
                <a:lnTo>
                  <a:pt x="1604086" y="3841852"/>
                </a:lnTo>
                <a:close/>
                <a:moveTo>
                  <a:pt x="1607172" y="3557588"/>
                </a:moveTo>
                <a:lnTo>
                  <a:pt x="1587970" y="3557588"/>
                </a:lnTo>
                <a:lnTo>
                  <a:pt x="1587970" y="3577133"/>
                </a:lnTo>
                <a:lnTo>
                  <a:pt x="1568425" y="3577133"/>
                </a:lnTo>
                <a:lnTo>
                  <a:pt x="1568425" y="3596335"/>
                </a:lnTo>
                <a:lnTo>
                  <a:pt x="1587970" y="3596335"/>
                </a:lnTo>
                <a:lnTo>
                  <a:pt x="1587970" y="3615881"/>
                </a:lnTo>
                <a:lnTo>
                  <a:pt x="1607172" y="3615881"/>
                </a:lnTo>
                <a:lnTo>
                  <a:pt x="1607172" y="3596335"/>
                </a:lnTo>
                <a:lnTo>
                  <a:pt x="1626718" y="3596335"/>
                </a:lnTo>
                <a:lnTo>
                  <a:pt x="1626718" y="3577133"/>
                </a:lnTo>
                <a:lnTo>
                  <a:pt x="1607172" y="3577133"/>
                </a:lnTo>
                <a:lnTo>
                  <a:pt x="1607172" y="3557588"/>
                </a:lnTo>
                <a:close/>
                <a:moveTo>
                  <a:pt x="1539964" y="3416313"/>
                </a:moveTo>
                <a:lnTo>
                  <a:pt x="1518018" y="3416313"/>
                </a:lnTo>
                <a:lnTo>
                  <a:pt x="1518018" y="3438601"/>
                </a:lnTo>
                <a:lnTo>
                  <a:pt x="1495730" y="3438601"/>
                </a:lnTo>
                <a:lnTo>
                  <a:pt x="1495730" y="3460547"/>
                </a:lnTo>
                <a:lnTo>
                  <a:pt x="1518018" y="3460547"/>
                </a:lnTo>
                <a:lnTo>
                  <a:pt x="1518018" y="3482835"/>
                </a:lnTo>
                <a:lnTo>
                  <a:pt x="1539964" y="3482835"/>
                </a:lnTo>
                <a:lnTo>
                  <a:pt x="1539964" y="3460547"/>
                </a:lnTo>
                <a:lnTo>
                  <a:pt x="1562252" y="3460547"/>
                </a:lnTo>
                <a:lnTo>
                  <a:pt x="1562252" y="3438601"/>
                </a:lnTo>
                <a:lnTo>
                  <a:pt x="1539964" y="3438601"/>
                </a:lnTo>
                <a:lnTo>
                  <a:pt x="1539964" y="3416313"/>
                </a:lnTo>
                <a:close/>
                <a:moveTo>
                  <a:pt x="1878749" y="3840480"/>
                </a:moveTo>
                <a:lnTo>
                  <a:pt x="1865033" y="3840480"/>
                </a:lnTo>
                <a:lnTo>
                  <a:pt x="1865033" y="3854196"/>
                </a:lnTo>
                <a:lnTo>
                  <a:pt x="1851317" y="3854196"/>
                </a:lnTo>
                <a:lnTo>
                  <a:pt x="1851317" y="3867912"/>
                </a:lnTo>
                <a:lnTo>
                  <a:pt x="1865033" y="3867912"/>
                </a:lnTo>
                <a:lnTo>
                  <a:pt x="1865033" y="3881628"/>
                </a:lnTo>
                <a:lnTo>
                  <a:pt x="1878749" y="3881628"/>
                </a:lnTo>
                <a:lnTo>
                  <a:pt x="1878749" y="3867912"/>
                </a:lnTo>
                <a:lnTo>
                  <a:pt x="1892465" y="3867912"/>
                </a:lnTo>
                <a:lnTo>
                  <a:pt x="1892465" y="3854196"/>
                </a:lnTo>
                <a:lnTo>
                  <a:pt x="1878749" y="3854196"/>
                </a:lnTo>
                <a:lnTo>
                  <a:pt x="1878749" y="3840480"/>
                </a:lnTo>
                <a:close/>
                <a:moveTo>
                  <a:pt x="1744675" y="3556902"/>
                </a:moveTo>
                <a:lnTo>
                  <a:pt x="1724787" y="3556902"/>
                </a:lnTo>
                <a:lnTo>
                  <a:pt x="1724787" y="3576790"/>
                </a:lnTo>
                <a:lnTo>
                  <a:pt x="1704899" y="3576790"/>
                </a:lnTo>
                <a:lnTo>
                  <a:pt x="1704899" y="3596678"/>
                </a:lnTo>
                <a:lnTo>
                  <a:pt x="1724787" y="3596678"/>
                </a:lnTo>
                <a:lnTo>
                  <a:pt x="1724787" y="3616566"/>
                </a:lnTo>
                <a:lnTo>
                  <a:pt x="1744675" y="3616566"/>
                </a:lnTo>
                <a:lnTo>
                  <a:pt x="1744675" y="3596678"/>
                </a:lnTo>
                <a:lnTo>
                  <a:pt x="1764563" y="3596678"/>
                </a:lnTo>
                <a:lnTo>
                  <a:pt x="1764563" y="3576790"/>
                </a:lnTo>
                <a:lnTo>
                  <a:pt x="1744675" y="3576790"/>
                </a:lnTo>
                <a:lnTo>
                  <a:pt x="1744675" y="3556902"/>
                </a:lnTo>
                <a:close/>
                <a:moveTo>
                  <a:pt x="1814970" y="3414598"/>
                </a:moveTo>
                <a:lnTo>
                  <a:pt x="1791652" y="3414598"/>
                </a:lnTo>
                <a:lnTo>
                  <a:pt x="1791652" y="3437915"/>
                </a:lnTo>
                <a:lnTo>
                  <a:pt x="1768335" y="3437915"/>
                </a:lnTo>
                <a:lnTo>
                  <a:pt x="1768335" y="3461233"/>
                </a:lnTo>
                <a:lnTo>
                  <a:pt x="1791652" y="3461233"/>
                </a:lnTo>
                <a:lnTo>
                  <a:pt x="1791652" y="3484550"/>
                </a:lnTo>
                <a:lnTo>
                  <a:pt x="1814970" y="3484550"/>
                </a:lnTo>
                <a:lnTo>
                  <a:pt x="1814970" y="3461233"/>
                </a:lnTo>
                <a:lnTo>
                  <a:pt x="1838287" y="3461233"/>
                </a:lnTo>
                <a:lnTo>
                  <a:pt x="1838287" y="3437915"/>
                </a:lnTo>
                <a:lnTo>
                  <a:pt x="1814970" y="3437915"/>
                </a:lnTo>
                <a:lnTo>
                  <a:pt x="1814970" y="3414598"/>
                </a:lnTo>
                <a:close/>
                <a:moveTo>
                  <a:pt x="1811884" y="3698519"/>
                </a:moveTo>
                <a:lnTo>
                  <a:pt x="1794739" y="3698519"/>
                </a:lnTo>
                <a:lnTo>
                  <a:pt x="1794739" y="3715322"/>
                </a:lnTo>
                <a:lnTo>
                  <a:pt x="1777936" y="3715322"/>
                </a:lnTo>
                <a:lnTo>
                  <a:pt x="1777936" y="3732467"/>
                </a:lnTo>
                <a:lnTo>
                  <a:pt x="1794739" y="3732467"/>
                </a:lnTo>
                <a:lnTo>
                  <a:pt x="1794739" y="3749269"/>
                </a:lnTo>
                <a:lnTo>
                  <a:pt x="1811884" y="3749269"/>
                </a:lnTo>
                <a:lnTo>
                  <a:pt x="1811884" y="3732467"/>
                </a:lnTo>
                <a:lnTo>
                  <a:pt x="1828686" y="3732467"/>
                </a:lnTo>
                <a:lnTo>
                  <a:pt x="1828686" y="3715322"/>
                </a:lnTo>
                <a:lnTo>
                  <a:pt x="1811884" y="3715322"/>
                </a:lnTo>
                <a:lnTo>
                  <a:pt x="1811884" y="3698519"/>
                </a:lnTo>
                <a:close/>
                <a:moveTo>
                  <a:pt x="1402461" y="3417684"/>
                </a:moveTo>
                <a:lnTo>
                  <a:pt x="1381201" y="3417684"/>
                </a:lnTo>
                <a:lnTo>
                  <a:pt x="1381201" y="3438944"/>
                </a:lnTo>
                <a:lnTo>
                  <a:pt x="1359941" y="3438944"/>
                </a:lnTo>
                <a:lnTo>
                  <a:pt x="1359941" y="3460204"/>
                </a:lnTo>
                <a:lnTo>
                  <a:pt x="1381201" y="3460204"/>
                </a:lnTo>
                <a:lnTo>
                  <a:pt x="1381201" y="3481464"/>
                </a:lnTo>
                <a:lnTo>
                  <a:pt x="1402461" y="3481464"/>
                </a:lnTo>
                <a:lnTo>
                  <a:pt x="1402461" y="3460204"/>
                </a:lnTo>
                <a:lnTo>
                  <a:pt x="1423721" y="3460204"/>
                </a:lnTo>
                <a:lnTo>
                  <a:pt x="1423721" y="3438944"/>
                </a:lnTo>
                <a:lnTo>
                  <a:pt x="1402461" y="3438944"/>
                </a:lnTo>
                <a:lnTo>
                  <a:pt x="1402461" y="3417684"/>
                </a:lnTo>
                <a:close/>
                <a:moveTo>
                  <a:pt x="1334910" y="3277438"/>
                </a:moveTo>
                <a:lnTo>
                  <a:pt x="1311592" y="3277438"/>
                </a:lnTo>
                <a:lnTo>
                  <a:pt x="1311592" y="3300755"/>
                </a:lnTo>
                <a:lnTo>
                  <a:pt x="1288275" y="3300755"/>
                </a:lnTo>
                <a:lnTo>
                  <a:pt x="1288275" y="3324073"/>
                </a:lnTo>
                <a:lnTo>
                  <a:pt x="1311592" y="3324073"/>
                </a:lnTo>
                <a:lnTo>
                  <a:pt x="1311592" y="3347390"/>
                </a:lnTo>
                <a:lnTo>
                  <a:pt x="1334910" y="3347390"/>
                </a:lnTo>
                <a:lnTo>
                  <a:pt x="1334910" y="3324073"/>
                </a:lnTo>
                <a:lnTo>
                  <a:pt x="1358227" y="3324073"/>
                </a:lnTo>
                <a:lnTo>
                  <a:pt x="1358227" y="3300755"/>
                </a:lnTo>
                <a:lnTo>
                  <a:pt x="1334910" y="3300755"/>
                </a:lnTo>
                <a:lnTo>
                  <a:pt x="1334910" y="3277438"/>
                </a:lnTo>
                <a:close/>
                <a:moveTo>
                  <a:pt x="1399375" y="3701263"/>
                </a:moveTo>
                <a:lnTo>
                  <a:pt x="1384287" y="3701263"/>
                </a:lnTo>
                <a:lnTo>
                  <a:pt x="1384287" y="3716350"/>
                </a:lnTo>
                <a:lnTo>
                  <a:pt x="1369200" y="3716350"/>
                </a:lnTo>
                <a:lnTo>
                  <a:pt x="1369200" y="3731438"/>
                </a:lnTo>
                <a:lnTo>
                  <a:pt x="1384287" y="3731438"/>
                </a:lnTo>
                <a:lnTo>
                  <a:pt x="1384287" y="3746525"/>
                </a:lnTo>
                <a:lnTo>
                  <a:pt x="1399375" y="3746525"/>
                </a:lnTo>
                <a:lnTo>
                  <a:pt x="1399375" y="3731438"/>
                </a:lnTo>
                <a:lnTo>
                  <a:pt x="1414462" y="3731438"/>
                </a:lnTo>
                <a:lnTo>
                  <a:pt x="1414462" y="3716350"/>
                </a:lnTo>
                <a:lnTo>
                  <a:pt x="1399375" y="3716350"/>
                </a:lnTo>
                <a:lnTo>
                  <a:pt x="1399375" y="3701263"/>
                </a:lnTo>
                <a:close/>
                <a:moveTo>
                  <a:pt x="1332166" y="3560331"/>
                </a:moveTo>
                <a:lnTo>
                  <a:pt x="1314336" y="3560331"/>
                </a:lnTo>
                <a:lnTo>
                  <a:pt x="1314336" y="3577819"/>
                </a:lnTo>
                <a:lnTo>
                  <a:pt x="1296848" y="3577819"/>
                </a:lnTo>
                <a:lnTo>
                  <a:pt x="1296848" y="3595649"/>
                </a:lnTo>
                <a:lnTo>
                  <a:pt x="1314336" y="3595649"/>
                </a:lnTo>
                <a:lnTo>
                  <a:pt x="1314336" y="3613137"/>
                </a:lnTo>
                <a:lnTo>
                  <a:pt x="1332166" y="3613137"/>
                </a:lnTo>
                <a:lnTo>
                  <a:pt x="1332166" y="3595649"/>
                </a:lnTo>
                <a:lnTo>
                  <a:pt x="1349654" y="3595649"/>
                </a:lnTo>
                <a:lnTo>
                  <a:pt x="1349654" y="3577819"/>
                </a:lnTo>
                <a:lnTo>
                  <a:pt x="1332166" y="3577819"/>
                </a:lnTo>
                <a:lnTo>
                  <a:pt x="1332166" y="3560331"/>
                </a:lnTo>
                <a:close/>
                <a:moveTo>
                  <a:pt x="1264615" y="3419399"/>
                </a:moveTo>
                <a:lnTo>
                  <a:pt x="1244727" y="3419399"/>
                </a:lnTo>
                <a:lnTo>
                  <a:pt x="1244727" y="3439630"/>
                </a:lnTo>
                <a:lnTo>
                  <a:pt x="1224496" y="3439630"/>
                </a:lnTo>
                <a:lnTo>
                  <a:pt x="1224496" y="3459518"/>
                </a:lnTo>
                <a:lnTo>
                  <a:pt x="1244727" y="3459518"/>
                </a:lnTo>
                <a:lnTo>
                  <a:pt x="1244727" y="3479749"/>
                </a:lnTo>
                <a:lnTo>
                  <a:pt x="1264615" y="3479749"/>
                </a:lnTo>
                <a:lnTo>
                  <a:pt x="1264615" y="3459518"/>
                </a:lnTo>
                <a:lnTo>
                  <a:pt x="1284846" y="3459518"/>
                </a:lnTo>
                <a:lnTo>
                  <a:pt x="1284846" y="3439630"/>
                </a:lnTo>
                <a:lnTo>
                  <a:pt x="1264615" y="3439630"/>
                </a:lnTo>
                <a:lnTo>
                  <a:pt x="1264615" y="3419399"/>
                </a:lnTo>
                <a:close/>
                <a:moveTo>
                  <a:pt x="1536878" y="3699891"/>
                </a:moveTo>
                <a:lnTo>
                  <a:pt x="1521104" y="3699891"/>
                </a:lnTo>
                <a:lnTo>
                  <a:pt x="1521104" y="3716007"/>
                </a:lnTo>
                <a:lnTo>
                  <a:pt x="1504988" y="3716007"/>
                </a:lnTo>
                <a:lnTo>
                  <a:pt x="1504988" y="3731781"/>
                </a:lnTo>
                <a:lnTo>
                  <a:pt x="1521104" y="3731781"/>
                </a:lnTo>
                <a:lnTo>
                  <a:pt x="1521104" y="3747897"/>
                </a:lnTo>
                <a:lnTo>
                  <a:pt x="1536878" y="3747897"/>
                </a:lnTo>
                <a:lnTo>
                  <a:pt x="1536878" y="3731781"/>
                </a:lnTo>
                <a:lnTo>
                  <a:pt x="1552994" y="3731781"/>
                </a:lnTo>
                <a:lnTo>
                  <a:pt x="1552994" y="3716007"/>
                </a:lnTo>
                <a:lnTo>
                  <a:pt x="1536878" y="3716007"/>
                </a:lnTo>
                <a:lnTo>
                  <a:pt x="1536878" y="3699891"/>
                </a:lnTo>
                <a:close/>
                <a:moveTo>
                  <a:pt x="1466583" y="3842880"/>
                </a:moveTo>
                <a:lnTo>
                  <a:pt x="1454239" y="3842880"/>
                </a:lnTo>
                <a:lnTo>
                  <a:pt x="1454239" y="3854882"/>
                </a:lnTo>
                <a:lnTo>
                  <a:pt x="1442237" y="3854882"/>
                </a:lnTo>
                <a:lnTo>
                  <a:pt x="1442237" y="3867226"/>
                </a:lnTo>
                <a:lnTo>
                  <a:pt x="1454239" y="3867226"/>
                </a:lnTo>
                <a:lnTo>
                  <a:pt x="1454239" y="3879228"/>
                </a:lnTo>
                <a:lnTo>
                  <a:pt x="1466583" y="3879228"/>
                </a:lnTo>
                <a:lnTo>
                  <a:pt x="1466583" y="3867226"/>
                </a:lnTo>
                <a:lnTo>
                  <a:pt x="1478585" y="3867226"/>
                </a:lnTo>
                <a:lnTo>
                  <a:pt x="1478585" y="3854882"/>
                </a:lnTo>
                <a:lnTo>
                  <a:pt x="1466583" y="3854882"/>
                </a:lnTo>
                <a:lnTo>
                  <a:pt x="1466583" y="3842880"/>
                </a:lnTo>
                <a:close/>
                <a:moveTo>
                  <a:pt x="1261529" y="3703320"/>
                </a:moveTo>
                <a:lnTo>
                  <a:pt x="1247813" y="3703320"/>
                </a:lnTo>
                <a:lnTo>
                  <a:pt x="1247813" y="3717036"/>
                </a:lnTo>
                <a:lnTo>
                  <a:pt x="1234097" y="3717036"/>
                </a:lnTo>
                <a:lnTo>
                  <a:pt x="1234097" y="3730752"/>
                </a:lnTo>
                <a:lnTo>
                  <a:pt x="1247813" y="3730752"/>
                </a:lnTo>
                <a:lnTo>
                  <a:pt x="1247813" y="3744468"/>
                </a:lnTo>
                <a:lnTo>
                  <a:pt x="1261529" y="3744468"/>
                </a:lnTo>
                <a:lnTo>
                  <a:pt x="1261529" y="3730752"/>
                </a:lnTo>
                <a:lnTo>
                  <a:pt x="1275245" y="3730752"/>
                </a:lnTo>
                <a:lnTo>
                  <a:pt x="1275245" y="3717036"/>
                </a:lnTo>
                <a:lnTo>
                  <a:pt x="1261529" y="3717036"/>
                </a:lnTo>
                <a:lnTo>
                  <a:pt x="1261529" y="3703320"/>
                </a:lnTo>
                <a:close/>
                <a:moveTo>
                  <a:pt x="1469669" y="3558616"/>
                </a:moveTo>
                <a:lnTo>
                  <a:pt x="1451153" y="3558616"/>
                </a:lnTo>
                <a:lnTo>
                  <a:pt x="1451153" y="3577476"/>
                </a:lnTo>
                <a:lnTo>
                  <a:pt x="1432293" y="3577476"/>
                </a:lnTo>
                <a:lnTo>
                  <a:pt x="1432293" y="3595992"/>
                </a:lnTo>
                <a:lnTo>
                  <a:pt x="1451153" y="3595992"/>
                </a:lnTo>
                <a:lnTo>
                  <a:pt x="1451153" y="3614852"/>
                </a:lnTo>
                <a:lnTo>
                  <a:pt x="1469669" y="3614852"/>
                </a:lnTo>
                <a:lnTo>
                  <a:pt x="1469669" y="3595992"/>
                </a:lnTo>
                <a:lnTo>
                  <a:pt x="1488529" y="3595992"/>
                </a:lnTo>
                <a:lnTo>
                  <a:pt x="1488529" y="3577476"/>
                </a:lnTo>
                <a:lnTo>
                  <a:pt x="1469669" y="3577476"/>
                </a:lnTo>
                <a:lnTo>
                  <a:pt x="1469669" y="3558616"/>
                </a:lnTo>
                <a:close/>
                <a:moveTo>
                  <a:pt x="1448067" y="3349104"/>
                </a:moveTo>
                <a:lnTo>
                  <a:pt x="1472755" y="3349104"/>
                </a:lnTo>
                <a:lnTo>
                  <a:pt x="1472755" y="3324758"/>
                </a:lnTo>
                <a:lnTo>
                  <a:pt x="1497101" y="3324758"/>
                </a:lnTo>
                <a:lnTo>
                  <a:pt x="1497101" y="3300070"/>
                </a:lnTo>
                <a:lnTo>
                  <a:pt x="1472755" y="3300070"/>
                </a:lnTo>
                <a:lnTo>
                  <a:pt x="1472755" y="3275724"/>
                </a:lnTo>
                <a:lnTo>
                  <a:pt x="1448067" y="3275724"/>
                </a:lnTo>
                <a:lnTo>
                  <a:pt x="1448067" y="3300070"/>
                </a:lnTo>
                <a:lnTo>
                  <a:pt x="1423721" y="3300070"/>
                </a:lnTo>
                <a:lnTo>
                  <a:pt x="1423721" y="3324758"/>
                </a:lnTo>
                <a:lnTo>
                  <a:pt x="1448067" y="3324758"/>
                </a:lnTo>
                <a:lnTo>
                  <a:pt x="1448067" y="3349104"/>
                </a:lnTo>
                <a:close/>
                <a:moveTo>
                  <a:pt x="853135" y="3145079"/>
                </a:moveTo>
                <a:lnTo>
                  <a:pt x="833247" y="3145079"/>
                </a:lnTo>
                <a:lnTo>
                  <a:pt x="833247" y="3165310"/>
                </a:lnTo>
                <a:lnTo>
                  <a:pt x="813016" y="3165310"/>
                </a:lnTo>
                <a:lnTo>
                  <a:pt x="813016" y="3185198"/>
                </a:lnTo>
                <a:lnTo>
                  <a:pt x="833247" y="3185198"/>
                </a:lnTo>
                <a:lnTo>
                  <a:pt x="833247" y="3205429"/>
                </a:lnTo>
                <a:lnTo>
                  <a:pt x="853135" y="3205429"/>
                </a:lnTo>
                <a:lnTo>
                  <a:pt x="853135" y="3185198"/>
                </a:lnTo>
                <a:lnTo>
                  <a:pt x="873366" y="3185198"/>
                </a:lnTo>
                <a:lnTo>
                  <a:pt x="873366" y="3165310"/>
                </a:lnTo>
                <a:lnTo>
                  <a:pt x="853135" y="3165310"/>
                </a:lnTo>
                <a:lnTo>
                  <a:pt x="853135" y="3145079"/>
                </a:lnTo>
                <a:close/>
                <a:moveTo>
                  <a:pt x="233172" y="2742514"/>
                </a:moveTo>
                <a:lnTo>
                  <a:pt x="218770" y="2742514"/>
                </a:lnTo>
                <a:lnTo>
                  <a:pt x="218770" y="2756573"/>
                </a:lnTo>
                <a:lnTo>
                  <a:pt x="204711" y="2756573"/>
                </a:lnTo>
                <a:lnTo>
                  <a:pt x="204711" y="2770975"/>
                </a:lnTo>
                <a:lnTo>
                  <a:pt x="218770" y="2770975"/>
                </a:lnTo>
                <a:lnTo>
                  <a:pt x="218770" y="2785034"/>
                </a:lnTo>
                <a:lnTo>
                  <a:pt x="233172" y="2785034"/>
                </a:lnTo>
                <a:lnTo>
                  <a:pt x="233172" y="2770975"/>
                </a:lnTo>
                <a:lnTo>
                  <a:pt x="247231" y="2770975"/>
                </a:lnTo>
                <a:lnTo>
                  <a:pt x="247231" y="2756573"/>
                </a:lnTo>
                <a:lnTo>
                  <a:pt x="233172" y="2756573"/>
                </a:lnTo>
                <a:lnTo>
                  <a:pt x="233172" y="2742514"/>
                </a:lnTo>
                <a:close/>
                <a:moveTo>
                  <a:pt x="234201" y="2464422"/>
                </a:moveTo>
                <a:lnTo>
                  <a:pt x="217742" y="2464422"/>
                </a:lnTo>
                <a:lnTo>
                  <a:pt x="217742" y="2481224"/>
                </a:lnTo>
                <a:lnTo>
                  <a:pt x="200939" y="2481224"/>
                </a:lnTo>
                <a:lnTo>
                  <a:pt x="200939" y="2497684"/>
                </a:lnTo>
                <a:lnTo>
                  <a:pt x="217742" y="2497684"/>
                </a:lnTo>
                <a:lnTo>
                  <a:pt x="217742" y="2514486"/>
                </a:lnTo>
                <a:lnTo>
                  <a:pt x="234201" y="2514486"/>
                </a:lnTo>
                <a:lnTo>
                  <a:pt x="234201" y="2497684"/>
                </a:lnTo>
                <a:lnTo>
                  <a:pt x="251003" y="2497684"/>
                </a:lnTo>
                <a:lnTo>
                  <a:pt x="251003" y="2481224"/>
                </a:lnTo>
                <a:lnTo>
                  <a:pt x="234201" y="2481224"/>
                </a:lnTo>
                <a:lnTo>
                  <a:pt x="234201" y="2464422"/>
                </a:lnTo>
                <a:close/>
                <a:moveTo>
                  <a:pt x="165278" y="2328634"/>
                </a:moveTo>
                <a:lnTo>
                  <a:pt x="149504" y="2328634"/>
                </a:lnTo>
                <a:lnTo>
                  <a:pt x="149504" y="2344407"/>
                </a:lnTo>
                <a:lnTo>
                  <a:pt x="133731" y="2344407"/>
                </a:lnTo>
                <a:lnTo>
                  <a:pt x="133731" y="2360181"/>
                </a:lnTo>
                <a:lnTo>
                  <a:pt x="149504" y="2360181"/>
                </a:lnTo>
                <a:lnTo>
                  <a:pt x="149504" y="2375954"/>
                </a:lnTo>
                <a:lnTo>
                  <a:pt x="165278" y="2375954"/>
                </a:lnTo>
                <a:lnTo>
                  <a:pt x="165278" y="2360181"/>
                </a:lnTo>
                <a:lnTo>
                  <a:pt x="181051" y="2360181"/>
                </a:lnTo>
                <a:lnTo>
                  <a:pt x="181051" y="2344407"/>
                </a:lnTo>
                <a:lnTo>
                  <a:pt x="165278" y="2344407"/>
                </a:lnTo>
                <a:lnTo>
                  <a:pt x="165278" y="2328634"/>
                </a:lnTo>
                <a:close/>
                <a:moveTo>
                  <a:pt x="165964" y="2052599"/>
                </a:moveTo>
                <a:lnTo>
                  <a:pt x="148819" y="2052599"/>
                </a:lnTo>
                <a:lnTo>
                  <a:pt x="148819" y="2069402"/>
                </a:lnTo>
                <a:lnTo>
                  <a:pt x="132017" y="2069402"/>
                </a:lnTo>
                <a:lnTo>
                  <a:pt x="132017" y="2086547"/>
                </a:lnTo>
                <a:lnTo>
                  <a:pt x="148819" y="2086547"/>
                </a:lnTo>
                <a:lnTo>
                  <a:pt x="148819" y="2103349"/>
                </a:lnTo>
                <a:lnTo>
                  <a:pt x="165964" y="2103349"/>
                </a:lnTo>
                <a:lnTo>
                  <a:pt x="165964" y="2086547"/>
                </a:lnTo>
                <a:lnTo>
                  <a:pt x="182766" y="2086547"/>
                </a:lnTo>
                <a:lnTo>
                  <a:pt x="182766" y="2069402"/>
                </a:lnTo>
                <a:lnTo>
                  <a:pt x="165964" y="2069402"/>
                </a:lnTo>
                <a:lnTo>
                  <a:pt x="165964" y="2052599"/>
                </a:lnTo>
                <a:close/>
                <a:moveTo>
                  <a:pt x="165964" y="1778279"/>
                </a:moveTo>
                <a:lnTo>
                  <a:pt x="148819" y="1778279"/>
                </a:lnTo>
                <a:lnTo>
                  <a:pt x="148819" y="1795082"/>
                </a:lnTo>
                <a:lnTo>
                  <a:pt x="132017" y="1795082"/>
                </a:lnTo>
                <a:lnTo>
                  <a:pt x="132017" y="1812227"/>
                </a:lnTo>
                <a:lnTo>
                  <a:pt x="148819" y="1812227"/>
                </a:lnTo>
                <a:lnTo>
                  <a:pt x="148819" y="1829029"/>
                </a:lnTo>
                <a:lnTo>
                  <a:pt x="165964" y="1829029"/>
                </a:lnTo>
                <a:lnTo>
                  <a:pt x="165964" y="1812227"/>
                </a:lnTo>
                <a:lnTo>
                  <a:pt x="182766" y="1812227"/>
                </a:lnTo>
                <a:lnTo>
                  <a:pt x="182766" y="1795082"/>
                </a:lnTo>
                <a:lnTo>
                  <a:pt x="165964" y="1795082"/>
                </a:lnTo>
                <a:lnTo>
                  <a:pt x="165964" y="1778279"/>
                </a:lnTo>
                <a:close/>
                <a:moveTo>
                  <a:pt x="304495" y="2047799"/>
                </a:moveTo>
                <a:lnTo>
                  <a:pt x="284607" y="2047799"/>
                </a:lnTo>
                <a:lnTo>
                  <a:pt x="284607" y="2068030"/>
                </a:lnTo>
                <a:lnTo>
                  <a:pt x="264376" y="2068030"/>
                </a:lnTo>
                <a:lnTo>
                  <a:pt x="264376" y="2087918"/>
                </a:lnTo>
                <a:lnTo>
                  <a:pt x="284607" y="2087918"/>
                </a:lnTo>
                <a:lnTo>
                  <a:pt x="284607" y="2108149"/>
                </a:lnTo>
                <a:lnTo>
                  <a:pt x="304495" y="2108149"/>
                </a:lnTo>
                <a:lnTo>
                  <a:pt x="304495" y="2087918"/>
                </a:lnTo>
                <a:lnTo>
                  <a:pt x="324726" y="2087918"/>
                </a:lnTo>
                <a:lnTo>
                  <a:pt x="324726" y="2068030"/>
                </a:lnTo>
                <a:lnTo>
                  <a:pt x="304495" y="2068030"/>
                </a:lnTo>
                <a:lnTo>
                  <a:pt x="304495" y="2047799"/>
                </a:lnTo>
                <a:close/>
                <a:moveTo>
                  <a:pt x="304152" y="2323833"/>
                </a:moveTo>
                <a:lnTo>
                  <a:pt x="284950" y="2323833"/>
                </a:lnTo>
                <a:lnTo>
                  <a:pt x="284950" y="2342693"/>
                </a:lnTo>
                <a:lnTo>
                  <a:pt x="266090" y="2342693"/>
                </a:lnTo>
                <a:lnTo>
                  <a:pt x="266090" y="2361895"/>
                </a:lnTo>
                <a:lnTo>
                  <a:pt x="284950" y="2361895"/>
                </a:lnTo>
                <a:lnTo>
                  <a:pt x="284950" y="2380755"/>
                </a:lnTo>
                <a:lnTo>
                  <a:pt x="304152" y="2380755"/>
                </a:lnTo>
                <a:lnTo>
                  <a:pt x="304152" y="2361895"/>
                </a:lnTo>
                <a:lnTo>
                  <a:pt x="323012" y="2361895"/>
                </a:lnTo>
                <a:lnTo>
                  <a:pt x="323012" y="2342693"/>
                </a:lnTo>
                <a:lnTo>
                  <a:pt x="304152" y="2342693"/>
                </a:lnTo>
                <a:lnTo>
                  <a:pt x="304152" y="2323833"/>
                </a:lnTo>
                <a:close/>
                <a:moveTo>
                  <a:pt x="303124" y="2600897"/>
                </a:moveTo>
                <a:lnTo>
                  <a:pt x="285979" y="2600897"/>
                </a:lnTo>
                <a:lnTo>
                  <a:pt x="285979" y="2618042"/>
                </a:lnTo>
                <a:lnTo>
                  <a:pt x="268834" y="2618042"/>
                </a:lnTo>
                <a:lnTo>
                  <a:pt x="268834" y="2635187"/>
                </a:lnTo>
                <a:lnTo>
                  <a:pt x="285979" y="2635187"/>
                </a:lnTo>
                <a:lnTo>
                  <a:pt x="285979" y="2652332"/>
                </a:lnTo>
                <a:lnTo>
                  <a:pt x="303124" y="2652332"/>
                </a:lnTo>
                <a:lnTo>
                  <a:pt x="303124" y="2635187"/>
                </a:lnTo>
                <a:lnTo>
                  <a:pt x="320269" y="2635187"/>
                </a:lnTo>
                <a:lnTo>
                  <a:pt x="320269" y="2618042"/>
                </a:lnTo>
                <a:lnTo>
                  <a:pt x="303124" y="2618042"/>
                </a:lnTo>
                <a:lnTo>
                  <a:pt x="303124" y="2600897"/>
                </a:lnTo>
                <a:close/>
                <a:moveTo>
                  <a:pt x="235229" y="1912696"/>
                </a:moveTo>
                <a:lnTo>
                  <a:pt x="216713" y="1912696"/>
                </a:lnTo>
                <a:lnTo>
                  <a:pt x="216713" y="1931556"/>
                </a:lnTo>
                <a:lnTo>
                  <a:pt x="197853" y="1931556"/>
                </a:lnTo>
                <a:lnTo>
                  <a:pt x="197853" y="1950072"/>
                </a:lnTo>
                <a:lnTo>
                  <a:pt x="216713" y="1950072"/>
                </a:lnTo>
                <a:lnTo>
                  <a:pt x="216713" y="1968932"/>
                </a:lnTo>
                <a:lnTo>
                  <a:pt x="235229" y="1968932"/>
                </a:lnTo>
                <a:lnTo>
                  <a:pt x="235229" y="1950072"/>
                </a:lnTo>
                <a:lnTo>
                  <a:pt x="254089" y="1950072"/>
                </a:lnTo>
                <a:lnTo>
                  <a:pt x="254089" y="1931556"/>
                </a:lnTo>
                <a:lnTo>
                  <a:pt x="235229" y="1931556"/>
                </a:lnTo>
                <a:lnTo>
                  <a:pt x="235229" y="1912696"/>
                </a:lnTo>
                <a:close/>
                <a:moveTo>
                  <a:pt x="301409" y="2880017"/>
                </a:moveTo>
                <a:lnTo>
                  <a:pt x="287693" y="2880017"/>
                </a:lnTo>
                <a:lnTo>
                  <a:pt x="287693" y="2894076"/>
                </a:lnTo>
                <a:lnTo>
                  <a:pt x="273634" y="2894076"/>
                </a:lnTo>
                <a:lnTo>
                  <a:pt x="273634" y="2907792"/>
                </a:lnTo>
                <a:lnTo>
                  <a:pt x="287693" y="2907792"/>
                </a:lnTo>
                <a:lnTo>
                  <a:pt x="287693" y="2921851"/>
                </a:lnTo>
                <a:lnTo>
                  <a:pt x="301409" y="2921851"/>
                </a:lnTo>
                <a:lnTo>
                  <a:pt x="301409" y="2907792"/>
                </a:lnTo>
                <a:lnTo>
                  <a:pt x="315468" y="2907792"/>
                </a:lnTo>
                <a:lnTo>
                  <a:pt x="315468" y="2894076"/>
                </a:lnTo>
                <a:lnTo>
                  <a:pt x="301409" y="2894076"/>
                </a:lnTo>
                <a:lnTo>
                  <a:pt x="301409" y="2880017"/>
                </a:lnTo>
                <a:close/>
                <a:moveTo>
                  <a:pt x="235229" y="2187702"/>
                </a:moveTo>
                <a:lnTo>
                  <a:pt x="216713" y="2187702"/>
                </a:lnTo>
                <a:lnTo>
                  <a:pt x="216713" y="2205876"/>
                </a:lnTo>
                <a:lnTo>
                  <a:pt x="198539" y="2205876"/>
                </a:lnTo>
                <a:lnTo>
                  <a:pt x="198539" y="2224392"/>
                </a:lnTo>
                <a:lnTo>
                  <a:pt x="216713" y="2224392"/>
                </a:lnTo>
                <a:lnTo>
                  <a:pt x="216713" y="2242566"/>
                </a:lnTo>
                <a:lnTo>
                  <a:pt x="235229" y="2242566"/>
                </a:lnTo>
                <a:lnTo>
                  <a:pt x="235229" y="2224392"/>
                </a:lnTo>
                <a:lnTo>
                  <a:pt x="253403" y="2224392"/>
                </a:lnTo>
                <a:lnTo>
                  <a:pt x="253403" y="2205876"/>
                </a:lnTo>
                <a:lnTo>
                  <a:pt x="235229" y="2205876"/>
                </a:lnTo>
                <a:lnTo>
                  <a:pt x="235229" y="2187702"/>
                </a:lnTo>
                <a:close/>
                <a:moveTo>
                  <a:pt x="27089" y="2057743"/>
                </a:moveTo>
                <a:lnTo>
                  <a:pt x="13373" y="2057743"/>
                </a:lnTo>
                <a:lnTo>
                  <a:pt x="13373" y="2071116"/>
                </a:lnTo>
                <a:lnTo>
                  <a:pt x="0" y="2071116"/>
                </a:lnTo>
                <a:lnTo>
                  <a:pt x="0" y="2084832"/>
                </a:lnTo>
                <a:lnTo>
                  <a:pt x="13373" y="2084832"/>
                </a:lnTo>
                <a:lnTo>
                  <a:pt x="13373" y="2098205"/>
                </a:lnTo>
                <a:lnTo>
                  <a:pt x="27089" y="2098205"/>
                </a:lnTo>
                <a:lnTo>
                  <a:pt x="27089" y="2084832"/>
                </a:lnTo>
                <a:lnTo>
                  <a:pt x="40462" y="2084832"/>
                </a:lnTo>
                <a:lnTo>
                  <a:pt x="40462" y="2071116"/>
                </a:lnTo>
                <a:lnTo>
                  <a:pt x="27089" y="2071116"/>
                </a:lnTo>
                <a:lnTo>
                  <a:pt x="27089" y="2057743"/>
                </a:lnTo>
                <a:close/>
                <a:moveTo>
                  <a:pt x="164249" y="2605697"/>
                </a:moveTo>
                <a:lnTo>
                  <a:pt x="150533" y="2605697"/>
                </a:lnTo>
                <a:lnTo>
                  <a:pt x="150533" y="2619756"/>
                </a:lnTo>
                <a:lnTo>
                  <a:pt x="136474" y="2619756"/>
                </a:lnTo>
                <a:lnTo>
                  <a:pt x="136474" y="2633472"/>
                </a:lnTo>
                <a:lnTo>
                  <a:pt x="150533" y="2633472"/>
                </a:lnTo>
                <a:lnTo>
                  <a:pt x="150533" y="2647531"/>
                </a:lnTo>
                <a:lnTo>
                  <a:pt x="164249" y="2647531"/>
                </a:lnTo>
                <a:lnTo>
                  <a:pt x="164249" y="2633472"/>
                </a:lnTo>
                <a:lnTo>
                  <a:pt x="178308" y="2633472"/>
                </a:lnTo>
                <a:lnTo>
                  <a:pt x="178308" y="2619756"/>
                </a:lnTo>
                <a:lnTo>
                  <a:pt x="164249" y="2619756"/>
                </a:lnTo>
                <a:lnTo>
                  <a:pt x="164249" y="2605697"/>
                </a:lnTo>
                <a:close/>
                <a:moveTo>
                  <a:pt x="26403" y="2333435"/>
                </a:moveTo>
                <a:lnTo>
                  <a:pt x="14059" y="2333435"/>
                </a:lnTo>
                <a:lnTo>
                  <a:pt x="14059" y="2346122"/>
                </a:lnTo>
                <a:lnTo>
                  <a:pt x="1372" y="2346122"/>
                </a:lnTo>
                <a:lnTo>
                  <a:pt x="1372" y="2358466"/>
                </a:lnTo>
                <a:lnTo>
                  <a:pt x="14059" y="2358466"/>
                </a:lnTo>
                <a:lnTo>
                  <a:pt x="14059" y="2371154"/>
                </a:lnTo>
                <a:lnTo>
                  <a:pt x="26403" y="2371154"/>
                </a:lnTo>
                <a:lnTo>
                  <a:pt x="26403" y="2358466"/>
                </a:lnTo>
                <a:lnTo>
                  <a:pt x="39091" y="2358466"/>
                </a:lnTo>
                <a:lnTo>
                  <a:pt x="39091" y="2346122"/>
                </a:lnTo>
                <a:lnTo>
                  <a:pt x="26403" y="2346122"/>
                </a:lnTo>
                <a:lnTo>
                  <a:pt x="26403" y="2333435"/>
                </a:lnTo>
                <a:close/>
                <a:moveTo>
                  <a:pt x="81267" y="1688783"/>
                </a:moveTo>
                <a:lnTo>
                  <a:pt x="96355" y="1688783"/>
                </a:lnTo>
                <a:lnTo>
                  <a:pt x="96355" y="1674038"/>
                </a:lnTo>
                <a:lnTo>
                  <a:pt x="111100" y="1674038"/>
                </a:lnTo>
                <a:lnTo>
                  <a:pt x="111100" y="1658950"/>
                </a:lnTo>
                <a:lnTo>
                  <a:pt x="96355" y="1658950"/>
                </a:lnTo>
                <a:lnTo>
                  <a:pt x="96355" y="1644206"/>
                </a:lnTo>
                <a:lnTo>
                  <a:pt x="81267" y="1644206"/>
                </a:lnTo>
                <a:lnTo>
                  <a:pt x="81267" y="1658950"/>
                </a:lnTo>
                <a:lnTo>
                  <a:pt x="66523" y="1658950"/>
                </a:lnTo>
                <a:lnTo>
                  <a:pt x="66523" y="1674038"/>
                </a:lnTo>
                <a:lnTo>
                  <a:pt x="81267" y="1674038"/>
                </a:lnTo>
                <a:lnTo>
                  <a:pt x="81267" y="1688783"/>
                </a:lnTo>
                <a:close/>
                <a:moveTo>
                  <a:pt x="81953" y="1412405"/>
                </a:moveTo>
                <a:lnTo>
                  <a:pt x="95669" y="1412405"/>
                </a:lnTo>
                <a:lnTo>
                  <a:pt x="95669" y="1399032"/>
                </a:lnTo>
                <a:lnTo>
                  <a:pt x="109042" y="1399032"/>
                </a:lnTo>
                <a:lnTo>
                  <a:pt x="109042" y="1385316"/>
                </a:lnTo>
                <a:lnTo>
                  <a:pt x="95669" y="1385316"/>
                </a:lnTo>
                <a:lnTo>
                  <a:pt x="95669" y="1371943"/>
                </a:lnTo>
                <a:lnTo>
                  <a:pt x="81953" y="1371943"/>
                </a:lnTo>
                <a:lnTo>
                  <a:pt x="81953" y="1385316"/>
                </a:lnTo>
                <a:lnTo>
                  <a:pt x="68580" y="1385316"/>
                </a:lnTo>
                <a:lnTo>
                  <a:pt x="68580" y="1399032"/>
                </a:lnTo>
                <a:lnTo>
                  <a:pt x="81953" y="1399032"/>
                </a:lnTo>
                <a:lnTo>
                  <a:pt x="81953" y="1412405"/>
                </a:lnTo>
                <a:close/>
                <a:moveTo>
                  <a:pt x="27089" y="1783423"/>
                </a:moveTo>
                <a:lnTo>
                  <a:pt x="13373" y="1783423"/>
                </a:lnTo>
                <a:lnTo>
                  <a:pt x="13373" y="1796796"/>
                </a:lnTo>
                <a:lnTo>
                  <a:pt x="0" y="1796796"/>
                </a:lnTo>
                <a:lnTo>
                  <a:pt x="0" y="1810512"/>
                </a:lnTo>
                <a:lnTo>
                  <a:pt x="13373" y="1810512"/>
                </a:lnTo>
                <a:lnTo>
                  <a:pt x="13373" y="1823885"/>
                </a:lnTo>
                <a:lnTo>
                  <a:pt x="27089" y="1823885"/>
                </a:lnTo>
                <a:lnTo>
                  <a:pt x="27089" y="1810512"/>
                </a:lnTo>
                <a:lnTo>
                  <a:pt x="40462" y="1810512"/>
                </a:lnTo>
                <a:lnTo>
                  <a:pt x="40462" y="1796796"/>
                </a:lnTo>
                <a:lnTo>
                  <a:pt x="27089" y="1796796"/>
                </a:lnTo>
                <a:lnTo>
                  <a:pt x="27089" y="1783423"/>
                </a:lnTo>
                <a:close/>
                <a:moveTo>
                  <a:pt x="96355" y="1917840"/>
                </a:moveTo>
                <a:lnTo>
                  <a:pt x="81267" y="1917840"/>
                </a:lnTo>
                <a:lnTo>
                  <a:pt x="81267" y="1933270"/>
                </a:lnTo>
                <a:lnTo>
                  <a:pt x="65837" y="1933270"/>
                </a:lnTo>
                <a:lnTo>
                  <a:pt x="65837" y="1948358"/>
                </a:lnTo>
                <a:lnTo>
                  <a:pt x="81267" y="1948358"/>
                </a:lnTo>
                <a:lnTo>
                  <a:pt x="81267" y="1963788"/>
                </a:lnTo>
                <a:lnTo>
                  <a:pt x="96355" y="1963788"/>
                </a:lnTo>
                <a:lnTo>
                  <a:pt x="96355" y="1948358"/>
                </a:lnTo>
                <a:lnTo>
                  <a:pt x="111785" y="1948358"/>
                </a:lnTo>
                <a:lnTo>
                  <a:pt x="111785" y="1933270"/>
                </a:lnTo>
                <a:lnTo>
                  <a:pt x="96355" y="1933270"/>
                </a:lnTo>
                <a:lnTo>
                  <a:pt x="96355" y="1917840"/>
                </a:lnTo>
                <a:close/>
                <a:moveTo>
                  <a:pt x="96012" y="2193188"/>
                </a:moveTo>
                <a:lnTo>
                  <a:pt x="81610" y="2193188"/>
                </a:lnTo>
                <a:lnTo>
                  <a:pt x="81610" y="2207933"/>
                </a:lnTo>
                <a:lnTo>
                  <a:pt x="66866" y="2207933"/>
                </a:lnTo>
                <a:lnTo>
                  <a:pt x="66866" y="2222335"/>
                </a:lnTo>
                <a:lnTo>
                  <a:pt x="81610" y="2222335"/>
                </a:lnTo>
                <a:lnTo>
                  <a:pt x="81610" y="2237080"/>
                </a:lnTo>
                <a:lnTo>
                  <a:pt x="96012" y="2237080"/>
                </a:lnTo>
                <a:lnTo>
                  <a:pt x="96012" y="2222335"/>
                </a:lnTo>
                <a:lnTo>
                  <a:pt x="110757" y="2222335"/>
                </a:lnTo>
                <a:lnTo>
                  <a:pt x="110757" y="2207933"/>
                </a:lnTo>
                <a:lnTo>
                  <a:pt x="96012" y="2207933"/>
                </a:lnTo>
                <a:lnTo>
                  <a:pt x="96012" y="2193188"/>
                </a:lnTo>
                <a:close/>
                <a:moveTo>
                  <a:pt x="95326" y="2469566"/>
                </a:moveTo>
                <a:lnTo>
                  <a:pt x="82296" y="2469566"/>
                </a:lnTo>
                <a:lnTo>
                  <a:pt x="82296" y="2482939"/>
                </a:lnTo>
                <a:lnTo>
                  <a:pt x="68923" y="2482939"/>
                </a:lnTo>
                <a:lnTo>
                  <a:pt x="68923" y="2495969"/>
                </a:lnTo>
                <a:lnTo>
                  <a:pt x="82296" y="2495969"/>
                </a:lnTo>
                <a:lnTo>
                  <a:pt x="82296" y="2509342"/>
                </a:lnTo>
                <a:lnTo>
                  <a:pt x="95326" y="2509342"/>
                </a:lnTo>
                <a:lnTo>
                  <a:pt x="95326" y="2495969"/>
                </a:lnTo>
                <a:lnTo>
                  <a:pt x="108699" y="2495969"/>
                </a:lnTo>
                <a:lnTo>
                  <a:pt x="108699" y="2482939"/>
                </a:lnTo>
                <a:lnTo>
                  <a:pt x="95326" y="2482939"/>
                </a:lnTo>
                <a:lnTo>
                  <a:pt x="95326" y="2469566"/>
                </a:lnTo>
                <a:close/>
                <a:moveTo>
                  <a:pt x="440284" y="2875559"/>
                </a:moveTo>
                <a:lnTo>
                  <a:pt x="423139" y="2875559"/>
                </a:lnTo>
                <a:lnTo>
                  <a:pt x="423139" y="2892362"/>
                </a:lnTo>
                <a:lnTo>
                  <a:pt x="406336" y="2892362"/>
                </a:lnTo>
                <a:lnTo>
                  <a:pt x="406336" y="2909507"/>
                </a:lnTo>
                <a:lnTo>
                  <a:pt x="423139" y="2909507"/>
                </a:lnTo>
                <a:lnTo>
                  <a:pt x="423139" y="2926309"/>
                </a:lnTo>
                <a:lnTo>
                  <a:pt x="440284" y="2926309"/>
                </a:lnTo>
                <a:lnTo>
                  <a:pt x="440284" y="2909507"/>
                </a:lnTo>
                <a:lnTo>
                  <a:pt x="457086" y="2909507"/>
                </a:lnTo>
                <a:lnTo>
                  <a:pt x="457086" y="2892362"/>
                </a:lnTo>
                <a:lnTo>
                  <a:pt x="440284" y="2892362"/>
                </a:lnTo>
                <a:lnTo>
                  <a:pt x="440284" y="2875559"/>
                </a:lnTo>
                <a:close/>
                <a:moveTo>
                  <a:pt x="510235" y="2733599"/>
                </a:moveTo>
                <a:lnTo>
                  <a:pt x="490347" y="2733599"/>
                </a:lnTo>
                <a:lnTo>
                  <a:pt x="490347" y="2753830"/>
                </a:lnTo>
                <a:lnTo>
                  <a:pt x="470116" y="2753830"/>
                </a:lnTo>
                <a:lnTo>
                  <a:pt x="470116" y="2773718"/>
                </a:lnTo>
                <a:lnTo>
                  <a:pt x="490347" y="2773718"/>
                </a:lnTo>
                <a:lnTo>
                  <a:pt x="490347" y="2793949"/>
                </a:lnTo>
                <a:lnTo>
                  <a:pt x="510235" y="2793949"/>
                </a:lnTo>
                <a:lnTo>
                  <a:pt x="510235" y="2773718"/>
                </a:lnTo>
                <a:lnTo>
                  <a:pt x="530466" y="2773718"/>
                </a:lnTo>
                <a:lnTo>
                  <a:pt x="530466" y="2753830"/>
                </a:lnTo>
                <a:lnTo>
                  <a:pt x="510235" y="2753830"/>
                </a:lnTo>
                <a:lnTo>
                  <a:pt x="510235" y="2733599"/>
                </a:lnTo>
                <a:close/>
                <a:moveTo>
                  <a:pt x="508521" y="3013748"/>
                </a:moveTo>
                <a:lnTo>
                  <a:pt x="492061" y="3013748"/>
                </a:lnTo>
                <a:lnTo>
                  <a:pt x="492061" y="3029864"/>
                </a:lnTo>
                <a:lnTo>
                  <a:pt x="475945" y="3029864"/>
                </a:lnTo>
                <a:lnTo>
                  <a:pt x="475945" y="3046324"/>
                </a:lnTo>
                <a:lnTo>
                  <a:pt x="492061" y="3046324"/>
                </a:lnTo>
                <a:lnTo>
                  <a:pt x="492061" y="3062440"/>
                </a:lnTo>
                <a:lnTo>
                  <a:pt x="508521" y="3062440"/>
                </a:lnTo>
                <a:lnTo>
                  <a:pt x="508521" y="3046324"/>
                </a:lnTo>
                <a:lnTo>
                  <a:pt x="524637" y="3046324"/>
                </a:lnTo>
                <a:lnTo>
                  <a:pt x="524637" y="3029864"/>
                </a:lnTo>
                <a:lnTo>
                  <a:pt x="508521" y="3029864"/>
                </a:lnTo>
                <a:lnTo>
                  <a:pt x="508521" y="3013748"/>
                </a:lnTo>
                <a:close/>
                <a:moveTo>
                  <a:pt x="511607" y="2455507"/>
                </a:moveTo>
                <a:lnTo>
                  <a:pt x="488975" y="2455507"/>
                </a:lnTo>
                <a:lnTo>
                  <a:pt x="488975" y="2478138"/>
                </a:lnTo>
                <a:lnTo>
                  <a:pt x="466344" y="2478138"/>
                </a:lnTo>
                <a:lnTo>
                  <a:pt x="466344" y="2500770"/>
                </a:lnTo>
                <a:lnTo>
                  <a:pt x="488975" y="2500770"/>
                </a:lnTo>
                <a:lnTo>
                  <a:pt x="488975" y="2523401"/>
                </a:lnTo>
                <a:lnTo>
                  <a:pt x="511607" y="2523401"/>
                </a:lnTo>
                <a:lnTo>
                  <a:pt x="511607" y="2500770"/>
                </a:lnTo>
                <a:lnTo>
                  <a:pt x="534238" y="2500770"/>
                </a:lnTo>
                <a:lnTo>
                  <a:pt x="534238" y="2478138"/>
                </a:lnTo>
                <a:lnTo>
                  <a:pt x="511607" y="2478138"/>
                </a:lnTo>
                <a:lnTo>
                  <a:pt x="511607" y="2455507"/>
                </a:lnTo>
                <a:close/>
                <a:moveTo>
                  <a:pt x="506120" y="3294583"/>
                </a:moveTo>
                <a:lnTo>
                  <a:pt x="494462" y="3294583"/>
                </a:lnTo>
                <a:lnTo>
                  <a:pt x="494462" y="3306585"/>
                </a:lnTo>
                <a:lnTo>
                  <a:pt x="482460" y="3306585"/>
                </a:lnTo>
                <a:lnTo>
                  <a:pt x="482460" y="3318243"/>
                </a:lnTo>
                <a:lnTo>
                  <a:pt x="494462" y="3318243"/>
                </a:lnTo>
                <a:lnTo>
                  <a:pt x="494462" y="3330245"/>
                </a:lnTo>
                <a:lnTo>
                  <a:pt x="506120" y="3330245"/>
                </a:lnTo>
                <a:lnTo>
                  <a:pt x="506120" y="3318243"/>
                </a:lnTo>
                <a:lnTo>
                  <a:pt x="518122" y="3318243"/>
                </a:lnTo>
                <a:lnTo>
                  <a:pt x="518122" y="3306585"/>
                </a:lnTo>
                <a:lnTo>
                  <a:pt x="506120" y="3306585"/>
                </a:lnTo>
                <a:lnTo>
                  <a:pt x="506120" y="3294583"/>
                </a:lnTo>
                <a:close/>
                <a:moveTo>
                  <a:pt x="442684" y="2319376"/>
                </a:moveTo>
                <a:lnTo>
                  <a:pt x="420738" y="2319376"/>
                </a:lnTo>
                <a:lnTo>
                  <a:pt x="420738" y="2341321"/>
                </a:lnTo>
                <a:lnTo>
                  <a:pt x="398793" y="2341321"/>
                </a:lnTo>
                <a:lnTo>
                  <a:pt x="398793" y="2363267"/>
                </a:lnTo>
                <a:lnTo>
                  <a:pt x="420738" y="2363267"/>
                </a:lnTo>
                <a:lnTo>
                  <a:pt x="420738" y="2385212"/>
                </a:lnTo>
                <a:lnTo>
                  <a:pt x="442684" y="2385212"/>
                </a:lnTo>
                <a:lnTo>
                  <a:pt x="442684" y="2363267"/>
                </a:lnTo>
                <a:lnTo>
                  <a:pt x="464629" y="2363267"/>
                </a:lnTo>
                <a:lnTo>
                  <a:pt x="464629" y="2341321"/>
                </a:lnTo>
                <a:lnTo>
                  <a:pt x="442684" y="2341321"/>
                </a:lnTo>
                <a:lnTo>
                  <a:pt x="442684" y="2319376"/>
                </a:lnTo>
                <a:close/>
                <a:moveTo>
                  <a:pt x="580187" y="2592324"/>
                </a:moveTo>
                <a:lnTo>
                  <a:pt x="557555" y="2592324"/>
                </a:lnTo>
                <a:lnTo>
                  <a:pt x="557555" y="2615298"/>
                </a:lnTo>
                <a:lnTo>
                  <a:pt x="534581" y="2615298"/>
                </a:lnTo>
                <a:lnTo>
                  <a:pt x="534581" y="2637930"/>
                </a:lnTo>
                <a:lnTo>
                  <a:pt x="557555" y="2637930"/>
                </a:lnTo>
                <a:lnTo>
                  <a:pt x="557555" y="2660904"/>
                </a:lnTo>
                <a:lnTo>
                  <a:pt x="580187" y="2660904"/>
                </a:lnTo>
                <a:lnTo>
                  <a:pt x="580187" y="2637930"/>
                </a:lnTo>
                <a:lnTo>
                  <a:pt x="603161" y="2637930"/>
                </a:lnTo>
                <a:lnTo>
                  <a:pt x="603161" y="2615298"/>
                </a:lnTo>
                <a:lnTo>
                  <a:pt x="580187" y="2615298"/>
                </a:lnTo>
                <a:lnTo>
                  <a:pt x="580187" y="2592324"/>
                </a:lnTo>
                <a:close/>
                <a:moveTo>
                  <a:pt x="644652" y="3290811"/>
                </a:moveTo>
                <a:lnTo>
                  <a:pt x="630250" y="3290811"/>
                </a:lnTo>
                <a:lnTo>
                  <a:pt x="630250" y="3305213"/>
                </a:lnTo>
                <a:lnTo>
                  <a:pt x="615848" y="3305213"/>
                </a:lnTo>
                <a:lnTo>
                  <a:pt x="615848" y="3319615"/>
                </a:lnTo>
                <a:lnTo>
                  <a:pt x="630250" y="3319615"/>
                </a:lnTo>
                <a:lnTo>
                  <a:pt x="630250" y="3334017"/>
                </a:lnTo>
                <a:lnTo>
                  <a:pt x="644652" y="3334017"/>
                </a:lnTo>
                <a:lnTo>
                  <a:pt x="644652" y="3319615"/>
                </a:lnTo>
                <a:lnTo>
                  <a:pt x="659054" y="3319615"/>
                </a:lnTo>
                <a:lnTo>
                  <a:pt x="659054" y="3305213"/>
                </a:lnTo>
                <a:lnTo>
                  <a:pt x="644652" y="3305213"/>
                </a:lnTo>
                <a:lnTo>
                  <a:pt x="644652" y="3290811"/>
                </a:lnTo>
                <a:close/>
                <a:moveTo>
                  <a:pt x="576758" y="3151937"/>
                </a:moveTo>
                <a:lnTo>
                  <a:pt x="560984" y="3151937"/>
                </a:lnTo>
                <a:lnTo>
                  <a:pt x="560984" y="3167367"/>
                </a:lnTo>
                <a:lnTo>
                  <a:pt x="545554" y="3167367"/>
                </a:lnTo>
                <a:lnTo>
                  <a:pt x="545554" y="3183141"/>
                </a:lnTo>
                <a:lnTo>
                  <a:pt x="560984" y="3183141"/>
                </a:lnTo>
                <a:lnTo>
                  <a:pt x="560984" y="3198571"/>
                </a:lnTo>
                <a:lnTo>
                  <a:pt x="576758" y="3198571"/>
                </a:lnTo>
                <a:lnTo>
                  <a:pt x="576758" y="3183141"/>
                </a:lnTo>
                <a:lnTo>
                  <a:pt x="592188" y="3183141"/>
                </a:lnTo>
                <a:lnTo>
                  <a:pt x="592188" y="3167367"/>
                </a:lnTo>
                <a:lnTo>
                  <a:pt x="576758" y="3167367"/>
                </a:lnTo>
                <a:lnTo>
                  <a:pt x="576758" y="3151937"/>
                </a:lnTo>
                <a:close/>
                <a:moveTo>
                  <a:pt x="578815" y="2871445"/>
                </a:moveTo>
                <a:lnTo>
                  <a:pt x="558927" y="2871445"/>
                </a:lnTo>
                <a:lnTo>
                  <a:pt x="558927" y="2890990"/>
                </a:lnTo>
                <a:lnTo>
                  <a:pt x="539382" y="2890990"/>
                </a:lnTo>
                <a:lnTo>
                  <a:pt x="539382" y="2910878"/>
                </a:lnTo>
                <a:lnTo>
                  <a:pt x="558927" y="2910878"/>
                </a:lnTo>
                <a:lnTo>
                  <a:pt x="558927" y="2930423"/>
                </a:lnTo>
                <a:lnTo>
                  <a:pt x="578815" y="2930423"/>
                </a:lnTo>
                <a:lnTo>
                  <a:pt x="578815" y="2910878"/>
                </a:lnTo>
                <a:lnTo>
                  <a:pt x="598360" y="2910878"/>
                </a:lnTo>
                <a:lnTo>
                  <a:pt x="598360" y="2890990"/>
                </a:lnTo>
                <a:lnTo>
                  <a:pt x="578815" y="2890990"/>
                </a:lnTo>
                <a:lnTo>
                  <a:pt x="578815" y="2871445"/>
                </a:lnTo>
                <a:close/>
                <a:moveTo>
                  <a:pt x="373761" y="2183244"/>
                </a:moveTo>
                <a:lnTo>
                  <a:pt x="352501" y="2183244"/>
                </a:lnTo>
                <a:lnTo>
                  <a:pt x="352501" y="2204504"/>
                </a:lnTo>
                <a:lnTo>
                  <a:pt x="331241" y="2204504"/>
                </a:lnTo>
                <a:lnTo>
                  <a:pt x="331241" y="2225764"/>
                </a:lnTo>
                <a:lnTo>
                  <a:pt x="352501" y="2225764"/>
                </a:lnTo>
                <a:lnTo>
                  <a:pt x="352501" y="2247024"/>
                </a:lnTo>
                <a:lnTo>
                  <a:pt x="373761" y="2247024"/>
                </a:lnTo>
                <a:lnTo>
                  <a:pt x="373761" y="2225764"/>
                </a:lnTo>
                <a:lnTo>
                  <a:pt x="395021" y="2225764"/>
                </a:lnTo>
                <a:lnTo>
                  <a:pt x="395021" y="2204504"/>
                </a:lnTo>
                <a:lnTo>
                  <a:pt x="373761" y="2204504"/>
                </a:lnTo>
                <a:lnTo>
                  <a:pt x="373761" y="2183244"/>
                </a:lnTo>
                <a:close/>
                <a:moveTo>
                  <a:pt x="371704" y="2738057"/>
                </a:moveTo>
                <a:lnTo>
                  <a:pt x="354559" y="2738057"/>
                </a:lnTo>
                <a:lnTo>
                  <a:pt x="354559" y="2755202"/>
                </a:lnTo>
                <a:lnTo>
                  <a:pt x="337414" y="2755202"/>
                </a:lnTo>
                <a:lnTo>
                  <a:pt x="337414" y="2772347"/>
                </a:lnTo>
                <a:lnTo>
                  <a:pt x="354559" y="2772347"/>
                </a:lnTo>
                <a:lnTo>
                  <a:pt x="354559" y="2789492"/>
                </a:lnTo>
                <a:lnTo>
                  <a:pt x="371704" y="2789492"/>
                </a:lnTo>
                <a:lnTo>
                  <a:pt x="371704" y="2772347"/>
                </a:lnTo>
                <a:lnTo>
                  <a:pt x="388849" y="2772347"/>
                </a:lnTo>
                <a:lnTo>
                  <a:pt x="388849" y="2755202"/>
                </a:lnTo>
                <a:lnTo>
                  <a:pt x="371704" y="2755202"/>
                </a:lnTo>
                <a:lnTo>
                  <a:pt x="371704" y="2738057"/>
                </a:lnTo>
                <a:close/>
                <a:moveTo>
                  <a:pt x="373075" y="2459965"/>
                </a:moveTo>
                <a:lnTo>
                  <a:pt x="353187" y="2459965"/>
                </a:lnTo>
                <a:lnTo>
                  <a:pt x="353187" y="2479510"/>
                </a:lnTo>
                <a:lnTo>
                  <a:pt x="333642" y="2479510"/>
                </a:lnTo>
                <a:lnTo>
                  <a:pt x="333642" y="2499398"/>
                </a:lnTo>
                <a:lnTo>
                  <a:pt x="353187" y="2499398"/>
                </a:lnTo>
                <a:lnTo>
                  <a:pt x="353187" y="2518943"/>
                </a:lnTo>
                <a:lnTo>
                  <a:pt x="373075" y="2518943"/>
                </a:lnTo>
                <a:lnTo>
                  <a:pt x="373075" y="2499398"/>
                </a:lnTo>
                <a:lnTo>
                  <a:pt x="392620" y="2499398"/>
                </a:lnTo>
                <a:lnTo>
                  <a:pt x="392620" y="2479510"/>
                </a:lnTo>
                <a:lnTo>
                  <a:pt x="373075" y="2479510"/>
                </a:lnTo>
                <a:lnTo>
                  <a:pt x="373075" y="2459965"/>
                </a:lnTo>
                <a:close/>
                <a:moveTo>
                  <a:pt x="304495" y="1773479"/>
                </a:moveTo>
                <a:lnTo>
                  <a:pt x="284607" y="1773479"/>
                </a:lnTo>
                <a:lnTo>
                  <a:pt x="284607" y="1793710"/>
                </a:lnTo>
                <a:lnTo>
                  <a:pt x="264376" y="1793710"/>
                </a:lnTo>
                <a:lnTo>
                  <a:pt x="264376" y="1813598"/>
                </a:lnTo>
                <a:lnTo>
                  <a:pt x="284607" y="1813598"/>
                </a:lnTo>
                <a:lnTo>
                  <a:pt x="284607" y="1833829"/>
                </a:lnTo>
                <a:lnTo>
                  <a:pt x="304495" y="1833829"/>
                </a:lnTo>
                <a:lnTo>
                  <a:pt x="304495" y="1813598"/>
                </a:lnTo>
                <a:lnTo>
                  <a:pt x="324726" y="1813598"/>
                </a:lnTo>
                <a:lnTo>
                  <a:pt x="324726" y="1793710"/>
                </a:lnTo>
                <a:lnTo>
                  <a:pt x="304495" y="1793710"/>
                </a:lnTo>
                <a:lnTo>
                  <a:pt x="304495" y="1773479"/>
                </a:lnTo>
                <a:close/>
                <a:moveTo>
                  <a:pt x="369989" y="3017520"/>
                </a:moveTo>
                <a:lnTo>
                  <a:pt x="356273" y="3017520"/>
                </a:lnTo>
                <a:lnTo>
                  <a:pt x="356273" y="3031236"/>
                </a:lnTo>
                <a:lnTo>
                  <a:pt x="342557" y="3031236"/>
                </a:lnTo>
                <a:lnTo>
                  <a:pt x="342557" y="3044952"/>
                </a:lnTo>
                <a:lnTo>
                  <a:pt x="356273" y="3044952"/>
                </a:lnTo>
                <a:lnTo>
                  <a:pt x="356273" y="3058668"/>
                </a:lnTo>
                <a:lnTo>
                  <a:pt x="369989" y="3058668"/>
                </a:lnTo>
                <a:lnTo>
                  <a:pt x="369989" y="3044952"/>
                </a:lnTo>
                <a:lnTo>
                  <a:pt x="383705" y="3044952"/>
                </a:lnTo>
                <a:lnTo>
                  <a:pt x="383705" y="3031236"/>
                </a:lnTo>
                <a:lnTo>
                  <a:pt x="369989" y="3031236"/>
                </a:lnTo>
                <a:lnTo>
                  <a:pt x="369989" y="3017520"/>
                </a:lnTo>
                <a:close/>
                <a:moveTo>
                  <a:pt x="441655" y="2596439"/>
                </a:moveTo>
                <a:lnTo>
                  <a:pt x="421767" y="2596439"/>
                </a:lnTo>
                <a:lnTo>
                  <a:pt x="421767" y="2616670"/>
                </a:lnTo>
                <a:lnTo>
                  <a:pt x="401536" y="2616670"/>
                </a:lnTo>
                <a:lnTo>
                  <a:pt x="401536" y="2636558"/>
                </a:lnTo>
                <a:lnTo>
                  <a:pt x="421767" y="2636558"/>
                </a:lnTo>
                <a:lnTo>
                  <a:pt x="421767" y="2656789"/>
                </a:lnTo>
                <a:lnTo>
                  <a:pt x="441655" y="2656789"/>
                </a:lnTo>
                <a:lnTo>
                  <a:pt x="441655" y="2636558"/>
                </a:lnTo>
                <a:lnTo>
                  <a:pt x="461886" y="2636558"/>
                </a:lnTo>
                <a:lnTo>
                  <a:pt x="461886" y="2616670"/>
                </a:lnTo>
                <a:lnTo>
                  <a:pt x="441655" y="2616670"/>
                </a:lnTo>
                <a:lnTo>
                  <a:pt x="441655" y="2596439"/>
                </a:lnTo>
                <a:close/>
                <a:moveTo>
                  <a:pt x="438226" y="3156052"/>
                </a:moveTo>
                <a:lnTo>
                  <a:pt x="425196" y="3156052"/>
                </a:lnTo>
                <a:lnTo>
                  <a:pt x="425196" y="3168739"/>
                </a:lnTo>
                <a:lnTo>
                  <a:pt x="412509" y="3168739"/>
                </a:lnTo>
                <a:lnTo>
                  <a:pt x="412509" y="3181769"/>
                </a:lnTo>
                <a:lnTo>
                  <a:pt x="425196" y="3181769"/>
                </a:lnTo>
                <a:lnTo>
                  <a:pt x="425196" y="3194456"/>
                </a:lnTo>
                <a:lnTo>
                  <a:pt x="438226" y="3194456"/>
                </a:lnTo>
                <a:lnTo>
                  <a:pt x="438226" y="3181769"/>
                </a:lnTo>
                <a:lnTo>
                  <a:pt x="450913" y="3181769"/>
                </a:lnTo>
                <a:lnTo>
                  <a:pt x="450913" y="3168739"/>
                </a:lnTo>
                <a:lnTo>
                  <a:pt x="438226" y="3168739"/>
                </a:lnTo>
                <a:lnTo>
                  <a:pt x="438226" y="3156052"/>
                </a:lnTo>
                <a:close/>
                <a:moveTo>
                  <a:pt x="647052" y="3009633"/>
                </a:moveTo>
                <a:lnTo>
                  <a:pt x="627850" y="3009633"/>
                </a:lnTo>
                <a:lnTo>
                  <a:pt x="627850" y="3028493"/>
                </a:lnTo>
                <a:lnTo>
                  <a:pt x="608990" y="3028493"/>
                </a:lnTo>
                <a:lnTo>
                  <a:pt x="608990" y="3047695"/>
                </a:lnTo>
                <a:lnTo>
                  <a:pt x="627850" y="3047695"/>
                </a:lnTo>
                <a:lnTo>
                  <a:pt x="627850" y="3066555"/>
                </a:lnTo>
                <a:lnTo>
                  <a:pt x="647052" y="3066555"/>
                </a:lnTo>
                <a:lnTo>
                  <a:pt x="647052" y="3047695"/>
                </a:lnTo>
                <a:lnTo>
                  <a:pt x="665912" y="3047695"/>
                </a:lnTo>
                <a:lnTo>
                  <a:pt x="665912" y="3028493"/>
                </a:lnTo>
                <a:lnTo>
                  <a:pt x="647052" y="3028493"/>
                </a:lnTo>
                <a:lnTo>
                  <a:pt x="647052" y="3009633"/>
                </a:lnTo>
                <a:close/>
                <a:moveTo>
                  <a:pt x="420052" y="2112607"/>
                </a:moveTo>
                <a:lnTo>
                  <a:pt x="443370" y="2112607"/>
                </a:lnTo>
                <a:lnTo>
                  <a:pt x="443370" y="2089633"/>
                </a:lnTo>
                <a:lnTo>
                  <a:pt x="466344" y="2089633"/>
                </a:lnTo>
                <a:lnTo>
                  <a:pt x="466344" y="2066315"/>
                </a:lnTo>
                <a:lnTo>
                  <a:pt x="443370" y="2066315"/>
                </a:lnTo>
                <a:lnTo>
                  <a:pt x="443370" y="2043341"/>
                </a:lnTo>
                <a:lnTo>
                  <a:pt x="420052" y="2043341"/>
                </a:lnTo>
                <a:lnTo>
                  <a:pt x="420052" y="2066315"/>
                </a:lnTo>
                <a:lnTo>
                  <a:pt x="397078" y="2066315"/>
                </a:lnTo>
                <a:lnTo>
                  <a:pt x="397078" y="2089633"/>
                </a:lnTo>
                <a:lnTo>
                  <a:pt x="420052" y="2089633"/>
                </a:lnTo>
                <a:lnTo>
                  <a:pt x="420052" y="2112607"/>
                </a:lnTo>
                <a:close/>
                <a:moveTo>
                  <a:pt x="374104" y="1907896"/>
                </a:moveTo>
                <a:lnTo>
                  <a:pt x="352158" y="1907896"/>
                </a:lnTo>
                <a:lnTo>
                  <a:pt x="352158" y="1929841"/>
                </a:lnTo>
                <a:lnTo>
                  <a:pt x="330213" y="1929841"/>
                </a:lnTo>
                <a:lnTo>
                  <a:pt x="330213" y="1951787"/>
                </a:lnTo>
                <a:lnTo>
                  <a:pt x="352158" y="1951787"/>
                </a:lnTo>
                <a:lnTo>
                  <a:pt x="352158" y="1973732"/>
                </a:lnTo>
                <a:lnTo>
                  <a:pt x="374104" y="1973732"/>
                </a:lnTo>
                <a:lnTo>
                  <a:pt x="374104" y="1951787"/>
                </a:lnTo>
                <a:lnTo>
                  <a:pt x="396049" y="1951787"/>
                </a:lnTo>
                <a:lnTo>
                  <a:pt x="396049" y="1929841"/>
                </a:lnTo>
                <a:lnTo>
                  <a:pt x="374104" y="1929841"/>
                </a:lnTo>
                <a:lnTo>
                  <a:pt x="374104" y="1907896"/>
                </a:lnTo>
                <a:close/>
                <a:moveTo>
                  <a:pt x="14059" y="1547851"/>
                </a:moveTo>
                <a:lnTo>
                  <a:pt x="26403" y="1547851"/>
                </a:lnTo>
                <a:lnTo>
                  <a:pt x="26403" y="1535506"/>
                </a:lnTo>
                <a:lnTo>
                  <a:pt x="38748" y="1535506"/>
                </a:lnTo>
                <a:lnTo>
                  <a:pt x="38748" y="1523162"/>
                </a:lnTo>
                <a:lnTo>
                  <a:pt x="26403" y="1523162"/>
                </a:lnTo>
                <a:lnTo>
                  <a:pt x="26403" y="1510817"/>
                </a:lnTo>
                <a:lnTo>
                  <a:pt x="14059" y="1510817"/>
                </a:lnTo>
                <a:lnTo>
                  <a:pt x="14059" y="1523162"/>
                </a:lnTo>
                <a:lnTo>
                  <a:pt x="1715" y="1523162"/>
                </a:lnTo>
                <a:lnTo>
                  <a:pt x="1715" y="1535506"/>
                </a:lnTo>
                <a:lnTo>
                  <a:pt x="14059" y="1535506"/>
                </a:lnTo>
                <a:lnTo>
                  <a:pt x="14059" y="1547851"/>
                </a:lnTo>
                <a:close/>
                <a:moveTo>
                  <a:pt x="1949044" y="3698177"/>
                </a:moveTo>
                <a:lnTo>
                  <a:pt x="1931899" y="3698177"/>
                </a:lnTo>
                <a:lnTo>
                  <a:pt x="1931899" y="3715322"/>
                </a:lnTo>
                <a:lnTo>
                  <a:pt x="1914754" y="3715322"/>
                </a:lnTo>
                <a:lnTo>
                  <a:pt x="1914754" y="3732467"/>
                </a:lnTo>
                <a:lnTo>
                  <a:pt x="1931899" y="3732467"/>
                </a:lnTo>
                <a:lnTo>
                  <a:pt x="1931899" y="3749612"/>
                </a:lnTo>
                <a:lnTo>
                  <a:pt x="1949044" y="3749612"/>
                </a:lnTo>
                <a:lnTo>
                  <a:pt x="1949044" y="3732467"/>
                </a:lnTo>
                <a:lnTo>
                  <a:pt x="1966189" y="3732467"/>
                </a:lnTo>
                <a:lnTo>
                  <a:pt x="1966189" y="3715322"/>
                </a:lnTo>
                <a:lnTo>
                  <a:pt x="1949044" y="3715322"/>
                </a:lnTo>
                <a:lnTo>
                  <a:pt x="1949044" y="3698177"/>
                </a:lnTo>
                <a:close/>
                <a:moveTo>
                  <a:pt x="3460890" y="1769021"/>
                </a:moveTo>
                <a:lnTo>
                  <a:pt x="3437573" y="1769021"/>
                </a:lnTo>
                <a:lnTo>
                  <a:pt x="3437573" y="1791995"/>
                </a:lnTo>
                <a:lnTo>
                  <a:pt x="3414598" y="1791995"/>
                </a:lnTo>
                <a:lnTo>
                  <a:pt x="3414598" y="1815313"/>
                </a:lnTo>
                <a:lnTo>
                  <a:pt x="3437573" y="1815313"/>
                </a:lnTo>
                <a:lnTo>
                  <a:pt x="3437573" y="1838287"/>
                </a:lnTo>
                <a:lnTo>
                  <a:pt x="3460890" y="1838287"/>
                </a:lnTo>
                <a:lnTo>
                  <a:pt x="3460890" y="1815313"/>
                </a:lnTo>
                <a:lnTo>
                  <a:pt x="3483864" y="1815313"/>
                </a:lnTo>
                <a:lnTo>
                  <a:pt x="3483864" y="1791995"/>
                </a:lnTo>
                <a:lnTo>
                  <a:pt x="3460890" y="1791995"/>
                </a:lnTo>
                <a:lnTo>
                  <a:pt x="3460890" y="1769021"/>
                </a:lnTo>
                <a:close/>
                <a:moveTo>
                  <a:pt x="3455746" y="3156052"/>
                </a:moveTo>
                <a:lnTo>
                  <a:pt x="3442716" y="3156052"/>
                </a:lnTo>
                <a:lnTo>
                  <a:pt x="3442716" y="3168739"/>
                </a:lnTo>
                <a:lnTo>
                  <a:pt x="3430029" y="3168739"/>
                </a:lnTo>
                <a:lnTo>
                  <a:pt x="3430029" y="3181769"/>
                </a:lnTo>
                <a:lnTo>
                  <a:pt x="3442716" y="3181769"/>
                </a:lnTo>
                <a:lnTo>
                  <a:pt x="3442716" y="3194456"/>
                </a:lnTo>
                <a:lnTo>
                  <a:pt x="3455746" y="3194456"/>
                </a:lnTo>
                <a:lnTo>
                  <a:pt x="3455746" y="3181769"/>
                </a:lnTo>
                <a:lnTo>
                  <a:pt x="3468434" y="3181769"/>
                </a:lnTo>
                <a:lnTo>
                  <a:pt x="3468434" y="3168739"/>
                </a:lnTo>
                <a:lnTo>
                  <a:pt x="3455746" y="3168739"/>
                </a:lnTo>
                <a:lnTo>
                  <a:pt x="3455746" y="3156052"/>
                </a:lnTo>
                <a:close/>
                <a:moveTo>
                  <a:pt x="3459175" y="2596439"/>
                </a:moveTo>
                <a:lnTo>
                  <a:pt x="3439287" y="2596439"/>
                </a:lnTo>
                <a:lnTo>
                  <a:pt x="3439287" y="2616670"/>
                </a:lnTo>
                <a:lnTo>
                  <a:pt x="3419056" y="2616670"/>
                </a:lnTo>
                <a:lnTo>
                  <a:pt x="3419056" y="2636558"/>
                </a:lnTo>
                <a:lnTo>
                  <a:pt x="3439287" y="2636558"/>
                </a:lnTo>
                <a:lnTo>
                  <a:pt x="3439287" y="2656789"/>
                </a:lnTo>
                <a:lnTo>
                  <a:pt x="3459175" y="2656789"/>
                </a:lnTo>
                <a:lnTo>
                  <a:pt x="3459175" y="2636558"/>
                </a:lnTo>
                <a:lnTo>
                  <a:pt x="3479407" y="2636558"/>
                </a:lnTo>
                <a:lnTo>
                  <a:pt x="3479407" y="2616670"/>
                </a:lnTo>
                <a:lnTo>
                  <a:pt x="3459175" y="2616670"/>
                </a:lnTo>
                <a:lnTo>
                  <a:pt x="3459175" y="2596439"/>
                </a:lnTo>
                <a:close/>
                <a:moveTo>
                  <a:pt x="3457804" y="2875559"/>
                </a:moveTo>
                <a:lnTo>
                  <a:pt x="3440659" y="2875559"/>
                </a:lnTo>
                <a:lnTo>
                  <a:pt x="3440659" y="2892362"/>
                </a:lnTo>
                <a:lnTo>
                  <a:pt x="3423857" y="2892362"/>
                </a:lnTo>
                <a:lnTo>
                  <a:pt x="3423857" y="2909507"/>
                </a:lnTo>
                <a:lnTo>
                  <a:pt x="3440659" y="2909507"/>
                </a:lnTo>
                <a:lnTo>
                  <a:pt x="3440659" y="2926309"/>
                </a:lnTo>
                <a:lnTo>
                  <a:pt x="3457804" y="2926309"/>
                </a:lnTo>
                <a:lnTo>
                  <a:pt x="3457804" y="2909507"/>
                </a:lnTo>
                <a:lnTo>
                  <a:pt x="3474606" y="2909507"/>
                </a:lnTo>
                <a:lnTo>
                  <a:pt x="3474606" y="2892362"/>
                </a:lnTo>
                <a:lnTo>
                  <a:pt x="3457804" y="2892362"/>
                </a:lnTo>
                <a:lnTo>
                  <a:pt x="3457804" y="2875559"/>
                </a:lnTo>
                <a:close/>
                <a:moveTo>
                  <a:pt x="3460204" y="2319033"/>
                </a:moveTo>
                <a:lnTo>
                  <a:pt x="3438259" y="2319033"/>
                </a:lnTo>
                <a:lnTo>
                  <a:pt x="3438259" y="2341321"/>
                </a:lnTo>
                <a:lnTo>
                  <a:pt x="3415970" y="2341321"/>
                </a:lnTo>
                <a:lnTo>
                  <a:pt x="3415970" y="2363267"/>
                </a:lnTo>
                <a:lnTo>
                  <a:pt x="3438259" y="2363267"/>
                </a:lnTo>
                <a:lnTo>
                  <a:pt x="3438259" y="2385555"/>
                </a:lnTo>
                <a:lnTo>
                  <a:pt x="3460204" y="2385555"/>
                </a:lnTo>
                <a:lnTo>
                  <a:pt x="3460204" y="2363267"/>
                </a:lnTo>
                <a:lnTo>
                  <a:pt x="3482492" y="2363267"/>
                </a:lnTo>
                <a:lnTo>
                  <a:pt x="3482492" y="2341321"/>
                </a:lnTo>
                <a:lnTo>
                  <a:pt x="3460204" y="2341321"/>
                </a:lnTo>
                <a:lnTo>
                  <a:pt x="3460204" y="2319033"/>
                </a:lnTo>
                <a:close/>
                <a:moveTo>
                  <a:pt x="3528441" y="2183244"/>
                </a:moveTo>
                <a:lnTo>
                  <a:pt x="3507181" y="2183244"/>
                </a:lnTo>
                <a:lnTo>
                  <a:pt x="3507181" y="2204504"/>
                </a:lnTo>
                <a:lnTo>
                  <a:pt x="3485921" y="2204504"/>
                </a:lnTo>
                <a:lnTo>
                  <a:pt x="3485921" y="2225764"/>
                </a:lnTo>
                <a:lnTo>
                  <a:pt x="3507181" y="2225764"/>
                </a:lnTo>
                <a:lnTo>
                  <a:pt x="3507181" y="2247024"/>
                </a:lnTo>
                <a:lnTo>
                  <a:pt x="3528441" y="2247024"/>
                </a:lnTo>
                <a:lnTo>
                  <a:pt x="3528441" y="2225764"/>
                </a:lnTo>
                <a:lnTo>
                  <a:pt x="3549701" y="2225764"/>
                </a:lnTo>
                <a:lnTo>
                  <a:pt x="3549701" y="2204504"/>
                </a:lnTo>
                <a:lnTo>
                  <a:pt x="3528441" y="2204504"/>
                </a:lnTo>
                <a:lnTo>
                  <a:pt x="3528441" y="2183244"/>
                </a:lnTo>
                <a:close/>
                <a:moveTo>
                  <a:pt x="3250692" y="3290811"/>
                </a:moveTo>
                <a:lnTo>
                  <a:pt x="3236290" y="3290811"/>
                </a:lnTo>
                <a:lnTo>
                  <a:pt x="3236290" y="3305213"/>
                </a:lnTo>
                <a:lnTo>
                  <a:pt x="3221888" y="3305213"/>
                </a:lnTo>
                <a:lnTo>
                  <a:pt x="3221888" y="3319615"/>
                </a:lnTo>
                <a:lnTo>
                  <a:pt x="3236290" y="3319615"/>
                </a:lnTo>
                <a:lnTo>
                  <a:pt x="3236290" y="3334017"/>
                </a:lnTo>
                <a:lnTo>
                  <a:pt x="3250692" y="3334017"/>
                </a:lnTo>
                <a:lnTo>
                  <a:pt x="3250692" y="3319615"/>
                </a:lnTo>
                <a:lnTo>
                  <a:pt x="3265094" y="3319615"/>
                </a:lnTo>
                <a:lnTo>
                  <a:pt x="3265094" y="3305213"/>
                </a:lnTo>
                <a:lnTo>
                  <a:pt x="3250692" y="3305213"/>
                </a:lnTo>
                <a:lnTo>
                  <a:pt x="3250692" y="3290811"/>
                </a:lnTo>
                <a:close/>
                <a:moveTo>
                  <a:pt x="3524669" y="3017863"/>
                </a:moveTo>
                <a:lnTo>
                  <a:pt x="3510953" y="3017863"/>
                </a:lnTo>
                <a:lnTo>
                  <a:pt x="3510953" y="3031236"/>
                </a:lnTo>
                <a:lnTo>
                  <a:pt x="3497580" y="3031236"/>
                </a:lnTo>
                <a:lnTo>
                  <a:pt x="3497580" y="3044952"/>
                </a:lnTo>
                <a:lnTo>
                  <a:pt x="3510953" y="3044952"/>
                </a:lnTo>
                <a:lnTo>
                  <a:pt x="3510953" y="3058325"/>
                </a:lnTo>
                <a:lnTo>
                  <a:pt x="3524669" y="3058325"/>
                </a:lnTo>
                <a:lnTo>
                  <a:pt x="3524669" y="3044952"/>
                </a:lnTo>
                <a:lnTo>
                  <a:pt x="3538042" y="3044952"/>
                </a:lnTo>
                <a:lnTo>
                  <a:pt x="3538042" y="3031236"/>
                </a:lnTo>
                <a:lnTo>
                  <a:pt x="3524669" y="3031236"/>
                </a:lnTo>
                <a:lnTo>
                  <a:pt x="3524669" y="3017863"/>
                </a:lnTo>
                <a:close/>
                <a:moveTo>
                  <a:pt x="3526384" y="2738057"/>
                </a:moveTo>
                <a:lnTo>
                  <a:pt x="3509239" y="2738057"/>
                </a:lnTo>
                <a:lnTo>
                  <a:pt x="3509239" y="2755202"/>
                </a:lnTo>
                <a:lnTo>
                  <a:pt x="3492094" y="2755202"/>
                </a:lnTo>
                <a:lnTo>
                  <a:pt x="3492094" y="2772347"/>
                </a:lnTo>
                <a:lnTo>
                  <a:pt x="3509239" y="2772347"/>
                </a:lnTo>
                <a:lnTo>
                  <a:pt x="3509239" y="2789492"/>
                </a:lnTo>
                <a:lnTo>
                  <a:pt x="3526384" y="2789492"/>
                </a:lnTo>
                <a:lnTo>
                  <a:pt x="3526384" y="2772347"/>
                </a:lnTo>
                <a:lnTo>
                  <a:pt x="3543529" y="2772347"/>
                </a:lnTo>
                <a:lnTo>
                  <a:pt x="3543529" y="2755202"/>
                </a:lnTo>
                <a:lnTo>
                  <a:pt x="3526384" y="2755202"/>
                </a:lnTo>
                <a:lnTo>
                  <a:pt x="3526384" y="2738057"/>
                </a:lnTo>
                <a:close/>
                <a:moveTo>
                  <a:pt x="3460890" y="2043341"/>
                </a:moveTo>
                <a:lnTo>
                  <a:pt x="3437573" y="2043341"/>
                </a:lnTo>
                <a:lnTo>
                  <a:pt x="3437573" y="2066315"/>
                </a:lnTo>
                <a:lnTo>
                  <a:pt x="3414598" y="2066315"/>
                </a:lnTo>
                <a:lnTo>
                  <a:pt x="3414598" y="2089633"/>
                </a:lnTo>
                <a:lnTo>
                  <a:pt x="3437573" y="2089633"/>
                </a:lnTo>
                <a:lnTo>
                  <a:pt x="3437573" y="2112607"/>
                </a:lnTo>
                <a:lnTo>
                  <a:pt x="3460890" y="2112607"/>
                </a:lnTo>
                <a:lnTo>
                  <a:pt x="3460890" y="2089633"/>
                </a:lnTo>
                <a:lnTo>
                  <a:pt x="3483864" y="2089633"/>
                </a:lnTo>
                <a:lnTo>
                  <a:pt x="3483864" y="2066315"/>
                </a:lnTo>
                <a:lnTo>
                  <a:pt x="3460890" y="2066315"/>
                </a:lnTo>
                <a:lnTo>
                  <a:pt x="3460890" y="2043341"/>
                </a:lnTo>
                <a:close/>
                <a:moveTo>
                  <a:pt x="3254807" y="2729827"/>
                </a:moveTo>
                <a:lnTo>
                  <a:pt x="3232175" y="2729827"/>
                </a:lnTo>
                <a:lnTo>
                  <a:pt x="3232175" y="2752458"/>
                </a:lnTo>
                <a:lnTo>
                  <a:pt x="3209544" y="2752458"/>
                </a:lnTo>
                <a:lnTo>
                  <a:pt x="3209544" y="2775090"/>
                </a:lnTo>
                <a:lnTo>
                  <a:pt x="3232175" y="2775090"/>
                </a:lnTo>
                <a:lnTo>
                  <a:pt x="3232175" y="2797721"/>
                </a:lnTo>
                <a:lnTo>
                  <a:pt x="3254807" y="2797721"/>
                </a:lnTo>
                <a:lnTo>
                  <a:pt x="3254807" y="2775090"/>
                </a:lnTo>
                <a:lnTo>
                  <a:pt x="3277438" y="2775090"/>
                </a:lnTo>
                <a:lnTo>
                  <a:pt x="3277438" y="2752458"/>
                </a:lnTo>
                <a:lnTo>
                  <a:pt x="3254807" y="2752458"/>
                </a:lnTo>
                <a:lnTo>
                  <a:pt x="3254807" y="2729827"/>
                </a:lnTo>
                <a:close/>
                <a:moveTo>
                  <a:pt x="3319958" y="3151937"/>
                </a:moveTo>
                <a:lnTo>
                  <a:pt x="3304184" y="3151937"/>
                </a:lnTo>
                <a:lnTo>
                  <a:pt x="3304184" y="3167367"/>
                </a:lnTo>
                <a:lnTo>
                  <a:pt x="3288754" y="3167367"/>
                </a:lnTo>
                <a:lnTo>
                  <a:pt x="3288754" y="3183141"/>
                </a:lnTo>
                <a:lnTo>
                  <a:pt x="3304184" y="3183141"/>
                </a:lnTo>
                <a:lnTo>
                  <a:pt x="3304184" y="3198571"/>
                </a:lnTo>
                <a:lnTo>
                  <a:pt x="3319958" y="3198571"/>
                </a:lnTo>
                <a:lnTo>
                  <a:pt x="3319958" y="3183141"/>
                </a:lnTo>
                <a:lnTo>
                  <a:pt x="3335389" y="3183141"/>
                </a:lnTo>
                <a:lnTo>
                  <a:pt x="3335389" y="3167367"/>
                </a:lnTo>
                <a:lnTo>
                  <a:pt x="3319958" y="3167367"/>
                </a:lnTo>
                <a:lnTo>
                  <a:pt x="3319958" y="3151937"/>
                </a:lnTo>
                <a:close/>
                <a:moveTo>
                  <a:pt x="3322015" y="2871445"/>
                </a:moveTo>
                <a:lnTo>
                  <a:pt x="3302127" y="2871445"/>
                </a:lnTo>
                <a:lnTo>
                  <a:pt x="3302127" y="2890990"/>
                </a:lnTo>
                <a:lnTo>
                  <a:pt x="3282582" y="2890990"/>
                </a:lnTo>
                <a:lnTo>
                  <a:pt x="3282582" y="2910878"/>
                </a:lnTo>
                <a:lnTo>
                  <a:pt x="3302127" y="2910878"/>
                </a:lnTo>
                <a:lnTo>
                  <a:pt x="3302127" y="2930423"/>
                </a:lnTo>
                <a:lnTo>
                  <a:pt x="3322015" y="2930423"/>
                </a:lnTo>
                <a:lnTo>
                  <a:pt x="3322015" y="2910878"/>
                </a:lnTo>
                <a:lnTo>
                  <a:pt x="3341561" y="2910878"/>
                </a:lnTo>
                <a:lnTo>
                  <a:pt x="3341561" y="2890990"/>
                </a:lnTo>
                <a:lnTo>
                  <a:pt x="3322015" y="2890990"/>
                </a:lnTo>
                <a:lnTo>
                  <a:pt x="3322015" y="2871445"/>
                </a:lnTo>
                <a:close/>
                <a:moveTo>
                  <a:pt x="3253093" y="3009633"/>
                </a:moveTo>
                <a:lnTo>
                  <a:pt x="3233890" y="3009633"/>
                </a:lnTo>
                <a:lnTo>
                  <a:pt x="3233890" y="3028493"/>
                </a:lnTo>
                <a:lnTo>
                  <a:pt x="3215030" y="3028493"/>
                </a:lnTo>
                <a:lnTo>
                  <a:pt x="3215030" y="3047695"/>
                </a:lnTo>
                <a:lnTo>
                  <a:pt x="3233890" y="3047695"/>
                </a:lnTo>
                <a:lnTo>
                  <a:pt x="3233890" y="3066555"/>
                </a:lnTo>
                <a:lnTo>
                  <a:pt x="3253093" y="3066555"/>
                </a:lnTo>
                <a:lnTo>
                  <a:pt x="3253093" y="3047695"/>
                </a:lnTo>
                <a:lnTo>
                  <a:pt x="3271952" y="3047695"/>
                </a:lnTo>
                <a:lnTo>
                  <a:pt x="3271952" y="3028493"/>
                </a:lnTo>
                <a:lnTo>
                  <a:pt x="3253093" y="3028493"/>
                </a:lnTo>
                <a:lnTo>
                  <a:pt x="3253093" y="3009633"/>
                </a:lnTo>
                <a:close/>
                <a:moveTo>
                  <a:pt x="3323387" y="2592667"/>
                </a:moveTo>
                <a:lnTo>
                  <a:pt x="3300755" y="2592667"/>
                </a:lnTo>
                <a:lnTo>
                  <a:pt x="3300755" y="2615298"/>
                </a:lnTo>
                <a:lnTo>
                  <a:pt x="3278124" y="2615298"/>
                </a:lnTo>
                <a:lnTo>
                  <a:pt x="3278124" y="2637930"/>
                </a:lnTo>
                <a:lnTo>
                  <a:pt x="3300755" y="2637930"/>
                </a:lnTo>
                <a:lnTo>
                  <a:pt x="3300755" y="2660561"/>
                </a:lnTo>
                <a:lnTo>
                  <a:pt x="3323387" y="2660561"/>
                </a:lnTo>
                <a:lnTo>
                  <a:pt x="3323387" y="2637930"/>
                </a:lnTo>
                <a:lnTo>
                  <a:pt x="3346018" y="2637930"/>
                </a:lnTo>
                <a:lnTo>
                  <a:pt x="3346018" y="2615298"/>
                </a:lnTo>
                <a:lnTo>
                  <a:pt x="3323387" y="2615298"/>
                </a:lnTo>
                <a:lnTo>
                  <a:pt x="3323387" y="2592667"/>
                </a:lnTo>
                <a:close/>
                <a:moveTo>
                  <a:pt x="3388881" y="3013405"/>
                </a:moveTo>
                <a:lnTo>
                  <a:pt x="3372422" y="3013405"/>
                </a:lnTo>
                <a:lnTo>
                  <a:pt x="3372422" y="3029864"/>
                </a:lnTo>
                <a:lnTo>
                  <a:pt x="3355963" y="3029864"/>
                </a:lnTo>
                <a:lnTo>
                  <a:pt x="3355963" y="3046324"/>
                </a:lnTo>
                <a:lnTo>
                  <a:pt x="3372422" y="3046324"/>
                </a:lnTo>
                <a:lnTo>
                  <a:pt x="3372422" y="3062783"/>
                </a:lnTo>
                <a:lnTo>
                  <a:pt x="3388881" y="3062783"/>
                </a:lnTo>
                <a:lnTo>
                  <a:pt x="3388881" y="3046324"/>
                </a:lnTo>
                <a:lnTo>
                  <a:pt x="3405340" y="3046324"/>
                </a:lnTo>
                <a:lnTo>
                  <a:pt x="3405340" y="3029864"/>
                </a:lnTo>
                <a:lnTo>
                  <a:pt x="3388881" y="3029864"/>
                </a:lnTo>
                <a:lnTo>
                  <a:pt x="3388881" y="3013405"/>
                </a:lnTo>
                <a:close/>
                <a:moveTo>
                  <a:pt x="3391967" y="2455507"/>
                </a:moveTo>
                <a:lnTo>
                  <a:pt x="3369335" y="2455507"/>
                </a:lnTo>
                <a:lnTo>
                  <a:pt x="3369335" y="2478138"/>
                </a:lnTo>
                <a:lnTo>
                  <a:pt x="3346704" y="2478138"/>
                </a:lnTo>
                <a:lnTo>
                  <a:pt x="3346704" y="2500770"/>
                </a:lnTo>
                <a:lnTo>
                  <a:pt x="3369335" y="2500770"/>
                </a:lnTo>
                <a:lnTo>
                  <a:pt x="3369335" y="2523401"/>
                </a:lnTo>
                <a:lnTo>
                  <a:pt x="3391967" y="2523401"/>
                </a:lnTo>
                <a:lnTo>
                  <a:pt x="3391967" y="2500770"/>
                </a:lnTo>
                <a:lnTo>
                  <a:pt x="3414598" y="2500770"/>
                </a:lnTo>
                <a:lnTo>
                  <a:pt x="3414598" y="2478138"/>
                </a:lnTo>
                <a:lnTo>
                  <a:pt x="3391967" y="2478138"/>
                </a:lnTo>
                <a:lnTo>
                  <a:pt x="3391967" y="2455507"/>
                </a:lnTo>
                <a:close/>
                <a:moveTo>
                  <a:pt x="3390595" y="2733599"/>
                </a:moveTo>
                <a:lnTo>
                  <a:pt x="3370707" y="2733599"/>
                </a:lnTo>
                <a:lnTo>
                  <a:pt x="3370707" y="2753830"/>
                </a:lnTo>
                <a:lnTo>
                  <a:pt x="3350476" y="2753830"/>
                </a:lnTo>
                <a:lnTo>
                  <a:pt x="3350476" y="2773718"/>
                </a:lnTo>
                <a:lnTo>
                  <a:pt x="3370707" y="2773718"/>
                </a:lnTo>
                <a:lnTo>
                  <a:pt x="3370707" y="2793949"/>
                </a:lnTo>
                <a:lnTo>
                  <a:pt x="3390595" y="2793949"/>
                </a:lnTo>
                <a:lnTo>
                  <a:pt x="3390595" y="2773718"/>
                </a:lnTo>
                <a:lnTo>
                  <a:pt x="3410827" y="2773718"/>
                </a:lnTo>
                <a:lnTo>
                  <a:pt x="3410827" y="2753830"/>
                </a:lnTo>
                <a:lnTo>
                  <a:pt x="3390595" y="2753830"/>
                </a:lnTo>
                <a:lnTo>
                  <a:pt x="3390595" y="2733599"/>
                </a:lnTo>
                <a:close/>
                <a:moveTo>
                  <a:pt x="3386480" y="3294583"/>
                </a:moveTo>
                <a:lnTo>
                  <a:pt x="3374822" y="3294583"/>
                </a:lnTo>
                <a:lnTo>
                  <a:pt x="3374822" y="3306585"/>
                </a:lnTo>
                <a:lnTo>
                  <a:pt x="3362821" y="3306585"/>
                </a:lnTo>
                <a:lnTo>
                  <a:pt x="3362821" y="3318243"/>
                </a:lnTo>
                <a:lnTo>
                  <a:pt x="3374822" y="3318243"/>
                </a:lnTo>
                <a:lnTo>
                  <a:pt x="3374822" y="3330245"/>
                </a:lnTo>
                <a:lnTo>
                  <a:pt x="3386480" y="3330245"/>
                </a:lnTo>
                <a:lnTo>
                  <a:pt x="3386480" y="3318243"/>
                </a:lnTo>
                <a:lnTo>
                  <a:pt x="3398482" y="3318243"/>
                </a:lnTo>
                <a:lnTo>
                  <a:pt x="3398482" y="3306585"/>
                </a:lnTo>
                <a:lnTo>
                  <a:pt x="3386480" y="3306585"/>
                </a:lnTo>
                <a:lnTo>
                  <a:pt x="3386480" y="3294583"/>
                </a:lnTo>
                <a:close/>
                <a:moveTo>
                  <a:pt x="3527755" y="2459965"/>
                </a:moveTo>
                <a:lnTo>
                  <a:pt x="3507867" y="2459965"/>
                </a:lnTo>
                <a:lnTo>
                  <a:pt x="3507867" y="2479510"/>
                </a:lnTo>
                <a:lnTo>
                  <a:pt x="3488322" y="2479510"/>
                </a:lnTo>
                <a:lnTo>
                  <a:pt x="3488322" y="2499398"/>
                </a:lnTo>
                <a:lnTo>
                  <a:pt x="3507867" y="2499398"/>
                </a:lnTo>
                <a:lnTo>
                  <a:pt x="3507867" y="2518943"/>
                </a:lnTo>
                <a:lnTo>
                  <a:pt x="3527755" y="2518943"/>
                </a:lnTo>
                <a:lnTo>
                  <a:pt x="3527755" y="2499398"/>
                </a:lnTo>
                <a:lnTo>
                  <a:pt x="3547301" y="2499398"/>
                </a:lnTo>
                <a:lnTo>
                  <a:pt x="3547301" y="2479510"/>
                </a:lnTo>
                <a:lnTo>
                  <a:pt x="3527755" y="2479510"/>
                </a:lnTo>
                <a:lnTo>
                  <a:pt x="3527755" y="2459965"/>
                </a:lnTo>
                <a:close/>
                <a:moveTo>
                  <a:pt x="3799675" y="2192846"/>
                </a:moveTo>
                <a:lnTo>
                  <a:pt x="3784588" y="2192846"/>
                </a:lnTo>
                <a:lnTo>
                  <a:pt x="3784588" y="2207590"/>
                </a:lnTo>
                <a:lnTo>
                  <a:pt x="3769843" y="2207590"/>
                </a:lnTo>
                <a:lnTo>
                  <a:pt x="3769843" y="2222678"/>
                </a:lnTo>
                <a:lnTo>
                  <a:pt x="3784588" y="2222678"/>
                </a:lnTo>
                <a:lnTo>
                  <a:pt x="3784588" y="2237423"/>
                </a:lnTo>
                <a:lnTo>
                  <a:pt x="3799675" y="2237423"/>
                </a:lnTo>
                <a:lnTo>
                  <a:pt x="3799675" y="2222678"/>
                </a:lnTo>
                <a:lnTo>
                  <a:pt x="3814420" y="2222678"/>
                </a:lnTo>
                <a:lnTo>
                  <a:pt x="3814420" y="2207590"/>
                </a:lnTo>
                <a:lnTo>
                  <a:pt x="3799675" y="2207590"/>
                </a:lnTo>
                <a:lnTo>
                  <a:pt x="3799675" y="2192846"/>
                </a:lnTo>
                <a:close/>
                <a:moveTo>
                  <a:pt x="3798646" y="2469566"/>
                </a:moveTo>
                <a:lnTo>
                  <a:pt x="3785616" y="2469566"/>
                </a:lnTo>
                <a:lnTo>
                  <a:pt x="3785616" y="2482939"/>
                </a:lnTo>
                <a:lnTo>
                  <a:pt x="3772243" y="2482939"/>
                </a:lnTo>
                <a:lnTo>
                  <a:pt x="3772243" y="2495969"/>
                </a:lnTo>
                <a:lnTo>
                  <a:pt x="3785616" y="2495969"/>
                </a:lnTo>
                <a:lnTo>
                  <a:pt x="3785616" y="2509342"/>
                </a:lnTo>
                <a:lnTo>
                  <a:pt x="3798646" y="2509342"/>
                </a:lnTo>
                <a:lnTo>
                  <a:pt x="3798646" y="2495969"/>
                </a:lnTo>
                <a:lnTo>
                  <a:pt x="3812020" y="2495969"/>
                </a:lnTo>
                <a:lnTo>
                  <a:pt x="3812020" y="2482939"/>
                </a:lnTo>
                <a:lnTo>
                  <a:pt x="3798646" y="2482939"/>
                </a:lnTo>
                <a:lnTo>
                  <a:pt x="3798646" y="2469566"/>
                </a:lnTo>
                <a:close/>
                <a:moveTo>
                  <a:pt x="3799675" y="1917840"/>
                </a:moveTo>
                <a:lnTo>
                  <a:pt x="3784588" y="1917840"/>
                </a:lnTo>
                <a:lnTo>
                  <a:pt x="3784588" y="1933270"/>
                </a:lnTo>
                <a:lnTo>
                  <a:pt x="3769157" y="1933270"/>
                </a:lnTo>
                <a:lnTo>
                  <a:pt x="3769157" y="1948358"/>
                </a:lnTo>
                <a:lnTo>
                  <a:pt x="3784588" y="1948358"/>
                </a:lnTo>
                <a:lnTo>
                  <a:pt x="3784588" y="1963788"/>
                </a:lnTo>
                <a:lnTo>
                  <a:pt x="3799675" y="1963788"/>
                </a:lnTo>
                <a:lnTo>
                  <a:pt x="3799675" y="1948358"/>
                </a:lnTo>
                <a:lnTo>
                  <a:pt x="3815105" y="1948358"/>
                </a:lnTo>
                <a:lnTo>
                  <a:pt x="3815105" y="1933270"/>
                </a:lnTo>
                <a:lnTo>
                  <a:pt x="3799675" y="1933270"/>
                </a:lnTo>
                <a:lnTo>
                  <a:pt x="3799675" y="1917840"/>
                </a:lnTo>
                <a:close/>
                <a:moveTo>
                  <a:pt x="3732124" y="2052599"/>
                </a:moveTo>
                <a:lnTo>
                  <a:pt x="3714979" y="2052599"/>
                </a:lnTo>
                <a:lnTo>
                  <a:pt x="3714979" y="2069402"/>
                </a:lnTo>
                <a:lnTo>
                  <a:pt x="3698177" y="2069402"/>
                </a:lnTo>
                <a:lnTo>
                  <a:pt x="3698177" y="2086547"/>
                </a:lnTo>
                <a:lnTo>
                  <a:pt x="3714979" y="2086547"/>
                </a:lnTo>
                <a:lnTo>
                  <a:pt x="3714979" y="2103349"/>
                </a:lnTo>
                <a:lnTo>
                  <a:pt x="3732124" y="2103349"/>
                </a:lnTo>
                <a:lnTo>
                  <a:pt x="3732124" y="2086547"/>
                </a:lnTo>
                <a:lnTo>
                  <a:pt x="3748926" y="2086547"/>
                </a:lnTo>
                <a:lnTo>
                  <a:pt x="3748926" y="2069402"/>
                </a:lnTo>
                <a:lnTo>
                  <a:pt x="3732124" y="2069402"/>
                </a:lnTo>
                <a:lnTo>
                  <a:pt x="3732124" y="2052599"/>
                </a:lnTo>
                <a:close/>
                <a:moveTo>
                  <a:pt x="3593249" y="2880017"/>
                </a:moveTo>
                <a:lnTo>
                  <a:pt x="3579533" y="2880017"/>
                </a:lnTo>
                <a:lnTo>
                  <a:pt x="3579533" y="2894076"/>
                </a:lnTo>
                <a:lnTo>
                  <a:pt x="3565474" y="2894076"/>
                </a:lnTo>
                <a:lnTo>
                  <a:pt x="3565474" y="2907792"/>
                </a:lnTo>
                <a:lnTo>
                  <a:pt x="3579533" y="2907792"/>
                </a:lnTo>
                <a:lnTo>
                  <a:pt x="3579533" y="2921851"/>
                </a:lnTo>
                <a:lnTo>
                  <a:pt x="3593249" y="2921851"/>
                </a:lnTo>
                <a:lnTo>
                  <a:pt x="3593249" y="2907792"/>
                </a:lnTo>
                <a:lnTo>
                  <a:pt x="3607308" y="2907792"/>
                </a:lnTo>
                <a:lnTo>
                  <a:pt x="3607308" y="2894076"/>
                </a:lnTo>
                <a:lnTo>
                  <a:pt x="3593249" y="2894076"/>
                </a:lnTo>
                <a:lnTo>
                  <a:pt x="3593249" y="2880017"/>
                </a:lnTo>
                <a:close/>
                <a:moveTo>
                  <a:pt x="3732124" y="1778279"/>
                </a:moveTo>
                <a:lnTo>
                  <a:pt x="3714979" y="1778279"/>
                </a:lnTo>
                <a:lnTo>
                  <a:pt x="3714979" y="1795082"/>
                </a:lnTo>
                <a:lnTo>
                  <a:pt x="3698177" y="1795082"/>
                </a:lnTo>
                <a:lnTo>
                  <a:pt x="3698177" y="1812227"/>
                </a:lnTo>
                <a:lnTo>
                  <a:pt x="3714979" y="1812227"/>
                </a:lnTo>
                <a:lnTo>
                  <a:pt x="3714979" y="1829029"/>
                </a:lnTo>
                <a:lnTo>
                  <a:pt x="3732124" y="1829029"/>
                </a:lnTo>
                <a:lnTo>
                  <a:pt x="3732124" y="1812227"/>
                </a:lnTo>
                <a:lnTo>
                  <a:pt x="3748926" y="1812227"/>
                </a:lnTo>
                <a:lnTo>
                  <a:pt x="3748926" y="1795082"/>
                </a:lnTo>
                <a:lnTo>
                  <a:pt x="3732124" y="1795082"/>
                </a:lnTo>
                <a:lnTo>
                  <a:pt x="3732124" y="1778279"/>
                </a:lnTo>
                <a:close/>
                <a:moveTo>
                  <a:pt x="3866884" y="2333435"/>
                </a:moveTo>
                <a:lnTo>
                  <a:pt x="3854539" y="2333435"/>
                </a:lnTo>
                <a:lnTo>
                  <a:pt x="3854539" y="2346122"/>
                </a:lnTo>
                <a:lnTo>
                  <a:pt x="3841852" y="2346122"/>
                </a:lnTo>
                <a:lnTo>
                  <a:pt x="3841852" y="2358466"/>
                </a:lnTo>
                <a:lnTo>
                  <a:pt x="3854539" y="2358466"/>
                </a:lnTo>
                <a:lnTo>
                  <a:pt x="3854539" y="2371154"/>
                </a:lnTo>
                <a:lnTo>
                  <a:pt x="3866884" y="2371154"/>
                </a:lnTo>
                <a:lnTo>
                  <a:pt x="3866884" y="2358466"/>
                </a:lnTo>
                <a:lnTo>
                  <a:pt x="3879571" y="2358466"/>
                </a:lnTo>
                <a:lnTo>
                  <a:pt x="3879571" y="2346122"/>
                </a:lnTo>
                <a:lnTo>
                  <a:pt x="3866884" y="2346122"/>
                </a:lnTo>
                <a:lnTo>
                  <a:pt x="3866884" y="2333435"/>
                </a:lnTo>
                <a:close/>
                <a:moveTo>
                  <a:pt x="3947122" y="1934985"/>
                </a:moveTo>
                <a:lnTo>
                  <a:pt x="3935120" y="1934985"/>
                </a:lnTo>
                <a:lnTo>
                  <a:pt x="3935120" y="1922983"/>
                </a:lnTo>
                <a:lnTo>
                  <a:pt x="3923462" y="1922983"/>
                </a:lnTo>
                <a:lnTo>
                  <a:pt x="3923462" y="1934985"/>
                </a:lnTo>
                <a:lnTo>
                  <a:pt x="3911461" y="1934985"/>
                </a:lnTo>
                <a:lnTo>
                  <a:pt x="3911461" y="1946643"/>
                </a:lnTo>
                <a:lnTo>
                  <a:pt x="3923462" y="1946643"/>
                </a:lnTo>
                <a:lnTo>
                  <a:pt x="3923462" y="1958645"/>
                </a:lnTo>
                <a:lnTo>
                  <a:pt x="3935120" y="1958645"/>
                </a:lnTo>
                <a:lnTo>
                  <a:pt x="3935120" y="1946643"/>
                </a:lnTo>
                <a:lnTo>
                  <a:pt x="3947122" y="1946643"/>
                </a:lnTo>
                <a:cubicBezTo>
                  <a:pt x="3947122" y="1944586"/>
                  <a:pt x="3947122" y="1942871"/>
                  <a:pt x="3947122" y="1940814"/>
                </a:cubicBezTo>
                <a:cubicBezTo>
                  <a:pt x="3947122" y="1938757"/>
                  <a:pt x="3947122" y="1937042"/>
                  <a:pt x="3947122" y="1934985"/>
                </a:cubicBezTo>
                <a:close/>
                <a:moveTo>
                  <a:pt x="3867569" y="1783423"/>
                </a:moveTo>
                <a:lnTo>
                  <a:pt x="3853853" y="1783423"/>
                </a:lnTo>
                <a:lnTo>
                  <a:pt x="3853853" y="1796796"/>
                </a:lnTo>
                <a:lnTo>
                  <a:pt x="3840480" y="1796796"/>
                </a:lnTo>
                <a:lnTo>
                  <a:pt x="3840480" y="1810512"/>
                </a:lnTo>
                <a:lnTo>
                  <a:pt x="3853853" y="1810512"/>
                </a:lnTo>
                <a:lnTo>
                  <a:pt x="3853853" y="1823885"/>
                </a:lnTo>
                <a:lnTo>
                  <a:pt x="3867569" y="1823885"/>
                </a:lnTo>
                <a:lnTo>
                  <a:pt x="3867569" y="1810512"/>
                </a:lnTo>
                <a:lnTo>
                  <a:pt x="3880942" y="1810512"/>
                </a:lnTo>
                <a:lnTo>
                  <a:pt x="3880942" y="1796796"/>
                </a:lnTo>
                <a:lnTo>
                  <a:pt x="3867569" y="1796796"/>
                </a:lnTo>
                <a:lnTo>
                  <a:pt x="3867569" y="1783423"/>
                </a:lnTo>
                <a:close/>
                <a:moveTo>
                  <a:pt x="3867569" y="2057743"/>
                </a:moveTo>
                <a:lnTo>
                  <a:pt x="3853853" y="2057743"/>
                </a:lnTo>
                <a:lnTo>
                  <a:pt x="3853853" y="2071116"/>
                </a:lnTo>
                <a:lnTo>
                  <a:pt x="3840480" y="2071116"/>
                </a:lnTo>
                <a:lnTo>
                  <a:pt x="3840480" y="2084832"/>
                </a:lnTo>
                <a:lnTo>
                  <a:pt x="3853853" y="2084832"/>
                </a:lnTo>
                <a:lnTo>
                  <a:pt x="3853853" y="2098205"/>
                </a:lnTo>
                <a:lnTo>
                  <a:pt x="3867569" y="2098205"/>
                </a:lnTo>
                <a:lnTo>
                  <a:pt x="3867569" y="2084832"/>
                </a:lnTo>
                <a:lnTo>
                  <a:pt x="3880942" y="2084832"/>
                </a:lnTo>
                <a:lnTo>
                  <a:pt x="3880942" y="2071116"/>
                </a:lnTo>
                <a:lnTo>
                  <a:pt x="3867569" y="2071116"/>
                </a:lnTo>
                <a:lnTo>
                  <a:pt x="3867569" y="2057743"/>
                </a:lnTo>
                <a:close/>
                <a:moveTo>
                  <a:pt x="3731438" y="2328634"/>
                </a:moveTo>
                <a:lnTo>
                  <a:pt x="3715664" y="2328634"/>
                </a:lnTo>
                <a:lnTo>
                  <a:pt x="3715664" y="2344407"/>
                </a:lnTo>
                <a:lnTo>
                  <a:pt x="3699891" y="2344407"/>
                </a:lnTo>
                <a:lnTo>
                  <a:pt x="3699891" y="2360181"/>
                </a:lnTo>
                <a:lnTo>
                  <a:pt x="3715664" y="2360181"/>
                </a:lnTo>
                <a:lnTo>
                  <a:pt x="3715664" y="2375954"/>
                </a:lnTo>
                <a:lnTo>
                  <a:pt x="3731438" y="2375954"/>
                </a:lnTo>
                <a:lnTo>
                  <a:pt x="3731438" y="2360181"/>
                </a:lnTo>
                <a:lnTo>
                  <a:pt x="3747211" y="2360181"/>
                </a:lnTo>
                <a:lnTo>
                  <a:pt x="3747211" y="2344407"/>
                </a:lnTo>
                <a:lnTo>
                  <a:pt x="3731438" y="2344407"/>
                </a:lnTo>
                <a:lnTo>
                  <a:pt x="3731438" y="2328634"/>
                </a:lnTo>
                <a:close/>
                <a:moveTo>
                  <a:pt x="3596335" y="1773479"/>
                </a:moveTo>
                <a:lnTo>
                  <a:pt x="3576447" y="1773479"/>
                </a:lnTo>
                <a:lnTo>
                  <a:pt x="3576447" y="1793710"/>
                </a:lnTo>
                <a:lnTo>
                  <a:pt x="3556216" y="1793710"/>
                </a:lnTo>
                <a:lnTo>
                  <a:pt x="3556216" y="1813598"/>
                </a:lnTo>
                <a:lnTo>
                  <a:pt x="3576447" y="1813598"/>
                </a:lnTo>
                <a:lnTo>
                  <a:pt x="3576447" y="1833829"/>
                </a:lnTo>
                <a:lnTo>
                  <a:pt x="3596335" y="1833829"/>
                </a:lnTo>
                <a:lnTo>
                  <a:pt x="3596335" y="1813598"/>
                </a:lnTo>
                <a:lnTo>
                  <a:pt x="3616567" y="1813598"/>
                </a:lnTo>
                <a:lnTo>
                  <a:pt x="3616567" y="1793710"/>
                </a:lnTo>
                <a:lnTo>
                  <a:pt x="3596335" y="1793710"/>
                </a:lnTo>
                <a:lnTo>
                  <a:pt x="3596335" y="1773479"/>
                </a:lnTo>
                <a:close/>
                <a:moveTo>
                  <a:pt x="3595993" y="2323833"/>
                </a:moveTo>
                <a:lnTo>
                  <a:pt x="3576790" y="2323833"/>
                </a:lnTo>
                <a:lnTo>
                  <a:pt x="3576790" y="2342693"/>
                </a:lnTo>
                <a:lnTo>
                  <a:pt x="3557930" y="2342693"/>
                </a:lnTo>
                <a:lnTo>
                  <a:pt x="3557930" y="2361895"/>
                </a:lnTo>
                <a:lnTo>
                  <a:pt x="3576790" y="2361895"/>
                </a:lnTo>
                <a:lnTo>
                  <a:pt x="3576790" y="2380755"/>
                </a:lnTo>
                <a:lnTo>
                  <a:pt x="3595993" y="2380755"/>
                </a:lnTo>
                <a:lnTo>
                  <a:pt x="3595993" y="2361895"/>
                </a:lnTo>
                <a:lnTo>
                  <a:pt x="3614852" y="2361895"/>
                </a:lnTo>
                <a:lnTo>
                  <a:pt x="3614852" y="2342693"/>
                </a:lnTo>
                <a:lnTo>
                  <a:pt x="3595993" y="2342693"/>
                </a:lnTo>
                <a:lnTo>
                  <a:pt x="3595993" y="2323833"/>
                </a:lnTo>
                <a:close/>
                <a:moveTo>
                  <a:pt x="3596335" y="2047799"/>
                </a:moveTo>
                <a:lnTo>
                  <a:pt x="3576447" y="2047799"/>
                </a:lnTo>
                <a:lnTo>
                  <a:pt x="3576447" y="2068030"/>
                </a:lnTo>
                <a:lnTo>
                  <a:pt x="3556216" y="2068030"/>
                </a:lnTo>
                <a:lnTo>
                  <a:pt x="3556216" y="2087918"/>
                </a:lnTo>
                <a:lnTo>
                  <a:pt x="3576447" y="2087918"/>
                </a:lnTo>
                <a:lnTo>
                  <a:pt x="3576447" y="2108149"/>
                </a:lnTo>
                <a:lnTo>
                  <a:pt x="3596335" y="2108149"/>
                </a:lnTo>
                <a:lnTo>
                  <a:pt x="3596335" y="2087918"/>
                </a:lnTo>
                <a:lnTo>
                  <a:pt x="3616567" y="2087918"/>
                </a:lnTo>
                <a:lnTo>
                  <a:pt x="3616567" y="2068030"/>
                </a:lnTo>
                <a:lnTo>
                  <a:pt x="3596335" y="2068030"/>
                </a:lnTo>
                <a:lnTo>
                  <a:pt x="3596335" y="2047799"/>
                </a:lnTo>
                <a:close/>
                <a:moveTo>
                  <a:pt x="3730409" y="2606040"/>
                </a:moveTo>
                <a:lnTo>
                  <a:pt x="3716693" y="2606040"/>
                </a:lnTo>
                <a:lnTo>
                  <a:pt x="3716693" y="2619756"/>
                </a:lnTo>
                <a:lnTo>
                  <a:pt x="3702977" y="2619756"/>
                </a:lnTo>
                <a:lnTo>
                  <a:pt x="3702977" y="2633472"/>
                </a:lnTo>
                <a:lnTo>
                  <a:pt x="3716693" y="2633472"/>
                </a:lnTo>
                <a:lnTo>
                  <a:pt x="3716693" y="2647188"/>
                </a:lnTo>
                <a:lnTo>
                  <a:pt x="3730409" y="2647188"/>
                </a:lnTo>
                <a:lnTo>
                  <a:pt x="3730409" y="2633472"/>
                </a:lnTo>
                <a:lnTo>
                  <a:pt x="3744125" y="2633472"/>
                </a:lnTo>
                <a:lnTo>
                  <a:pt x="3744125" y="2619756"/>
                </a:lnTo>
                <a:lnTo>
                  <a:pt x="3730409" y="2619756"/>
                </a:lnTo>
                <a:lnTo>
                  <a:pt x="3730409" y="2606040"/>
                </a:lnTo>
                <a:close/>
                <a:moveTo>
                  <a:pt x="3594964" y="2600897"/>
                </a:moveTo>
                <a:lnTo>
                  <a:pt x="3577819" y="2600897"/>
                </a:lnTo>
                <a:lnTo>
                  <a:pt x="3577819" y="2618042"/>
                </a:lnTo>
                <a:lnTo>
                  <a:pt x="3560674" y="2618042"/>
                </a:lnTo>
                <a:lnTo>
                  <a:pt x="3560674" y="2635187"/>
                </a:lnTo>
                <a:lnTo>
                  <a:pt x="3577819" y="2635187"/>
                </a:lnTo>
                <a:lnTo>
                  <a:pt x="3577819" y="2652332"/>
                </a:lnTo>
                <a:lnTo>
                  <a:pt x="3594964" y="2652332"/>
                </a:lnTo>
                <a:lnTo>
                  <a:pt x="3594964" y="2635187"/>
                </a:lnTo>
                <a:lnTo>
                  <a:pt x="3612109" y="2635187"/>
                </a:lnTo>
                <a:lnTo>
                  <a:pt x="3612109" y="2618042"/>
                </a:lnTo>
                <a:lnTo>
                  <a:pt x="3594964" y="2618042"/>
                </a:lnTo>
                <a:lnTo>
                  <a:pt x="3594964" y="2600897"/>
                </a:lnTo>
                <a:close/>
                <a:moveTo>
                  <a:pt x="3664229" y="1913039"/>
                </a:moveTo>
                <a:lnTo>
                  <a:pt x="3645713" y="1913039"/>
                </a:lnTo>
                <a:lnTo>
                  <a:pt x="3645713" y="1931556"/>
                </a:lnTo>
                <a:lnTo>
                  <a:pt x="3627196" y="1931556"/>
                </a:lnTo>
                <a:lnTo>
                  <a:pt x="3627196" y="1950072"/>
                </a:lnTo>
                <a:lnTo>
                  <a:pt x="3645713" y="1950072"/>
                </a:lnTo>
                <a:lnTo>
                  <a:pt x="3645713" y="1968589"/>
                </a:lnTo>
                <a:lnTo>
                  <a:pt x="3664229" y="1968589"/>
                </a:lnTo>
                <a:lnTo>
                  <a:pt x="3664229" y="1950072"/>
                </a:lnTo>
                <a:lnTo>
                  <a:pt x="3682746" y="1950072"/>
                </a:lnTo>
                <a:lnTo>
                  <a:pt x="3682746" y="1931556"/>
                </a:lnTo>
                <a:lnTo>
                  <a:pt x="3664229" y="1931556"/>
                </a:lnTo>
                <a:lnTo>
                  <a:pt x="3664229" y="1913039"/>
                </a:lnTo>
                <a:close/>
                <a:moveTo>
                  <a:pt x="3663887" y="2188045"/>
                </a:moveTo>
                <a:lnTo>
                  <a:pt x="3646056" y="2188045"/>
                </a:lnTo>
                <a:lnTo>
                  <a:pt x="3646056" y="2206219"/>
                </a:lnTo>
                <a:lnTo>
                  <a:pt x="3627882" y="2206219"/>
                </a:lnTo>
                <a:lnTo>
                  <a:pt x="3627882" y="2224049"/>
                </a:lnTo>
                <a:lnTo>
                  <a:pt x="3646056" y="2224049"/>
                </a:lnTo>
                <a:lnTo>
                  <a:pt x="3646056" y="2242223"/>
                </a:lnTo>
                <a:lnTo>
                  <a:pt x="3663887" y="2242223"/>
                </a:lnTo>
                <a:lnTo>
                  <a:pt x="3663887" y="2224049"/>
                </a:lnTo>
                <a:lnTo>
                  <a:pt x="3682060" y="2224049"/>
                </a:lnTo>
                <a:lnTo>
                  <a:pt x="3682060" y="2206219"/>
                </a:lnTo>
                <a:lnTo>
                  <a:pt x="3663887" y="2206219"/>
                </a:lnTo>
                <a:lnTo>
                  <a:pt x="3663887" y="2188045"/>
                </a:lnTo>
                <a:close/>
                <a:moveTo>
                  <a:pt x="3661829" y="2742857"/>
                </a:moveTo>
                <a:lnTo>
                  <a:pt x="3648113" y="2742857"/>
                </a:lnTo>
                <a:lnTo>
                  <a:pt x="3648113" y="2756916"/>
                </a:lnTo>
                <a:lnTo>
                  <a:pt x="3634054" y="2756916"/>
                </a:lnTo>
                <a:lnTo>
                  <a:pt x="3634054" y="2770632"/>
                </a:lnTo>
                <a:lnTo>
                  <a:pt x="3648113" y="2770632"/>
                </a:lnTo>
                <a:lnTo>
                  <a:pt x="3648113" y="2784691"/>
                </a:lnTo>
                <a:lnTo>
                  <a:pt x="3661829" y="2784691"/>
                </a:lnTo>
                <a:lnTo>
                  <a:pt x="3661829" y="2770632"/>
                </a:lnTo>
                <a:lnTo>
                  <a:pt x="3675888" y="2770632"/>
                </a:lnTo>
                <a:lnTo>
                  <a:pt x="3675888" y="2756916"/>
                </a:lnTo>
                <a:lnTo>
                  <a:pt x="3661829" y="2756916"/>
                </a:lnTo>
                <a:lnTo>
                  <a:pt x="3661829" y="2742857"/>
                </a:lnTo>
                <a:close/>
                <a:moveTo>
                  <a:pt x="3663201" y="2464422"/>
                </a:moveTo>
                <a:lnTo>
                  <a:pt x="3646742" y="2464422"/>
                </a:lnTo>
                <a:lnTo>
                  <a:pt x="3646742" y="2481224"/>
                </a:lnTo>
                <a:lnTo>
                  <a:pt x="3629939" y="2481224"/>
                </a:lnTo>
                <a:lnTo>
                  <a:pt x="3629939" y="2497684"/>
                </a:lnTo>
                <a:lnTo>
                  <a:pt x="3646742" y="2497684"/>
                </a:lnTo>
                <a:lnTo>
                  <a:pt x="3646742" y="2514486"/>
                </a:lnTo>
                <a:lnTo>
                  <a:pt x="3663201" y="2514486"/>
                </a:lnTo>
                <a:lnTo>
                  <a:pt x="3663201" y="2497684"/>
                </a:lnTo>
                <a:lnTo>
                  <a:pt x="3680003" y="2497684"/>
                </a:lnTo>
                <a:lnTo>
                  <a:pt x="3680003" y="2481224"/>
                </a:lnTo>
                <a:lnTo>
                  <a:pt x="3663201" y="2481224"/>
                </a:lnTo>
                <a:lnTo>
                  <a:pt x="3663201" y="2464422"/>
                </a:lnTo>
                <a:close/>
                <a:moveTo>
                  <a:pt x="3528784" y="1907896"/>
                </a:moveTo>
                <a:lnTo>
                  <a:pt x="3506839" y="1907896"/>
                </a:lnTo>
                <a:lnTo>
                  <a:pt x="3506839" y="1929841"/>
                </a:lnTo>
                <a:lnTo>
                  <a:pt x="3484893" y="1929841"/>
                </a:lnTo>
                <a:lnTo>
                  <a:pt x="3484893" y="1951787"/>
                </a:lnTo>
                <a:lnTo>
                  <a:pt x="3506839" y="1951787"/>
                </a:lnTo>
                <a:lnTo>
                  <a:pt x="3506839" y="1973732"/>
                </a:lnTo>
                <a:lnTo>
                  <a:pt x="3528784" y="1973732"/>
                </a:lnTo>
                <a:lnTo>
                  <a:pt x="3528784" y="1951787"/>
                </a:lnTo>
                <a:lnTo>
                  <a:pt x="3550730" y="1951787"/>
                </a:lnTo>
                <a:lnTo>
                  <a:pt x="3550730" y="1929841"/>
                </a:lnTo>
                <a:lnTo>
                  <a:pt x="3528784" y="1929841"/>
                </a:lnTo>
                <a:lnTo>
                  <a:pt x="3528784" y="1907896"/>
                </a:lnTo>
                <a:close/>
                <a:moveTo>
                  <a:pt x="2362924" y="3416313"/>
                </a:moveTo>
                <a:lnTo>
                  <a:pt x="2340979" y="3416313"/>
                </a:lnTo>
                <a:lnTo>
                  <a:pt x="2340979" y="3438601"/>
                </a:lnTo>
                <a:lnTo>
                  <a:pt x="2318690" y="3438601"/>
                </a:lnTo>
                <a:lnTo>
                  <a:pt x="2318690" y="3460547"/>
                </a:lnTo>
                <a:lnTo>
                  <a:pt x="2340979" y="3460547"/>
                </a:lnTo>
                <a:lnTo>
                  <a:pt x="2340979" y="3482835"/>
                </a:lnTo>
                <a:lnTo>
                  <a:pt x="2362924" y="3482835"/>
                </a:lnTo>
                <a:lnTo>
                  <a:pt x="2362924" y="3460547"/>
                </a:lnTo>
                <a:lnTo>
                  <a:pt x="2385212" y="3460547"/>
                </a:lnTo>
                <a:lnTo>
                  <a:pt x="2385212" y="3438601"/>
                </a:lnTo>
                <a:lnTo>
                  <a:pt x="2362924" y="3438601"/>
                </a:lnTo>
                <a:lnTo>
                  <a:pt x="2362924" y="3416313"/>
                </a:lnTo>
                <a:close/>
                <a:moveTo>
                  <a:pt x="2426704" y="3842880"/>
                </a:moveTo>
                <a:lnTo>
                  <a:pt x="2414359" y="3842880"/>
                </a:lnTo>
                <a:lnTo>
                  <a:pt x="2414359" y="3854882"/>
                </a:lnTo>
                <a:lnTo>
                  <a:pt x="2402357" y="3854882"/>
                </a:lnTo>
                <a:lnTo>
                  <a:pt x="2402357" y="3867226"/>
                </a:lnTo>
                <a:lnTo>
                  <a:pt x="2414359" y="3867226"/>
                </a:lnTo>
                <a:lnTo>
                  <a:pt x="2414359" y="3879228"/>
                </a:lnTo>
                <a:lnTo>
                  <a:pt x="2426704" y="3879228"/>
                </a:lnTo>
                <a:lnTo>
                  <a:pt x="2426704" y="3867226"/>
                </a:lnTo>
                <a:lnTo>
                  <a:pt x="2438705" y="3867226"/>
                </a:lnTo>
                <a:lnTo>
                  <a:pt x="2438705" y="3854882"/>
                </a:lnTo>
                <a:lnTo>
                  <a:pt x="2426704" y="3854882"/>
                </a:lnTo>
                <a:lnTo>
                  <a:pt x="2426704" y="3842880"/>
                </a:lnTo>
                <a:close/>
                <a:moveTo>
                  <a:pt x="2289886" y="3841852"/>
                </a:moveTo>
                <a:lnTo>
                  <a:pt x="2276856" y="3841852"/>
                </a:lnTo>
                <a:lnTo>
                  <a:pt x="2276856" y="3854539"/>
                </a:lnTo>
                <a:lnTo>
                  <a:pt x="2264169" y="3854539"/>
                </a:lnTo>
                <a:lnTo>
                  <a:pt x="2264169" y="3867569"/>
                </a:lnTo>
                <a:lnTo>
                  <a:pt x="2276856" y="3867569"/>
                </a:lnTo>
                <a:lnTo>
                  <a:pt x="2276856" y="3880256"/>
                </a:lnTo>
                <a:lnTo>
                  <a:pt x="2289886" y="3880256"/>
                </a:lnTo>
                <a:lnTo>
                  <a:pt x="2289886" y="3867569"/>
                </a:lnTo>
                <a:lnTo>
                  <a:pt x="2302574" y="3867569"/>
                </a:lnTo>
                <a:lnTo>
                  <a:pt x="2302574" y="3854539"/>
                </a:lnTo>
                <a:lnTo>
                  <a:pt x="2289886" y="3854539"/>
                </a:lnTo>
                <a:lnTo>
                  <a:pt x="2289886" y="3841852"/>
                </a:lnTo>
                <a:close/>
                <a:moveTo>
                  <a:pt x="3185884" y="2867673"/>
                </a:moveTo>
                <a:lnTo>
                  <a:pt x="3163939" y="2867673"/>
                </a:lnTo>
                <a:lnTo>
                  <a:pt x="3163939" y="2889961"/>
                </a:lnTo>
                <a:lnTo>
                  <a:pt x="3141650" y="2889961"/>
                </a:lnTo>
                <a:lnTo>
                  <a:pt x="3141650" y="2911907"/>
                </a:lnTo>
                <a:lnTo>
                  <a:pt x="3163939" y="2911907"/>
                </a:lnTo>
                <a:lnTo>
                  <a:pt x="3163939" y="2934195"/>
                </a:lnTo>
                <a:lnTo>
                  <a:pt x="3185884" y="2934195"/>
                </a:lnTo>
                <a:lnTo>
                  <a:pt x="3185884" y="2911907"/>
                </a:lnTo>
                <a:lnTo>
                  <a:pt x="3208172" y="2911907"/>
                </a:lnTo>
                <a:lnTo>
                  <a:pt x="3208172" y="2889961"/>
                </a:lnTo>
                <a:lnTo>
                  <a:pt x="3185884" y="2889961"/>
                </a:lnTo>
                <a:lnTo>
                  <a:pt x="3185884" y="2867673"/>
                </a:lnTo>
                <a:close/>
                <a:moveTo>
                  <a:pt x="2359838" y="3700234"/>
                </a:moveTo>
                <a:lnTo>
                  <a:pt x="2344064" y="3700234"/>
                </a:lnTo>
                <a:lnTo>
                  <a:pt x="2344064" y="3716007"/>
                </a:lnTo>
                <a:lnTo>
                  <a:pt x="2328291" y="3716007"/>
                </a:lnTo>
                <a:lnTo>
                  <a:pt x="2328291" y="3731781"/>
                </a:lnTo>
                <a:lnTo>
                  <a:pt x="2344064" y="3731781"/>
                </a:lnTo>
                <a:lnTo>
                  <a:pt x="2344064" y="3747554"/>
                </a:lnTo>
                <a:lnTo>
                  <a:pt x="2359838" y="3747554"/>
                </a:lnTo>
                <a:lnTo>
                  <a:pt x="2359838" y="3731781"/>
                </a:lnTo>
                <a:lnTo>
                  <a:pt x="2375611" y="3731781"/>
                </a:lnTo>
                <a:lnTo>
                  <a:pt x="2375611" y="3716007"/>
                </a:lnTo>
                <a:lnTo>
                  <a:pt x="2359838" y="3716007"/>
                </a:lnTo>
                <a:lnTo>
                  <a:pt x="2359838" y="3700234"/>
                </a:lnTo>
                <a:close/>
                <a:moveTo>
                  <a:pt x="2292973" y="3557588"/>
                </a:moveTo>
                <a:lnTo>
                  <a:pt x="2273770" y="3557588"/>
                </a:lnTo>
                <a:lnTo>
                  <a:pt x="2273770" y="3577133"/>
                </a:lnTo>
                <a:lnTo>
                  <a:pt x="2254225" y="3577133"/>
                </a:lnTo>
                <a:lnTo>
                  <a:pt x="2254225" y="3596335"/>
                </a:lnTo>
                <a:lnTo>
                  <a:pt x="2273770" y="3596335"/>
                </a:lnTo>
                <a:lnTo>
                  <a:pt x="2273770" y="3615881"/>
                </a:lnTo>
                <a:lnTo>
                  <a:pt x="2292973" y="3615881"/>
                </a:lnTo>
                <a:lnTo>
                  <a:pt x="2292973" y="3596335"/>
                </a:lnTo>
                <a:lnTo>
                  <a:pt x="2312518" y="3596335"/>
                </a:lnTo>
                <a:lnTo>
                  <a:pt x="2312518" y="3577133"/>
                </a:lnTo>
                <a:lnTo>
                  <a:pt x="2292973" y="3577133"/>
                </a:lnTo>
                <a:lnTo>
                  <a:pt x="2292973" y="3557588"/>
                </a:lnTo>
                <a:close/>
                <a:moveTo>
                  <a:pt x="2566607" y="3560331"/>
                </a:moveTo>
                <a:lnTo>
                  <a:pt x="2548776" y="3560331"/>
                </a:lnTo>
                <a:lnTo>
                  <a:pt x="2548776" y="3577819"/>
                </a:lnTo>
                <a:lnTo>
                  <a:pt x="2531288" y="3577819"/>
                </a:lnTo>
                <a:lnTo>
                  <a:pt x="2531288" y="3595649"/>
                </a:lnTo>
                <a:lnTo>
                  <a:pt x="2548776" y="3595649"/>
                </a:lnTo>
                <a:lnTo>
                  <a:pt x="2548776" y="3613137"/>
                </a:lnTo>
                <a:lnTo>
                  <a:pt x="2566607" y="3613137"/>
                </a:lnTo>
                <a:lnTo>
                  <a:pt x="2566607" y="3595649"/>
                </a:lnTo>
                <a:lnTo>
                  <a:pt x="2584094" y="3595649"/>
                </a:lnTo>
                <a:lnTo>
                  <a:pt x="2584094" y="3577819"/>
                </a:lnTo>
                <a:lnTo>
                  <a:pt x="2566607" y="3577819"/>
                </a:lnTo>
                <a:lnTo>
                  <a:pt x="2566607" y="3560331"/>
                </a:lnTo>
                <a:close/>
                <a:moveTo>
                  <a:pt x="2569350" y="3277438"/>
                </a:moveTo>
                <a:lnTo>
                  <a:pt x="2546033" y="3277438"/>
                </a:lnTo>
                <a:lnTo>
                  <a:pt x="2546033" y="3300755"/>
                </a:lnTo>
                <a:lnTo>
                  <a:pt x="2522716" y="3300755"/>
                </a:lnTo>
                <a:lnTo>
                  <a:pt x="2522716" y="3324073"/>
                </a:lnTo>
                <a:lnTo>
                  <a:pt x="2546033" y="3324073"/>
                </a:lnTo>
                <a:lnTo>
                  <a:pt x="2546033" y="3347390"/>
                </a:lnTo>
                <a:lnTo>
                  <a:pt x="2569350" y="3347390"/>
                </a:lnTo>
                <a:lnTo>
                  <a:pt x="2569350" y="3324073"/>
                </a:lnTo>
                <a:lnTo>
                  <a:pt x="2592667" y="3324073"/>
                </a:lnTo>
                <a:lnTo>
                  <a:pt x="2592667" y="3300755"/>
                </a:lnTo>
                <a:lnTo>
                  <a:pt x="2569350" y="3300755"/>
                </a:lnTo>
                <a:lnTo>
                  <a:pt x="2569350" y="3277438"/>
                </a:lnTo>
                <a:close/>
                <a:moveTo>
                  <a:pt x="2496655" y="3701263"/>
                </a:moveTo>
                <a:lnTo>
                  <a:pt x="2481568" y="3701263"/>
                </a:lnTo>
                <a:lnTo>
                  <a:pt x="2481568" y="3716350"/>
                </a:lnTo>
                <a:lnTo>
                  <a:pt x="2466480" y="3716350"/>
                </a:lnTo>
                <a:lnTo>
                  <a:pt x="2466480" y="3731438"/>
                </a:lnTo>
                <a:lnTo>
                  <a:pt x="2481568" y="3731438"/>
                </a:lnTo>
                <a:lnTo>
                  <a:pt x="2481568" y="3746525"/>
                </a:lnTo>
                <a:lnTo>
                  <a:pt x="2496655" y="3746525"/>
                </a:lnTo>
                <a:lnTo>
                  <a:pt x="2496655" y="3731438"/>
                </a:lnTo>
                <a:lnTo>
                  <a:pt x="2511743" y="3731438"/>
                </a:lnTo>
                <a:lnTo>
                  <a:pt x="2511743" y="3716350"/>
                </a:lnTo>
                <a:lnTo>
                  <a:pt x="2496655" y="3716350"/>
                </a:lnTo>
                <a:lnTo>
                  <a:pt x="2496655" y="3701263"/>
                </a:lnTo>
                <a:close/>
                <a:moveTo>
                  <a:pt x="2499741" y="3417684"/>
                </a:moveTo>
                <a:lnTo>
                  <a:pt x="2478481" y="3417684"/>
                </a:lnTo>
                <a:lnTo>
                  <a:pt x="2478481" y="3438944"/>
                </a:lnTo>
                <a:lnTo>
                  <a:pt x="2457221" y="3438944"/>
                </a:lnTo>
                <a:lnTo>
                  <a:pt x="2457221" y="3460204"/>
                </a:lnTo>
                <a:lnTo>
                  <a:pt x="2478481" y="3460204"/>
                </a:lnTo>
                <a:lnTo>
                  <a:pt x="2478481" y="3481464"/>
                </a:lnTo>
                <a:lnTo>
                  <a:pt x="2499741" y="3481464"/>
                </a:lnTo>
                <a:lnTo>
                  <a:pt x="2499741" y="3460204"/>
                </a:lnTo>
                <a:lnTo>
                  <a:pt x="2521001" y="3460204"/>
                </a:lnTo>
                <a:lnTo>
                  <a:pt x="2521001" y="3438944"/>
                </a:lnTo>
                <a:lnTo>
                  <a:pt x="2499741" y="3438944"/>
                </a:lnTo>
                <a:lnTo>
                  <a:pt x="2499741" y="3417684"/>
                </a:lnTo>
                <a:close/>
                <a:moveTo>
                  <a:pt x="1952130" y="3414598"/>
                </a:moveTo>
                <a:lnTo>
                  <a:pt x="1928812" y="3414598"/>
                </a:lnTo>
                <a:lnTo>
                  <a:pt x="1928812" y="3437915"/>
                </a:lnTo>
                <a:lnTo>
                  <a:pt x="1905495" y="3437915"/>
                </a:lnTo>
                <a:lnTo>
                  <a:pt x="1905495" y="3461233"/>
                </a:lnTo>
                <a:lnTo>
                  <a:pt x="1928812" y="3461233"/>
                </a:lnTo>
                <a:lnTo>
                  <a:pt x="1928812" y="3484550"/>
                </a:lnTo>
                <a:lnTo>
                  <a:pt x="1952130" y="3484550"/>
                </a:lnTo>
                <a:lnTo>
                  <a:pt x="1952130" y="3461233"/>
                </a:lnTo>
                <a:lnTo>
                  <a:pt x="1975447" y="3461233"/>
                </a:lnTo>
                <a:lnTo>
                  <a:pt x="1975447" y="3437915"/>
                </a:lnTo>
                <a:lnTo>
                  <a:pt x="1952130" y="3437915"/>
                </a:lnTo>
                <a:lnTo>
                  <a:pt x="1952130" y="3414598"/>
                </a:lnTo>
                <a:close/>
                <a:moveTo>
                  <a:pt x="2019338" y="3556216"/>
                </a:moveTo>
                <a:lnTo>
                  <a:pt x="1998764" y="3556216"/>
                </a:lnTo>
                <a:lnTo>
                  <a:pt x="1998764" y="3576447"/>
                </a:lnTo>
                <a:lnTo>
                  <a:pt x="1978533" y="3576447"/>
                </a:lnTo>
                <a:lnTo>
                  <a:pt x="1978533" y="3597021"/>
                </a:lnTo>
                <a:lnTo>
                  <a:pt x="1998764" y="3597021"/>
                </a:lnTo>
                <a:lnTo>
                  <a:pt x="1998764" y="3617252"/>
                </a:lnTo>
                <a:lnTo>
                  <a:pt x="2019338" y="3617252"/>
                </a:lnTo>
                <a:lnTo>
                  <a:pt x="2019338" y="3597021"/>
                </a:lnTo>
                <a:lnTo>
                  <a:pt x="2039569" y="3597021"/>
                </a:lnTo>
                <a:lnTo>
                  <a:pt x="2039569" y="3576447"/>
                </a:lnTo>
                <a:lnTo>
                  <a:pt x="2019338" y="3576447"/>
                </a:lnTo>
                <a:lnTo>
                  <a:pt x="2019338" y="3556216"/>
                </a:lnTo>
                <a:close/>
                <a:moveTo>
                  <a:pt x="2015909" y="3840823"/>
                </a:moveTo>
                <a:lnTo>
                  <a:pt x="2002193" y="3840823"/>
                </a:lnTo>
                <a:lnTo>
                  <a:pt x="2002193" y="3854196"/>
                </a:lnTo>
                <a:lnTo>
                  <a:pt x="1988820" y="3854196"/>
                </a:lnTo>
                <a:lnTo>
                  <a:pt x="1988820" y="3867912"/>
                </a:lnTo>
                <a:lnTo>
                  <a:pt x="2002193" y="3867912"/>
                </a:lnTo>
                <a:lnTo>
                  <a:pt x="2002193" y="3881285"/>
                </a:lnTo>
                <a:lnTo>
                  <a:pt x="2015909" y="3881285"/>
                </a:lnTo>
                <a:lnTo>
                  <a:pt x="2015909" y="3867912"/>
                </a:lnTo>
                <a:lnTo>
                  <a:pt x="2029282" y="3867912"/>
                </a:lnTo>
                <a:lnTo>
                  <a:pt x="2029282" y="3854196"/>
                </a:lnTo>
                <a:lnTo>
                  <a:pt x="2015909" y="3854196"/>
                </a:lnTo>
                <a:lnTo>
                  <a:pt x="2015909" y="3840823"/>
                </a:lnTo>
                <a:close/>
                <a:moveTo>
                  <a:pt x="2086204" y="3698519"/>
                </a:moveTo>
                <a:lnTo>
                  <a:pt x="2069059" y="3698519"/>
                </a:lnTo>
                <a:lnTo>
                  <a:pt x="2069059" y="3715322"/>
                </a:lnTo>
                <a:lnTo>
                  <a:pt x="2052256" y="3715322"/>
                </a:lnTo>
                <a:lnTo>
                  <a:pt x="2052256" y="3732467"/>
                </a:lnTo>
                <a:lnTo>
                  <a:pt x="2069059" y="3732467"/>
                </a:lnTo>
                <a:lnTo>
                  <a:pt x="2069059" y="3749269"/>
                </a:lnTo>
                <a:lnTo>
                  <a:pt x="2086204" y="3749269"/>
                </a:lnTo>
                <a:lnTo>
                  <a:pt x="2086204" y="3732467"/>
                </a:lnTo>
                <a:lnTo>
                  <a:pt x="2103006" y="3732467"/>
                </a:lnTo>
                <a:lnTo>
                  <a:pt x="2103006" y="3715322"/>
                </a:lnTo>
                <a:lnTo>
                  <a:pt x="2086204" y="3715322"/>
                </a:lnTo>
                <a:lnTo>
                  <a:pt x="2086204" y="3698519"/>
                </a:lnTo>
                <a:close/>
                <a:moveTo>
                  <a:pt x="2633129" y="3703320"/>
                </a:moveTo>
                <a:lnTo>
                  <a:pt x="2619413" y="3703320"/>
                </a:lnTo>
                <a:lnTo>
                  <a:pt x="2619413" y="3717036"/>
                </a:lnTo>
                <a:lnTo>
                  <a:pt x="2605697" y="3717036"/>
                </a:lnTo>
                <a:lnTo>
                  <a:pt x="2605697" y="3730752"/>
                </a:lnTo>
                <a:lnTo>
                  <a:pt x="2619413" y="3730752"/>
                </a:lnTo>
                <a:lnTo>
                  <a:pt x="2619413" y="3744468"/>
                </a:lnTo>
                <a:lnTo>
                  <a:pt x="2633129" y="3744468"/>
                </a:lnTo>
                <a:lnTo>
                  <a:pt x="2633129" y="3730752"/>
                </a:lnTo>
                <a:lnTo>
                  <a:pt x="2646845" y="3730752"/>
                </a:lnTo>
                <a:lnTo>
                  <a:pt x="2646845" y="3717036"/>
                </a:lnTo>
                <a:lnTo>
                  <a:pt x="2633129" y="3717036"/>
                </a:lnTo>
                <a:lnTo>
                  <a:pt x="2633129" y="3703320"/>
                </a:lnTo>
                <a:close/>
                <a:moveTo>
                  <a:pt x="2156155" y="3556559"/>
                </a:moveTo>
                <a:lnTo>
                  <a:pt x="2136267" y="3556559"/>
                </a:lnTo>
                <a:lnTo>
                  <a:pt x="2136267" y="3576790"/>
                </a:lnTo>
                <a:lnTo>
                  <a:pt x="2116036" y="3576790"/>
                </a:lnTo>
                <a:lnTo>
                  <a:pt x="2116036" y="3596678"/>
                </a:lnTo>
                <a:lnTo>
                  <a:pt x="2136267" y="3596678"/>
                </a:lnTo>
                <a:lnTo>
                  <a:pt x="2136267" y="3616909"/>
                </a:lnTo>
                <a:lnTo>
                  <a:pt x="2156155" y="3616909"/>
                </a:lnTo>
                <a:lnTo>
                  <a:pt x="2156155" y="3596678"/>
                </a:lnTo>
                <a:lnTo>
                  <a:pt x="2176387" y="3596678"/>
                </a:lnTo>
                <a:lnTo>
                  <a:pt x="2176387" y="3576790"/>
                </a:lnTo>
                <a:lnTo>
                  <a:pt x="2156155" y="3576790"/>
                </a:lnTo>
                <a:lnTo>
                  <a:pt x="2156155" y="3556559"/>
                </a:lnTo>
                <a:close/>
                <a:moveTo>
                  <a:pt x="2223021" y="3699205"/>
                </a:moveTo>
                <a:lnTo>
                  <a:pt x="2206562" y="3699205"/>
                </a:lnTo>
                <a:lnTo>
                  <a:pt x="2206562" y="3715664"/>
                </a:lnTo>
                <a:lnTo>
                  <a:pt x="2190103" y="3715664"/>
                </a:lnTo>
                <a:lnTo>
                  <a:pt x="2190103" y="3732124"/>
                </a:lnTo>
                <a:lnTo>
                  <a:pt x="2206562" y="3732124"/>
                </a:lnTo>
                <a:lnTo>
                  <a:pt x="2206562" y="3748583"/>
                </a:lnTo>
                <a:lnTo>
                  <a:pt x="2223021" y="3748583"/>
                </a:lnTo>
                <a:lnTo>
                  <a:pt x="2223021" y="3732124"/>
                </a:lnTo>
                <a:lnTo>
                  <a:pt x="2239480" y="3732124"/>
                </a:lnTo>
                <a:lnTo>
                  <a:pt x="2239480" y="3715664"/>
                </a:lnTo>
                <a:lnTo>
                  <a:pt x="2223021" y="3715664"/>
                </a:lnTo>
                <a:lnTo>
                  <a:pt x="2223021" y="3699205"/>
                </a:lnTo>
                <a:close/>
                <a:moveTo>
                  <a:pt x="2089290" y="3414598"/>
                </a:moveTo>
                <a:lnTo>
                  <a:pt x="2065972" y="3414598"/>
                </a:lnTo>
                <a:lnTo>
                  <a:pt x="2065972" y="3437915"/>
                </a:lnTo>
                <a:lnTo>
                  <a:pt x="2042656" y="3437915"/>
                </a:lnTo>
                <a:lnTo>
                  <a:pt x="2042656" y="3461233"/>
                </a:lnTo>
                <a:lnTo>
                  <a:pt x="2065972" y="3461233"/>
                </a:lnTo>
                <a:lnTo>
                  <a:pt x="2065972" y="3484550"/>
                </a:lnTo>
                <a:lnTo>
                  <a:pt x="2089290" y="3484550"/>
                </a:lnTo>
                <a:lnTo>
                  <a:pt x="2089290" y="3461233"/>
                </a:lnTo>
                <a:lnTo>
                  <a:pt x="2112607" y="3461233"/>
                </a:lnTo>
                <a:lnTo>
                  <a:pt x="2112607" y="3437915"/>
                </a:lnTo>
                <a:lnTo>
                  <a:pt x="2089290" y="3437915"/>
                </a:lnTo>
                <a:lnTo>
                  <a:pt x="2089290" y="3414598"/>
                </a:lnTo>
                <a:close/>
                <a:moveTo>
                  <a:pt x="2226107" y="3415627"/>
                </a:moveTo>
                <a:lnTo>
                  <a:pt x="2203475" y="3415627"/>
                </a:lnTo>
                <a:lnTo>
                  <a:pt x="2203475" y="3438258"/>
                </a:lnTo>
                <a:lnTo>
                  <a:pt x="2180844" y="3438258"/>
                </a:lnTo>
                <a:lnTo>
                  <a:pt x="2180844" y="3460890"/>
                </a:lnTo>
                <a:lnTo>
                  <a:pt x="2203475" y="3460890"/>
                </a:lnTo>
                <a:lnTo>
                  <a:pt x="2203475" y="3483521"/>
                </a:lnTo>
                <a:lnTo>
                  <a:pt x="2226107" y="3483521"/>
                </a:lnTo>
                <a:lnTo>
                  <a:pt x="2226107" y="3460890"/>
                </a:lnTo>
                <a:lnTo>
                  <a:pt x="2248738" y="3460890"/>
                </a:lnTo>
                <a:lnTo>
                  <a:pt x="2248738" y="3438258"/>
                </a:lnTo>
                <a:lnTo>
                  <a:pt x="2226107" y="3438258"/>
                </a:lnTo>
                <a:lnTo>
                  <a:pt x="2226107" y="3415627"/>
                </a:lnTo>
                <a:close/>
                <a:moveTo>
                  <a:pt x="2153069" y="3840823"/>
                </a:moveTo>
                <a:lnTo>
                  <a:pt x="2139353" y="3840823"/>
                </a:lnTo>
                <a:lnTo>
                  <a:pt x="2139353" y="3854196"/>
                </a:lnTo>
                <a:lnTo>
                  <a:pt x="2125980" y="3854196"/>
                </a:lnTo>
                <a:lnTo>
                  <a:pt x="2125980" y="3867912"/>
                </a:lnTo>
                <a:lnTo>
                  <a:pt x="2139353" y="3867912"/>
                </a:lnTo>
                <a:lnTo>
                  <a:pt x="2139353" y="3881285"/>
                </a:lnTo>
                <a:lnTo>
                  <a:pt x="2153069" y="3881285"/>
                </a:lnTo>
                <a:lnTo>
                  <a:pt x="2153069" y="3867912"/>
                </a:lnTo>
                <a:lnTo>
                  <a:pt x="2166442" y="3867912"/>
                </a:lnTo>
                <a:lnTo>
                  <a:pt x="2166442" y="3854196"/>
                </a:lnTo>
                <a:lnTo>
                  <a:pt x="2153069" y="3854196"/>
                </a:lnTo>
                <a:lnTo>
                  <a:pt x="2153069" y="3840823"/>
                </a:lnTo>
                <a:close/>
                <a:moveTo>
                  <a:pt x="2429789" y="3558616"/>
                </a:moveTo>
                <a:lnTo>
                  <a:pt x="2411273" y="3558616"/>
                </a:lnTo>
                <a:lnTo>
                  <a:pt x="2411273" y="3577476"/>
                </a:lnTo>
                <a:lnTo>
                  <a:pt x="2392414" y="3577476"/>
                </a:lnTo>
                <a:lnTo>
                  <a:pt x="2392414" y="3595992"/>
                </a:lnTo>
                <a:lnTo>
                  <a:pt x="2411273" y="3595992"/>
                </a:lnTo>
                <a:lnTo>
                  <a:pt x="2411273" y="3614852"/>
                </a:lnTo>
                <a:lnTo>
                  <a:pt x="2429789" y="3614852"/>
                </a:lnTo>
                <a:lnTo>
                  <a:pt x="2429789" y="3595992"/>
                </a:lnTo>
                <a:lnTo>
                  <a:pt x="2448649" y="3595992"/>
                </a:lnTo>
                <a:lnTo>
                  <a:pt x="2448649" y="3577476"/>
                </a:lnTo>
                <a:lnTo>
                  <a:pt x="2429789" y="3577476"/>
                </a:lnTo>
                <a:lnTo>
                  <a:pt x="2429789" y="3558616"/>
                </a:lnTo>
                <a:close/>
                <a:moveTo>
                  <a:pt x="3048038" y="3144736"/>
                </a:moveTo>
                <a:lnTo>
                  <a:pt x="3027464" y="3144736"/>
                </a:lnTo>
                <a:lnTo>
                  <a:pt x="3027464" y="3164967"/>
                </a:lnTo>
                <a:lnTo>
                  <a:pt x="3007233" y="3164967"/>
                </a:lnTo>
                <a:lnTo>
                  <a:pt x="3007233" y="3185541"/>
                </a:lnTo>
                <a:lnTo>
                  <a:pt x="3027464" y="3185541"/>
                </a:lnTo>
                <a:lnTo>
                  <a:pt x="3027464" y="3205772"/>
                </a:lnTo>
                <a:lnTo>
                  <a:pt x="3048038" y="3205772"/>
                </a:lnTo>
                <a:lnTo>
                  <a:pt x="3048038" y="3185541"/>
                </a:lnTo>
                <a:lnTo>
                  <a:pt x="3068269" y="3185541"/>
                </a:lnTo>
                <a:lnTo>
                  <a:pt x="3068269" y="3164967"/>
                </a:lnTo>
                <a:lnTo>
                  <a:pt x="3048038" y="3164967"/>
                </a:lnTo>
                <a:lnTo>
                  <a:pt x="3048038" y="3144736"/>
                </a:lnTo>
                <a:close/>
                <a:moveTo>
                  <a:pt x="2980830" y="3003118"/>
                </a:moveTo>
                <a:lnTo>
                  <a:pt x="2957513" y="3003118"/>
                </a:lnTo>
                <a:lnTo>
                  <a:pt x="2957513" y="3026435"/>
                </a:lnTo>
                <a:lnTo>
                  <a:pt x="2934196" y="3026435"/>
                </a:lnTo>
                <a:lnTo>
                  <a:pt x="2934196" y="3049753"/>
                </a:lnTo>
                <a:lnTo>
                  <a:pt x="2957513" y="3049753"/>
                </a:lnTo>
                <a:lnTo>
                  <a:pt x="2957513" y="3073070"/>
                </a:lnTo>
                <a:lnTo>
                  <a:pt x="2980830" y="3073070"/>
                </a:lnTo>
                <a:lnTo>
                  <a:pt x="2980830" y="3049753"/>
                </a:lnTo>
                <a:lnTo>
                  <a:pt x="3004147" y="3049753"/>
                </a:lnTo>
                <a:lnTo>
                  <a:pt x="3004147" y="3026435"/>
                </a:lnTo>
                <a:lnTo>
                  <a:pt x="2980830" y="3026435"/>
                </a:lnTo>
                <a:lnTo>
                  <a:pt x="2980830" y="3003118"/>
                </a:lnTo>
                <a:close/>
                <a:moveTo>
                  <a:pt x="3045295" y="3426943"/>
                </a:moveTo>
                <a:lnTo>
                  <a:pt x="3030208" y="3426943"/>
                </a:lnTo>
                <a:lnTo>
                  <a:pt x="3030208" y="3442030"/>
                </a:lnTo>
                <a:lnTo>
                  <a:pt x="3015120" y="3442030"/>
                </a:lnTo>
                <a:lnTo>
                  <a:pt x="3015120" y="3457118"/>
                </a:lnTo>
                <a:lnTo>
                  <a:pt x="3030208" y="3457118"/>
                </a:lnTo>
                <a:lnTo>
                  <a:pt x="3030208" y="3472205"/>
                </a:lnTo>
                <a:lnTo>
                  <a:pt x="3045295" y="3472205"/>
                </a:lnTo>
                <a:lnTo>
                  <a:pt x="3045295" y="3457118"/>
                </a:lnTo>
                <a:lnTo>
                  <a:pt x="3060383" y="3457118"/>
                </a:lnTo>
                <a:lnTo>
                  <a:pt x="3060383" y="3442030"/>
                </a:lnTo>
                <a:lnTo>
                  <a:pt x="3045295" y="3442030"/>
                </a:lnTo>
                <a:lnTo>
                  <a:pt x="3045295" y="3426943"/>
                </a:lnTo>
                <a:close/>
                <a:moveTo>
                  <a:pt x="2636215" y="3419399"/>
                </a:moveTo>
                <a:lnTo>
                  <a:pt x="2616327" y="3419399"/>
                </a:lnTo>
                <a:lnTo>
                  <a:pt x="2616327" y="3439630"/>
                </a:lnTo>
                <a:lnTo>
                  <a:pt x="2596096" y="3439630"/>
                </a:lnTo>
                <a:lnTo>
                  <a:pt x="2596096" y="3459518"/>
                </a:lnTo>
                <a:lnTo>
                  <a:pt x="2616327" y="3459518"/>
                </a:lnTo>
                <a:lnTo>
                  <a:pt x="2616327" y="3479749"/>
                </a:lnTo>
                <a:lnTo>
                  <a:pt x="2636215" y="3479749"/>
                </a:lnTo>
                <a:lnTo>
                  <a:pt x="2636215" y="3459518"/>
                </a:lnTo>
                <a:lnTo>
                  <a:pt x="2656447" y="3459518"/>
                </a:lnTo>
                <a:lnTo>
                  <a:pt x="2656447" y="3439630"/>
                </a:lnTo>
                <a:lnTo>
                  <a:pt x="2636215" y="3439630"/>
                </a:lnTo>
                <a:lnTo>
                  <a:pt x="2636215" y="3419399"/>
                </a:lnTo>
                <a:close/>
                <a:moveTo>
                  <a:pt x="3114561" y="3287382"/>
                </a:moveTo>
                <a:lnTo>
                  <a:pt x="3098102" y="3287382"/>
                </a:lnTo>
                <a:lnTo>
                  <a:pt x="3098102" y="3304184"/>
                </a:lnTo>
                <a:lnTo>
                  <a:pt x="3081299" y="3304184"/>
                </a:lnTo>
                <a:lnTo>
                  <a:pt x="3081299" y="3320644"/>
                </a:lnTo>
                <a:lnTo>
                  <a:pt x="3098102" y="3320644"/>
                </a:lnTo>
                <a:lnTo>
                  <a:pt x="3098102" y="3337446"/>
                </a:lnTo>
                <a:lnTo>
                  <a:pt x="3114561" y="3337446"/>
                </a:lnTo>
                <a:lnTo>
                  <a:pt x="3114561" y="3320644"/>
                </a:lnTo>
                <a:lnTo>
                  <a:pt x="3131363" y="3320644"/>
                </a:lnTo>
                <a:lnTo>
                  <a:pt x="3131363" y="3304184"/>
                </a:lnTo>
                <a:lnTo>
                  <a:pt x="3114561" y="3304184"/>
                </a:lnTo>
                <a:lnTo>
                  <a:pt x="3114561" y="3287382"/>
                </a:lnTo>
                <a:close/>
                <a:moveTo>
                  <a:pt x="2975686" y="3567189"/>
                </a:moveTo>
                <a:lnTo>
                  <a:pt x="2962656" y="3567189"/>
                </a:lnTo>
                <a:lnTo>
                  <a:pt x="2962656" y="3580219"/>
                </a:lnTo>
                <a:lnTo>
                  <a:pt x="2949626" y="3580219"/>
                </a:lnTo>
                <a:lnTo>
                  <a:pt x="2949626" y="3593249"/>
                </a:lnTo>
                <a:lnTo>
                  <a:pt x="2962656" y="3593249"/>
                </a:lnTo>
                <a:lnTo>
                  <a:pt x="2962656" y="3606279"/>
                </a:lnTo>
                <a:lnTo>
                  <a:pt x="2975686" y="3606279"/>
                </a:lnTo>
                <a:lnTo>
                  <a:pt x="2975686" y="3593249"/>
                </a:lnTo>
                <a:lnTo>
                  <a:pt x="2988716" y="3593249"/>
                </a:lnTo>
                <a:lnTo>
                  <a:pt x="2988716" y="3580219"/>
                </a:lnTo>
                <a:lnTo>
                  <a:pt x="2975686" y="3580219"/>
                </a:lnTo>
                <a:lnTo>
                  <a:pt x="2975686" y="3567189"/>
                </a:lnTo>
                <a:close/>
                <a:moveTo>
                  <a:pt x="3183827" y="3148508"/>
                </a:moveTo>
                <a:lnTo>
                  <a:pt x="3165996" y="3148508"/>
                </a:lnTo>
                <a:lnTo>
                  <a:pt x="3165996" y="3166339"/>
                </a:lnTo>
                <a:lnTo>
                  <a:pt x="3148165" y="3166339"/>
                </a:lnTo>
                <a:lnTo>
                  <a:pt x="3148165" y="3184169"/>
                </a:lnTo>
                <a:lnTo>
                  <a:pt x="3165996" y="3184169"/>
                </a:lnTo>
                <a:lnTo>
                  <a:pt x="3165996" y="3202000"/>
                </a:lnTo>
                <a:lnTo>
                  <a:pt x="3183827" y="3202000"/>
                </a:lnTo>
                <a:lnTo>
                  <a:pt x="3183827" y="3184169"/>
                </a:lnTo>
                <a:lnTo>
                  <a:pt x="3201658" y="3184169"/>
                </a:lnTo>
                <a:lnTo>
                  <a:pt x="3201658" y="3166339"/>
                </a:lnTo>
                <a:lnTo>
                  <a:pt x="3183827" y="3166339"/>
                </a:lnTo>
                <a:lnTo>
                  <a:pt x="3183827" y="3148508"/>
                </a:lnTo>
                <a:close/>
                <a:moveTo>
                  <a:pt x="3181426" y="3430029"/>
                </a:moveTo>
                <a:lnTo>
                  <a:pt x="3168396" y="3430029"/>
                </a:lnTo>
                <a:lnTo>
                  <a:pt x="3168396" y="3443059"/>
                </a:lnTo>
                <a:lnTo>
                  <a:pt x="3155366" y="3443059"/>
                </a:lnTo>
                <a:lnTo>
                  <a:pt x="3155366" y="3456089"/>
                </a:lnTo>
                <a:lnTo>
                  <a:pt x="3168396" y="3456089"/>
                </a:lnTo>
                <a:lnTo>
                  <a:pt x="3168396" y="3469119"/>
                </a:lnTo>
                <a:lnTo>
                  <a:pt x="3181426" y="3469119"/>
                </a:lnTo>
                <a:lnTo>
                  <a:pt x="3181426" y="3456089"/>
                </a:lnTo>
                <a:lnTo>
                  <a:pt x="3194456" y="3456089"/>
                </a:lnTo>
                <a:lnTo>
                  <a:pt x="3194456" y="3443059"/>
                </a:lnTo>
                <a:lnTo>
                  <a:pt x="3181426" y="3443059"/>
                </a:lnTo>
                <a:lnTo>
                  <a:pt x="3181426" y="3430029"/>
                </a:lnTo>
                <a:close/>
                <a:moveTo>
                  <a:pt x="3116961" y="3006204"/>
                </a:moveTo>
                <a:lnTo>
                  <a:pt x="3095701" y="3006204"/>
                </a:lnTo>
                <a:lnTo>
                  <a:pt x="3095701" y="3027464"/>
                </a:lnTo>
                <a:lnTo>
                  <a:pt x="3074441" y="3027464"/>
                </a:lnTo>
                <a:lnTo>
                  <a:pt x="3074441" y="3048724"/>
                </a:lnTo>
                <a:lnTo>
                  <a:pt x="3095701" y="3048724"/>
                </a:lnTo>
                <a:lnTo>
                  <a:pt x="3095701" y="3069984"/>
                </a:lnTo>
                <a:lnTo>
                  <a:pt x="3116961" y="3069984"/>
                </a:lnTo>
                <a:lnTo>
                  <a:pt x="3116961" y="3048724"/>
                </a:lnTo>
                <a:lnTo>
                  <a:pt x="3138221" y="3048724"/>
                </a:lnTo>
                <a:lnTo>
                  <a:pt x="3138221" y="3027464"/>
                </a:lnTo>
                <a:lnTo>
                  <a:pt x="3116961" y="3027464"/>
                </a:lnTo>
                <a:lnTo>
                  <a:pt x="3116961" y="3006204"/>
                </a:lnTo>
                <a:close/>
                <a:moveTo>
                  <a:pt x="2978429" y="3284296"/>
                </a:moveTo>
                <a:lnTo>
                  <a:pt x="2959913" y="3284296"/>
                </a:lnTo>
                <a:lnTo>
                  <a:pt x="2959913" y="3303156"/>
                </a:lnTo>
                <a:lnTo>
                  <a:pt x="2941054" y="3303156"/>
                </a:lnTo>
                <a:lnTo>
                  <a:pt x="2941054" y="3321672"/>
                </a:lnTo>
                <a:lnTo>
                  <a:pt x="2959913" y="3321672"/>
                </a:lnTo>
                <a:lnTo>
                  <a:pt x="2959913" y="3340532"/>
                </a:lnTo>
                <a:lnTo>
                  <a:pt x="2978429" y="3340532"/>
                </a:lnTo>
                <a:lnTo>
                  <a:pt x="2978429" y="3321672"/>
                </a:lnTo>
                <a:lnTo>
                  <a:pt x="2997289" y="3321672"/>
                </a:lnTo>
                <a:lnTo>
                  <a:pt x="2997289" y="3303156"/>
                </a:lnTo>
                <a:lnTo>
                  <a:pt x="2978429" y="3303156"/>
                </a:lnTo>
                <a:lnTo>
                  <a:pt x="2978429" y="3284296"/>
                </a:lnTo>
                <a:close/>
                <a:moveTo>
                  <a:pt x="2772689" y="3421799"/>
                </a:moveTo>
                <a:lnTo>
                  <a:pt x="2754173" y="3421799"/>
                </a:lnTo>
                <a:lnTo>
                  <a:pt x="2754173" y="3440316"/>
                </a:lnTo>
                <a:lnTo>
                  <a:pt x="2735656" y="3440316"/>
                </a:lnTo>
                <a:lnTo>
                  <a:pt x="2735656" y="3458832"/>
                </a:lnTo>
                <a:lnTo>
                  <a:pt x="2754173" y="3458832"/>
                </a:lnTo>
                <a:lnTo>
                  <a:pt x="2754173" y="3477349"/>
                </a:lnTo>
                <a:lnTo>
                  <a:pt x="2772689" y="3477349"/>
                </a:lnTo>
                <a:lnTo>
                  <a:pt x="2772689" y="3458832"/>
                </a:lnTo>
                <a:lnTo>
                  <a:pt x="2791206" y="3458832"/>
                </a:lnTo>
                <a:lnTo>
                  <a:pt x="2791206" y="3440316"/>
                </a:lnTo>
                <a:lnTo>
                  <a:pt x="2772689" y="3440316"/>
                </a:lnTo>
                <a:lnTo>
                  <a:pt x="2772689" y="3421799"/>
                </a:lnTo>
                <a:close/>
                <a:moveTo>
                  <a:pt x="2705824" y="3279153"/>
                </a:moveTo>
                <a:lnTo>
                  <a:pt x="2683879" y="3279153"/>
                </a:lnTo>
                <a:lnTo>
                  <a:pt x="2683879" y="3301441"/>
                </a:lnTo>
                <a:lnTo>
                  <a:pt x="2661590" y="3301441"/>
                </a:lnTo>
                <a:lnTo>
                  <a:pt x="2661590" y="3323387"/>
                </a:lnTo>
                <a:lnTo>
                  <a:pt x="2683879" y="3323387"/>
                </a:lnTo>
                <a:lnTo>
                  <a:pt x="2683879" y="3345675"/>
                </a:lnTo>
                <a:lnTo>
                  <a:pt x="2705824" y="3345675"/>
                </a:lnTo>
                <a:lnTo>
                  <a:pt x="2705824" y="3323387"/>
                </a:lnTo>
                <a:lnTo>
                  <a:pt x="2728112" y="3323387"/>
                </a:lnTo>
                <a:lnTo>
                  <a:pt x="2728112" y="3301441"/>
                </a:lnTo>
                <a:lnTo>
                  <a:pt x="2705824" y="3301441"/>
                </a:lnTo>
                <a:lnTo>
                  <a:pt x="2705824" y="3279153"/>
                </a:lnTo>
                <a:close/>
                <a:moveTo>
                  <a:pt x="2769604" y="3705035"/>
                </a:moveTo>
                <a:lnTo>
                  <a:pt x="2757259" y="3705035"/>
                </a:lnTo>
                <a:lnTo>
                  <a:pt x="2757259" y="3717722"/>
                </a:lnTo>
                <a:lnTo>
                  <a:pt x="2744572" y="3717722"/>
                </a:lnTo>
                <a:lnTo>
                  <a:pt x="2744572" y="3730066"/>
                </a:lnTo>
                <a:lnTo>
                  <a:pt x="2757259" y="3730066"/>
                </a:lnTo>
                <a:lnTo>
                  <a:pt x="2757259" y="3742754"/>
                </a:lnTo>
                <a:lnTo>
                  <a:pt x="2769604" y="3742754"/>
                </a:lnTo>
                <a:lnTo>
                  <a:pt x="2769604" y="3730066"/>
                </a:lnTo>
                <a:lnTo>
                  <a:pt x="2782291" y="3730066"/>
                </a:lnTo>
                <a:lnTo>
                  <a:pt x="2782291" y="3717722"/>
                </a:lnTo>
                <a:lnTo>
                  <a:pt x="2769604" y="3717722"/>
                </a:lnTo>
                <a:lnTo>
                  <a:pt x="2769604" y="3705035"/>
                </a:lnTo>
                <a:close/>
                <a:moveTo>
                  <a:pt x="2911564" y="3141993"/>
                </a:moveTo>
                <a:lnTo>
                  <a:pt x="2889619" y="3141993"/>
                </a:lnTo>
                <a:lnTo>
                  <a:pt x="2889619" y="3164281"/>
                </a:lnTo>
                <a:lnTo>
                  <a:pt x="2867330" y="3164281"/>
                </a:lnTo>
                <a:lnTo>
                  <a:pt x="2867330" y="3186227"/>
                </a:lnTo>
                <a:lnTo>
                  <a:pt x="2889619" y="3186227"/>
                </a:lnTo>
                <a:lnTo>
                  <a:pt x="2889619" y="3208515"/>
                </a:lnTo>
                <a:lnTo>
                  <a:pt x="2911564" y="3208515"/>
                </a:lnTo>
                <a:lnTo>
                  <a:pt x="2911564" y="3186227"/>
                </a:lnTo>
                <a:lnTo>
                  <a:pt x="2933852" y="3186227"/>
                </a:lnTo>
                <a:lnTo>
                  <a:pt x="2933852" y="3164281"/>
                </a:lnTo>
                <a:lnTo>
                  <a:pt x="2911564" y="3164281"/>
                </a:lnTo>
                <a:lnTo>
                  <a:pt x="2911564" y="3141993"/>
                </a:lnTo>
                <a:close/>
                <a:moveTo>
                  <a:pt x="2703081" y="3562045"/>
                </a:moveTo>
                <a:lnTo>
                  <a:pt x="2686622" y="3562045"/>
                </a:lnTo>
                <a:lnTo>
                  <a:pt x="2686622" y="3578504"/>
                </a:lnTo>
                <a:lnTo>
                  <a:pt x="2670163" y="3578504"/>
                </a:lnTo>
                <a:lnTo>
                  <a:pt x="2670163" y="3594964"/>
                </a:lnTo>
                <a:lnTo>
                  <a:pt x="2686622" y="3594964"/>
                </a:lnTo>
                <a:lnTo>
                  <a:pt x="2686622" y="3611423"/>
                </a:lnTo>
                <a:lnTo>
                  <a:pt x="2703081" y="3611423"/>
                </a:lnTo>
                <a:lnTo>
                  <a:pt x="2703081" y="3594964"/>
                </a:lnTo>
                <a:lnTo>
                  <a:pt x="2719540" y="3594964"/>
                </a:lnTo>
                <a:lnTo>
                  <a:pt x="2719540" y="3578504"/>
                </a:lnTo>
                <a:lnTo>
                  <a:pt x="2703081" y="3578504"/>
                </a:lnTo>
                <a:lnTo>
                  <a:pt x="2703081" y="3562045"/>
                </a:lnTo>
                <a:close/>
                <a:moveTo>
                  <a:pt x="2909164" y="3424199"/>
                </a:moveTo>
                <a:lnTo>
                  <a:pt x="2892019" y="3424199"/>
                </a:lnTo>
                <a:lnTo>
                  <a:pt x="2892019" y="3441002"/>
                </a:lnTo>
                <a:lnTo>
                  <a:pt x="2875217" y="3441002"/>
                </a:lnTo>
                <a:lnTo>
                  <a:pt x="2875217" y="3458147"/>
                </a:lnTo>
                <a:lnTo>
                  <a:pt x="2892019" y="3458147"/>
                </a:lnTo>
                <a:lnTo>
                  <a:pt x="2892019" y="3474949"/>
                </a:lnTo>
                <a:lnTo>
                  <a:pt x="2909164" y="3474949"/>
                </a:lnTo>
                <a:lnTo>
                  <a:pt x="2909164" y="3458147"/>
                </a:lnTo>
                <a:lnTo>
                  <a:pt x="2925966" y="3458147"/>
                </a:lnTo>
                <a:lnTo>
                  <a:pt x="2925966" y="3441002"/>
                </a:lnTo>
                <a:lnTo>
                  <a:pt x="2909164" y="3441002"/>
                </a:lnTo>
                <a:lnTo>
                  <a:pt x="2909164" y="3424199"/>
                </a:lnTo>
                <a:close/>
                <a:moveTo>
                  <a:pt x="2842298" y="3281553"/>
                </a:moveTo>
                <a:lnTo>
                  <a:pt x="2821724" y="3281553"/>
                </a:lnTo>
                <a:lnTo>
                  <a:pt x="2821724" y="3302127"/>
                </a:lnTo>
                <a:lnTo>
                  <a:pt x="2801150" y="3302127"/>
                </a:lnTo>
                <a:lnTo>
                  <a:pt x="2801150" y="3322701"/>
                </a:lnTo>
                <a:lnTo>
                  <a:pt x="2821724" y="3322701"/>
                </a:lnTo>
                <a:lnTo>
                  <a:pt x="2821724" y="3343275"/>
                </a:lnTo>
                <a:lnTo>
                  <a:pt x="2842298" y="3343275"/>
                </a:lnTo>
                <a:lnTo>
                  <a:pt x="2842298" y="3322701"/>
                </a:lnTo>
                <a:lnTo>
                  <a:pt x="2862872" y="3322701"/>
                </a:lnTo>
                <a:lnTo>
                  <a:pt x="2862872" y="3302127"/>
                </a:lnTo>
                <a:lnTo>
                  <a:pt x="2842298" y="3302127"/>
                </a:lnTo>
                <a:lnTo>
                  <a:pt x="2842298" y="3281553"/>
                </a:lnTo>
                <a:close/>
                <a:moveTo>
                  <a:pt x="2839555" y="3564446"/>
                </a:moveTo>
                <a:lnTo>
                  <a:pt x="2824468" y="3564446"/>
                </a:lnTo>
                <a:lnTo>
                  <a:pt x="2824468" y="3579190"/>
                </a:lnTo>
                <a:lnTo>
                  <a:pt x="2809723" y="3579190"/>
                </a:lnTo>
                <a:lnTo>
                  <a:pt x="2809723" y="3594278"/>
                </a:lnTo>
                <a:lnTo>
                  <a:pt x="2824468" y="3594278"/>
                </a:lnTo>
                <a:lnTo>
                  <a:pt x="2824468" y="3609023"/>
                </a:lnTo>
                <a:lnTo>
                  <a:pt x="2839555" y="3609023"/>
                </a:lnTo>
                <a:lnTo>
                  <a:pt x="2839555" y="3594278"/>
                </a:lnTo>
                <a:lnTo>
                  <a:pt x="2854300" y="3594278"/>
                </a:lnTo>
                <a:lnTo>
                  <a:pt x="2854300" y="3579190"/>
                </a:lnTo>
                <a:lnTo>
                  <a:pt x="2839555" y="3579190"/>
                </a:lnTo>
                <a:lnTo>
                  <a:pt x="2839555" y="3564446"/>
                </a:lnTo>
                <a:close/>
                <a:moveTo>
                  <a:pt x="2775433" y="3139592"/>
                </a:moveTo>
                <a:lnTo>
                  <a:pt x="2751430" y="3139592"/>
                </a:lnTo>
                <a:lnTo>
                  <a:pt x="2751430" y="3163253"/>
                </a:lnTo>
                <a:lnTo>
                  <a:pt x="2727770" y="3163253"/>
                </a:lnTo>
                <a:lnTo>
                  <a:pt x="2727770" y="3187256"/>
                </a:lnTo>
                <a:lnTo>
                  <a:pt x="2751430" y="3187256"/>
                </a:lnTo>
                <a:lnTo>
                  <a:pt x="2751430" y="3210916"/>
                </a:lnTo>
                <a:lnTo>
                  <a:pt x="2775433" y="3210916"/>
                </a:lnTo>
                <a:lnTo>
                  <a:pt x="2775433" y="3187256"/>
                </a:lnTo>
                <a:lnTo>
                  <a:pt x="2799093" y="3187256"/>
                </a:lnTo>
                <a:lnTo>
                  <a:pt x="2799093" y="3163253"/>
                </a:lnTo>
                <a:lnTo>
                  <a:pt x="2775433" y="3163253"/>
                </a:lnTo>
                <a:lnTo>
                  <a:pt x="2775433" y="3139592"/>
                </a:lnTo>
                <a:close/>
                <a:moveTo>
                  <a:pt x="1038644" y="600075"/>
                </a:moveTo>
                <a:lnTo>
                  <a:pt x="1059218" y="600075"/>
                </a:lnTo>
                <a:lnTo>
                  <a:pt x="1059218" y="579501"/>
                </a:lnTo>
                <a:lnTo>
                  <a:pt x="1079792" y="579501"/>
                </a:lnTo>
                <a:lnTo>
                  <a:pt x="1079792" y="558927"/>
                </a:lnTo>
                <a:lnTo>
                  <a:pt x="1059218" y="558927"/>
                </a:lnTo>
                <a:lnTo>
                  <a:pt x="1059218" y="538353"/>
                </a:lnTo>
                <a:lnTo>
                  <a:pt x="1038644" y="538353"/>
                </a:lnTo>
                <a:lnTo>
                  <a:pt x="1038644" y="558927"/>
                </a:lnTo>
                <a:lnTo>
                  <a:pt x="1018070" y="558927"/>
                </a:lnTo>
                <a:lnTo>
                  <a:pt x="1018070" y="579501"/>
                </a:lnTo>
                <a:lnTo>
                  <a:pt x="1038644" y="579501"/>
                </a:lnTo>
                <a:lnTo>
                  <a:pt x="1038644" y="600075"/>
                </a:lnTo>
                <a:close/>
                <a:moveTo>
                  <a:pt x="3236290" y="590817"/>
                </a:moveTo>
                <a:lnTo>
                  <a:pt x="3250692" y="590817"/>
                </a:lnTo>
                <a:lnTo>
                  <a:pt x="3250692" y="576415"/>
                </a:lnTo>
                <a:lnTo>
                  <a:pt x="3265094" y="576415"/>
                </a:lnTo>
                <a:lnTo>
                  <a:pt x="3265094" y="562013"/>
                </a:lnTo>
                <a:lnTo>
                  <a:pt x="3250692" y="562013"/>
                </a:lnTo>
                <a:lnTo>
                  <a:pt x="3250692" y="547611"/>
                </a:lnTo>
                <a:lnTo>
                  <a:pt x="3236290" y="547611"/>
                </a:lnTo>
                <a:lnTo>
                  <a:pt x="3236290" y="562013"/>
                </a:lnTo>
                <a:lnTo>
                  <a:pt x="3221888" y="562013"/>
                </a:lnTo>
                <a:lnTo>
                  <a:pt x="3221888" y="576415"/>
                </a:lnTo>
                <a:lnTo>
                  <a:pt x="3236290" y="576415"/>
                </a:lnTo>
                <a:lnTo>
                  <a:pt x="3236290" y="590817"/>
                </a:lnTo>
                <a:close/>
                <a:moveTo>
                  <a:pt x="3233890" y="871995"/>
                </a:moveTo>
                <a:lnTo>
                  <a:pt x="3253093" y="871995"/>
                </a:lnTo>
                <a:lnTo>
                  <a:pt x="3253093" y="853135"/>
                </a:lnTo>
                <a:lnTo>
                  <a:pt x="3271952" y="853135"/>
                </a:lnTo>
                <a:lnTo>
                  <a:pt x="3271952" y="833933"/>
                </a:lnTo>
                <a:lnTo>
                  <a:pt x="3253093" y="833933"/>
                </a:lnTo>
                <a:lnTo>
                  <a:pt x="3253093" y="815073"/>
                </a:lnTo>
                <a:lnTo>
                  <a:pt x="3233890" y="815073"/>
                </a:lnTo>
                <a:lnTo>
                  <a:pt x="3233890" y="833933"/>
                </a:lnTo>
                <a:lnTo>
                  <a:pt x="3215030" y="833933"/>
                </a:lnTo>
                <a:lnTo>
                  <a:pt x="3215030" y="853135"/>
                </a:lnTo>
                <a:lnTo>
                  <a:pt x="3233890" y="853135"/>
                </a:lnTo>
                <a:lnTo>
                  <a:pt x="3233890" y="871995"/>
                </a:lnTo>
                <a:close/>
                <a:moveTo>
                  <a:pt x="3300755" y="1288961"/>
                </a:moveTo>
                <a:lnTo>
                  <a:pt x="3323387" y="1288961"/>
                </a:lnTo>
                <a:lnTo>
                  <a:pt x="3323387" y="1266330"/>
                </a:lnTo>
                <a:lnTo>
                  <a:pt x="3346018" y="1266330"/>
                </a:lnTo>
                <a:lnTo>
                  <a:pt x="3346018" y="1243698"/>
                </a:lnTo>
                <a:lnTo>
                  <a:pt x="3323387" y="1243698"/>
                </a:lnTo>
                <a:lnTo>
                  <a:pt x="3323387" y="1221067"/>
                </a:lnTo>
                <a:lnTo>
                  <a:pt x="3300755" y="1221067"/>
                </a:lnTo>
                <a:lnTo>
                  <a:pt x="3300755" y="1243698"/>
                </a:lnTo>
                <a:lnTo>
                  <a:pt x="3278124" y="1243698"/>
                </a:lnTo>
                <a:lnTo>
                  <a:pt x="3278124" y="1266330"/>
                </a:lnTo>
                <a:lnTo>
                  <a:pt x="3300755" y="1266330"/>
                </a:lnTo>
                <a:lnTo>
                  <a:pt x="3300755" y="1288961"/>
                </a:lnTo>
                <a:close/>
                <a:moveTo>
                  <a:pt x="3304184" y="729691"/>
                </a:moveTo>
                <a:lnTo>
                  <a:pt x="3319958" y="729691"/>
                </a:lnTo>
                <a:lnTo>
                  <a:pt x="3319958" y="714261"/>
                </a:lnTo>
                <a:lnTo>
                  <a:pt x="3335389" y="714261"/>
                </a:lnTo>
                <a:lnTo>
                  <a:pt x="3335389" y="698487"/>
                </a:lnTo>
                <a:lnTo>
                  <a:pt x="3319958" y="698487"/>
                </a:lnTo>
                <a:lnTo>
                  <a:pt x="3319958" y="683057"/>
                </a:lnTo>
                <a:lnTo>
                  <a:pt x="3304184" y="683057"/>
                </a:lnTo>
                <a:lnTo>
                  <a:pt x="3304184" y="698487"/>
                </a:lnTo>
                <a:lnTo>
                  <a:pt x="3288754" y="698487"/>
                </a:lnTo>
                <a:lnTo>
                  <a:pt x="3288754" y="714261"/>
                </a:lnTo>
                <a:lnTo>
                  <a:pt x="3304184" y="714261"/>
                </a:lnTo>
                <a:lnTo>
                  <a:pt x="3304184" y="729691"/>
                </a:lnTo>
                <a:close/>
                <a:moveTo>
                  <a:pt x="3232175" y="1151801"/>
                </a:moveTo>
                <a:lnTo>
                  <a:pt x="3254807" y="1151801"/>
                </a:lnTo>
                <a:lnTo>
                  <a:pt x="3254807" y="1129170"/>
                </a:lnTo>
                <a:lnTo>
                  <a:pt x="3277438" y="1129170"/>
                </a:lnTo>
                <a:lnTo>
                  <a:pt x="3277438" y="1106538"/>
                </a:lnTo>
                <a:lnTo>
                  <a:pt x="3254807" y="1106538"/>
                </a:lnTo>
                <a:lnTo>
                  <a:pt x="3254807" y="1083907"/>
                </a:lnTo>
                <a:lnTo>
                  <a:pt x="3232175" y="1083907"/>
                </a:lnTo>
                <a:lnTo>
                  <a:pt x="3232175" y="1106538"/>
                </a:lnTo>
                <a:lnTo>
                  <a:pt x="3209544" y="1106538"/>
                </a:lnTo>
                <a:lnTo>
                  <a:pt x="3209544" y="1129170"/>
                </a:lnTo>
                <a:lnTo>
                  <a:pt x="3232175" y="1129170"/>
                </a:lnTo>
                <a:lnTo>
                  <a:pt x="3232175" y="1151801"/>
                </a:lnTo>
                <a:close/>
                <a:moveTo>
                  <a:pt x="3302127" y="1010183"/>
                </a:moveTo>
                <a:lnTo>
                  <a:pt x="3322015" y="1010183"/>
                </a:lnTo>
                <a:lnTo>
                  <a:pt x="3322015" y="990638"/>
                </a:lnTo>
                <a:lnTo>
                  <a:pt x="3341561" y="990638"/>
                </a:lnTo>
                <a:lnTo>
                  <a:pt x="3341561" y="970750"/>
                </a:lnTo>
                <a:lnTo>
                  <a:pt x="3322015" y="970750"/>
                </a:lnTo>
                <a:lnTo>
                  <a:pt x="3322015" y="951205"/>
                </a:lnTo>
                <a:lnTo>
                  <a:pt x="3302127" y="951205"/>
                </a:lnTo>
                <a:lnTo>
                  <a:pt x="3302127" y="970750"/>
                </a:lnTo>
                <a:lnTo>
                  <a:pt x="3282582" y="970750"/>
                </a:lnTo>
                <a:lnTo>
                  <a:pt x="3282582" y="990638"/>
                </a:lnTo>
                <a:lnTo>
                  <a:pt x="3302127" y="990638"/>
                </a:lnTo>
                <a:lnTo>
                  <a:pt x="3302127" y="1010183"/>
                </a:lnTo>
                <a:close/>
                <a:moveTo>
                  <a:pt x="3098102" y="594246"/>
                </a:moveTo>
                <a:lnTo>
                  <a:pt x="3114561" y="594246"/>
                </a:lnTo>
                <a:lnTo>
                  <a:pt x="3114561" y="577444"/>
                </a:lnTo>
                <a:lnTo>
                  <a:pt x="3131363" y="577444"/>
                </a:lnTo>
                <a:lnTo>
                  <a:pt x="3131363" y="560984"/>
                </a:lnTo>
                <a:lnTo>
                  <a:pt x="3114561" y="560984"/>
                </a:lnTo>
                <a:lnTo>
                  <a:pt x="3114561" y="544182"/>
                </a:lnTo>
                <a:lnTo>
                  <a:pt x="3098102" y="544182"/>
                </a:lnTo>
                <a:lnTo>
                  <a:pt x="3098102" y="560984"/>
                </a:lnTo>
                <a:lnTo>
                  <a:pt x="3081299" y="560984"/>
                </a:lnTo>
                <a:lnTo>
                  <a:pt x="3081299" y="577444"/>
                </a:lnTo>
                <a:lnTo>
                  <a:pt x="3098102" y="577444"/>
                </a:lnTo>
                <a:lnTo>
                  <a:pt x="3098102" y="594246"/>
                </a:lnTo>
                <a:close/>
                <a:moveTo>
                  <a:pt x="3163939" y="1013955"/>
                </a:moveTo>
                <a:lnTo>
                  <a:pt x="3185884" y="1013955"/>
                </a:lnTo>
                <a:lnTo>
                  <a:pt x="3185884" y="991667"/>
                </a:lnTo>
                <a:lnTo>
                  <a:pt x="3208172" y="991667"/>
                </a:lnTo>
                <a:lnTo>
                  <a:pt x="3208172" y="969721"/>
                </a:lnTo>
                <a:lnTo>
                  <a:pt x="3185884" y="969721"/>
                </a:lnTo>
                <a:lnTo>
                  <a:pt x="3185884" y="947433"/>
                </a:lnTo>
                <a:lnTo>
                  <a:pt x="3163939" y="947433"/>
                </a:lnTo>
                <a:lnTo>
                  <a:pt x="3163939" y="969721"/>
                </a:lnTo>
                <a:lnTo>
                  <a:pt x="3141650" y="969721"/>
                </a:lnTo>
                <a:lnTo>
                  <a:pt x="3141650" y="991667"/>
                </a:lnTo>
                <a:lnTo>
                  <a:pt x="3163939" y="991667"/>
                </a:lnTo>
                <a:lnTo>
                  <a:pt x="3163939" y="1013955"/>
                </a:lnTo>
                <a:close/>
                <a:moveTo>
                  <a:pt x="3165996" y="733463"/>
                </a:moveTo>
                <a:lnTo>
                  <a:pt x="3183827" y="733463"/>
                </a:lnTo>
                <a:lnTo>
                  <a:pt x="3183827" y="715289"/>
                </a:lnTo>
                <a:lnTo>
                  <a:pt x="3202000" y="715289"/>
                </a:lnTo>
                <a:lnTo>
                  <a:pt x="3202000" y="697459"/>
                </a:lnTo>
                <a:lnTo>
                  <a:pt x="3183827" y="697459"/>
                </a:lnTo>
                <a:lnTo>
                  <a:pt x="3183827" y="679285"/>
                </a:lnTo>
                <a:lnTo>
                  <a:pt x="3165996" y="679285"/>
                </a:lnTo>
                <a:lnTo>
                  <a:pt x="3165996" y="697459"/>
                </a:lnTo>
                <a:lnTo>
                  <a:pt x="3147822" y="697459"/>
                </a:lnTo>
                <a:lnTo>
                  <a:pt x="3147822" y="715289"/>
                </a:lnTo>
                <a:lnTo>
                  <a:pt x="3165996" y="715289"/>
                </a:lnTo>
                <a:lnTo>
                  <a:pt x="3165996" y="733463"/>
                </a:lnTo>
                <a:close/>
                <a:moveTo>
                  <a:pt x="3168396" y="451599"/>
                </a:moveTo>
                <a:lnTo>
                  <a:pt x="3181426" y="451599"/>
                </a:lnTo>
                <a:lnTo>
                  <a:pt x="3181426" y="438569"/>
                </a:lnTo>
                <a:lnTo>
                  <a:pt x="3194456" y="438569"/>
                </a:lnTo>
                <a:lnTo>
                  <a:pt x="3194456" y="425539"/>
                </a:lnTo>
                <a:lnTo>
                  <a:pt x="3181426" y="425539"/>
                </a:lnTo>
                <a:lnTo>
                  <a:pt x="3181426" y="412509"/>
                </a:lnTo>
                <a:lnTo>
                  <a:pt x="3168396" y="412509"/>
                </a:lnTo>
                <a:lnTo>
                  <a:pt x="3168396" y="425539"/>
                </a:lnTo>
                <a:lnTo>
                  <a:pt x="3155366" y="425539"/>
                </a:lnTo>
                <a:lnTo>
                  <a:pt x="3155366" y="438569"/>
                </a:lnTo>
                <a:lnTo>
                  <a:pt x="3168396" y="438569"/>
                </a:lnTo>
                <a:lnTo>
                  <a:pt x="3168396" y="451599"/>
                </a:lnTo>
                <a:close/>
                <a:moveTo>
                  <a:pt x="3374822" y="587045"/>
                </a:moveTo>
                <a:lnTo>
                  <a:pt x="3386480" y="587045"/>
                </a:lnTo>
                <a:lnTo>
                  <a:pt x="3386480" y="575043"/>
                </a:lnTo>
                <a:lnTo>
                  <a:pt x="3398482" y="575043"/>
                </a:lnTo>
                <a:lnTo>
                  <a:pt x="3398482" y="563385"/>
                </a:lnTo>
                <a:lnTo>
                  <a:pt x="3386480" y="563385"/>
                </a:lnTo>
                <a:lnTo>
                  <a:pt x="3386480" y="551383"/>
                </a:lnTo>
                <a:lnTo>
                  <a:pt x="3374822" y="551383"/>
                </a:lnTo>
                <a:lnTo>
                  <a:pt x="3374822" y="563385"/>
                </a:lnTo>
                <a:lnTo>
                  <a:pt x="3362821" y="563385"/>
                </a:lnTo>
                <a:lnTo>
                  <a:pt x="3362821" y="575043"/>
                </a:lnTo>
                <a:lnTo>
                  <a:pt x="3374822" y="575043"/>
                </a:lnTo>
                <a:lnTo>
                  <a:pt x="3374822" y="587045"/>
                </a:lnTo>
                <a:close/>
                <a:moveTo>
                  <a:pt x="1065047" y="1989163"/>
                </a:moveTo>
                <a:lnTo>
                  <a:pt x="1065047" y="1956930"/>
                </a:lnTo>
                <a:lnTo>
                  <a:pt x="1097280" y="1956930"/>
                </a:lnTo>
                <a:lnTo>
                  <a:pt x="1097280" y="1924698"/>
                </a:lnTo>
                <a:lnTo>
                  <a:pt x="1065047" y="1924698"/>
                </a:lnTo>
                <a:lnTo>
                  <a:pt x="1065047" y="1892465"/>
                </a:lnTo>
                <a:lnTo>
                  <a:pt x="1032815" y="1892465"/>
                </a:lnTo>
                <a:lnTo>
                  <a:pt x="1032815" y="1924698"/>
                </a:lnTo>
                <a:lnTo>
                  <a:pt x="1000582" y="1924698"/>
                </a:lnTo>
                <a:lnTo>
                  <a:pt x="1000582" y="1956930"/>
                </a:lnTo>
                <a:lnTo>
                  <a:pt x="1032815" y="1956930"/>
                </a:lnTo>
                <a:lnTo>
                  <a:pt x="1032815" y="1989163"/>
                </a:lnTo>
                <a:lnTo>
                  <a:pt x="1065047" y="1989163"/>
                </a:lnTo>
                <a:close/>
                <a:moveTo>
                  <a:pt x="2610155" y="1755305"/>
                </a:moveTo>
                <a:lnTo>
                  <a:pt x="2610155" y="1787538"/>
                </a:lnTo>
                <a:lnTo>
                  <a:pt x="2577922" y="1787538"/>
                </a:lnTo>
                <a:lnTo>
                  <a:pt x="2577922" y="1819770"/>
                </a:lnTo>
                <a:lnTo>
                  <a:pt x="2610155" y="1819770"/>
                </a:lnTo>
                <a:lnTo>
                  <a:pt x="2610155" y="1852003"/>
                </a:lnTo>
                <a:lnTo>
                  <a:pt x="2642387" y="1852003"/>
                </a:lnTo>
                <a:lnTo>
                  <a:pt x="2642387" y="1819770"/>
                </a:lnTo>
                <a:lnTo>
                  <a:pt x="2674620" y="1819770"/>
                </a:lnTo>
                <a:lnTo>
                  <a:pt x="2674620" y="1787538"/>
                </a:lnTo>
                <a:lnTo>
                  <a:pt x="2642387" y="1787538"/>
                </a:lnTo>
                <a:lnTo>
                  <a:pt x="2642387" y="1755305"/>
                </a:lnTo>
                <a:lnTo>
                  <a:pt x="2610155" y="1755305"/>
                </a:lnTo>
                <a:close/>
                <a:moveTo>
                  <a:pt x="1613687" y="1989163"/>
                </a:moveTo>
                <a:lnTo>
                  <a:pt x="1613687" y="1956930"/>
                </a:lnTo>
                <a:lnTo>
                  <a:pt x="1645920" y="1956930"/>
                </a:lnTo>
                <a:lnTo>
                  <a:pt x="1645920" y="1924698"/>
                </a:lnTo>
                <a:lnTo>
                  <a:pt x="1613687" y="1924698"/>
                </a:lnTo>
                <a:lnTo>
                  <a:pt x="1613687" y="1892465"/>
                </a:lnTo>
                <a:lnTo>
                  <a:pt x="1581455" y="1892465"/>
                </a:lnTo>
                <a:lnTo>
                  <a:pt x="1581455" y="1924698"/>
                </a:lnTo>
                <a:lnTo>
                  <a:pt x="1549222" y="1924698"/>
                </a:lnTo>
                <a:lnTo>
                  <a:pt x="1549222" y="1956930"/>
                </a:lnTo>
                <a:lnTo>
                  <a:pt x="1581455" y="1956930"/>
                </a:lnTo>
                <a:lnTo>
                  <a:pt x="1581455" y="1989163"/>
                </a:lnTo>
                <a:lnTo>
                  <a:pt x="1613687" y="1989163"/>
                </a:lnTo>
                <a:close/>
                <a:moveTo>
                  <a:pt x="1750847" y="1989163"/>
                </a:moveTo>
                <a:lnTo>
                  <a:pt x="1750847" y="1956930"/>
                </a:lnTo>
                <a:lnTo>
                  <a:pt x="1783080" y="1956930"/>
                </a:lnTo>
                <a:lnTo>
                  <a:pt x="1783080" y="1924698"/>
                </a:lnTo>
                <a:lnTo>
                  <a:pt x="1750847" y="1924698"/>
                </a:lnTo>
                <a:lnTo>
                  <a:pt x="1750847" y="1892465"/>
                </a:lnTo>
                <a:lnTo>
                  <a:pt x="1718615" y="1892465"/>
                </a:lnTo>
                <a:lnTo>
                  <a:pt x="1718615" y="1924698"/>
                </a:lnTo>
                <a:lnTo>
                  <a:pt x="1686382" y="1924698"/>
                </a:lnTo>
                <a:lnTo>
                  <a:pt x="1686382" y="1956930"/>
                </a:lnTo>
                <a:lnTo>
                  <a:pt x="1718615" y="1956930"/>
                </a:lnTo>
                <a:lnTo>
                  <a:pt x="1718615" y="1989163"/>
                </a:lnTo>
                <a:lnTo>
                  <a:pt x="1750847" y="1989163"/>
                </a:lnTo>
                <a:close/>
                <a:moveTo>
                  <a:pt x="3372422" y="868223"/>
                </a:moveTo>
                <a:lnTo>
                  <a:pt x="3388881" y="868223"/>
                </a:lnTo>
                <a:lnTo>
                  <a:pt x="3388881" y="851764"/>
                </a:lnTo>
                <a:lnTo>
                  <a:pt x="3405340" y="851764"/>
                </a:lnTo>
                <a:lnTo>
                  <a:pt x="3405340" y="835304"/>
                </a:lnTo>
                <a:lnTo>
                  <a:pt x="3388881" y="835304"/>
                </a:lnTo>
                <a:lnTo>
                  <a:pt x="3388881" y="818845"/>
                </a:lnTo>
                <a:lnTo>
                  <a:pt x="3372422" y="818845"/>
                </a:lnTo>
                <a:lnTo>
                  <a:pt x="3372422" y="835304"/>
                </a:lnTo>
                <a:lnTo>
                  <a:pt x="3355963" y="835304"/>
                </a:lnTo>
                <a:lnTo>
                  <a:pt x="3355963" y="851764"/>
                </a:lnTo>
                <a:lnTo>
                  <a:pt x="3372422" y="851764"/>
                </a:lnTo>
                <a:lnTo>
                  <a:pt x="3372422" y="868223"/>
                </a:lnTo>
                <a:close/>
                <a:moveTo>
                  <a:pt x="3369335" y="1426121"/>
                </a:moveTo>
                <a:lnTo>
                  <a:pt x="3391967" y="1426121"/>
                </a:lnTo>
                <a:lnTo>
                  <a:pt x="3391967" y="1403490"/>
                </a:lnTo>
                <a:lnTo>
                  <a:pt x="3414598" y="1403490"/>
                </a:lnTo>
                <a:lnTo>
                  <a:pt x="3414598" y="1380858"/>
                </a:lnTo>
                <a:lnTo>
                  <a:pt x="3391967" y="1380858"/>
                </a:lnTo>
                <a:lnTo>
                  <a:pt x="3391967" y="1358227"/>
                </a:lnTo>
                <a:lnTo>
                  <a:pt x="3369335" y="1358227"/>
                </a:lnTo>
                <a:lnTo>
                  <a:pt x="3369335" y="1380858"/>
                </a:lnTo>
                <a:lnTo>
                  <a:pt x="3346704" y="1380858"/>
                </a:lnTo>
                <a:lnTo>
                  <a:pt x="3346704" y="1403490"/>
                </a:lnTo>
                <a:lnTo>
                  <a:pt x="3369335" y="1403490"/>
                </a:lnTo>
                <a:lnTo>
                  <a:pt x="3369335" y="1426121"/>
                </a:lnTo>
                <a:close/>
                <a:moveTo>
                  <a:pt x="3370707" y="1148029"/>
                </a:moveTo>
                <a:lnTo>
                  <a:pt x="3390595" y="1148029"/>
                </a:lnTo>
                <a:lnTo>
                  <a:pt x="3390595" y="1127798"/>
                </a:lnTo>
                <a:lnTo>
                  <a:pt x="3410827" y="1127798"/>
                </a:lnTo>
                <a:lnTo>
                  <a:pt x="3410827" y="1107910"/>
                </a:lnTo>
                <a:lnTo>
                  <a:pt x="3390595" y="1107910"/>
                </a:lnTo>
                <a:lnTo>
                  <a:pt x="3390595" y="1087679"/>
                </a:lnTo>
                <a:lnTo>
                  <a:pt x="3370707" y="1087679"/>
                </a:lnTo>
                <a:lnTo>
                  <a:pt x="3370707" y="1107910"/>
                </a:lnTo>
                <a:lnTo>
                  <a:pt x="3350476" y="1107910"/>
                </a:lnTo>
                <a:lnTo>
                  <a:pt x="3350476" y="1127798"/>
                </a:lnTo>
                <a:lnTo>
                  <a:pt x="3370707" y="1127798"/>
                </a:lnTo>
                <a:lnTo>
                  <a:pt x="3370707" y="1148029"/>
                </a:lnTo>
                <a:close/>
                <a:moveTo>
                  <a:pt x="3095701" y="875424"/>
                </a:moveTo>
                <a:lnTo>
                  <a:pt x="3116961" y="875424"/>
                </a:lnTo>
                <a:lnTo>
                  <a:pt x="3116961" y="854164"/>
                </a:lnTo>
                <a:lnTo>
                  <a:pt x="3138221" y="854164"/>
                </a:lnTo>
                <a:lnTo>
                  <a:pt x="3138221" y="832904"/>
                </a:lnTo>
                <a:lnTo>
                  <a:pt x="3116961" y="832904"/>
                </a:lnTo>
                <a:lnTo>
                  <a:pt x="3116961" y="811644"/>
                </a:lnTo>
                <a:lnTo>
                  <a:pt x="3095701" y="811644"/>
                </a:lnTo>
                <a:lnTo>
                  <a:pt x="3095701" y="832904"/>
                </a:lnTo>
                <a:lnTo>
                  <a:pt x="3074441" y="832904"/>
                </a:lnTo>
                <a:lnTo>
                  <a:pt x="3074441" y="854164"/>
                </a:lnTo>
                <a:lnTo>
                  <a:pt x="3095701" y="854164"/>
                </a:lnTo>
                <a:lnTo>
                  <a:pt x="3095701" y="875424"/>
                </a:lnTo>
                <a:close/>
                <a:moveTo>
                  <a:pt x="3416999" y="1654493"/>
                </a:moveTo>
                <a:lnTo>
                  <a:pt x="3392653" y="1654493"/>
                </a:lnTo>
                <a:lnTo>
                  <a:pt x="3392653" y="1630147"/>
                </a:lnTo>
                <a:lnTo>
                  <a:pt x="3368650" y="1630147"/>
                </a:lnTo>
                <a:lnTo>
                  <a:pt x="3368650" y="1654493"/>
                </a:lnTo>
                <a:lnTo>
                  <a:pt x="3344304" y="1654493"/>
                </a:lnTo>
                <a:lnTo>
                  <a:pt x="3344304" y="1678496"/>
                </a:lnTo>
                <a:lnTo>
                  <a:pt x="3368650" y="1678496"/>
                </a:lnTo>
                <a:lnTo>
                  <a:pt x="3368650" y="1702841"/>
                </a:lnTo>
                <a:lnTo>
                  <a:pt x="3392653" y="1702841"/>
                </a:lnTo>
                <a:lnTo>
                  <a:pt x="3392653" y="1678496"/>
                </a:lnTo>
                <a:lnTo>
                  <a:pt x="3416999" y="1678496"/>
                </a:lnTo>
                <a:lnTo>
                  <a:pt x="3416999" y="1654493"/>
                </a:lnTo>
                <a:close/>
                <a:moveTo>
                  <a:pt x="1888007" y="1989163"/>
                </a:moveTo>
                <a:lnTo>
                  <a:pt x="1888007" y="1956930"/>
                </a:lnTo>
                <a:lnTo>
                  <a:pt x="1920240" y="1956930"/>
                </a:lnTo>
                <a:lnTo>
                  <a:pt x="1920240" y="1924698"/>
                </a:lnTo>
                <a:lnTo>
                  <a:pt x="1888007" y="1924698"/>
                </a:lnTo>
                <a:lnTo>
                  <a:pt x="1888007" y="1892465"/>
                </a:lnTo>
                <a:lnTo>
                  <a:pt x="1855775" y="1892465"/>
                </a:lnTo>
                <a:lnTo>
                  <a:pt x="1855775" y="1924698"/>
                </a:lnTo>
                <a:lnTo>
                  <a:pt x="1823542" y="1924698"/>
                </a:lnTo>
                <a:lnTo>
                  <a:pt x="1823542" y="1956930"/>
                </a:lnTo>
                <a:lnTo>
                  <a:pt x="1855775" y="1956930"/>
                </a:lnTo>
                <a:lnTo>
                  <a:pt x="1855775" y="1989163"/>
                </a:lnTo>
                <a:lnTo>
                  <a:pt x="1888007" y="1989163"/>
                </a:lnTo>
                <a:close/>
                <a:moveTo>
                  <a:pt x="2686622" y="319583"/>
                </a:moveTo>
                <a:lnTo>
                  <a:pt x="2703081" y="319583"/>
                </a:lnTo>
                <a:lnTo>
                  <a:pt x="2703081" y="303124"/>
                </a:lnTo>
                <a:lnTo>
                  <a:pt x="2719540" y="303124"/>
                </a:lnTo>
                <a:lnTo>
                  <a:pt x="2719540" y="286664"/>
                </a:lnTo>
                <a:lnTo>
                  <a:pt x="2703081" y="286664"/>
                </a:lnTo>
                <a:lnTo>
                  <a:pt x="2703081" y="270205"/>
                </a:lnTo>
                <a:lnTo>
                  <a:pt x="2686622" y="270205"/>
                </a:lnTo>
                <a:lnTo>
                  <a:pt x="2686622" y="286664"/>
                </a:lnTo>
                <a:lnTo>
                  <a:pt x="2670163" y="286664"/>
                </a:lnTo>
                <a:lnTo>
                  <a:pt x="2670163" y="303124"/>
                </a:lnTo>
                <a:lnTo>
                  <a:pt x="2686622" y="303124"/>
                </a:lnTo>
                <a:lnTo>
                  <a:pt x="2686622" y="319583"/>
                </a:lnTo>
                <a:close/>
                <a:moveTo>
                  <a:pt x="2683879" y="602132"/>
                </a:moveTo>
                <a:lnTo>
                  <a:pt x="2705824" y="602132"/>
                </a:lnTo>
                <a:lnTo>
                  <a:pt x="2705824" y="580187"/>
                </a:lnTo>
                <a:lnTo>
                  <a:pt x="2727770" y="580187"/>
                </a:lnTo>
                <a:lnTo>
                  <a:pt x="2727770" y="558241"/>
                </a:lnTo>
                <a:lnTo>
                  <a:pt x="2705824" y="558241"/>
                </a:lnTo>
                <a:lnTo>
                  <a:pt x="2705824" y="536296"/>
                </a:lnTo>
                <a:lnTo>
                  <a:pt x="2683879" y="536296"/>
                </a:lnTo>
                <a:lnTo>
                  <a:pt x="2683879" y="558241"/>
                </a:lnTo>
                <a:lnTo>
                  <a:pt x="2661933" y="558241"/>
                </a:lnTo>
                <a:lnTo>
                  <a:pt x="2661933" y="580187"/>
                </a:lnTo>
                <a:lnTo>
                  <a:pt x="2683879" y="580187"/>
                </a:lnTo>
                <a:lnTo>
                  <a:pt x="2683879" y="602132"/>
                </a:lnTo>
                <a:close/>
                <a:moveTo>
                  <a:pt x="2619413" y="178651"/>
                </a:moveTo>
                <a:lnTo>
                  <a:pt x="2633129" y="178651"/>
                </a:lnTo>
                <a:lnTo>
                  <a:pt x="2633129" y="164592"/>
                </a:lnTo>
                <a:lnTo>
                  <a:pt x="2647188" y="164592"/>
                </a:lnTo>
                <a:lnTo>
                  <a:pt x="2647188" y="150876"/>
                </a:lnTo>
                <a:lnTo>
                  <a:pt x="2633129" y="150876"/>
                </a:lnTo>
                <a:lnTo>
                  <a:pt x="2633129" y="136817"/>
                </a:lnTo>
                <a:lnTo>
                  <a:pt x="2619413" y="136817"/>
                </a:lnTo>
                <a:lnTo>
                  <a:pt x="2619413" y="150876"/>
                </a:lnTo>
                <a:lnTo>
                  <a:pt x="2605354" y="150876"/>
                </a:lnTo>
                <a:lnTo>
                  <a:pt x="2605354" y="164592"/>
                </a:lnTo>
                <a:lnTo>
                  <a:pt x="2619413" y="164592"/>
                </a:lnTo>
                <a:lnTo>
                  <a:pt x="2619413" y="178651"/>
                </a:lnTo>
                <a:close/>
                <a:moveTo>
                  <a:pt x="2754173" y="459829"/>
                </a:moveTo>
                <a:lnTo>
                  <a:pt x="2772689" y="459829"/>
                </a:lnTo>
                <a:lnTo>
                  <a:pt x="2772689" y="441312"/>
                </a:lnTo>
                <a:lnTo>
                  <a:pt x="2791206" y="441312"/>
                </a:lnTo>
                <a:lnTo>
                  <a:pt x="2791206" y="422796"/>
                </a:lnTo>
                <a:lnTo>
                  <a:pt x="2772689" y="422796"/>
                </a:lnTo>
                <a:lnTo>
                  <a:pt x="2772689" y="404279"/>
                </a:lnTo>
                <a:lnTo>
                  <a:pt x="2754173" y="404279"/>
                </a:lnTo>
                <a:lnTo>
                  <a:pt x="2754173" y="422796"/>
                </a:lnTo>
                <a:lnTo>
                  <a:pt x="2735656" y="422796"/>
                </a:lnTo>
                <a:lnTo>
                  <a:pt x="2735656" y="441312"/>
                </a:lnTo>
                <a:lnTo>
                  <a:pt x="2754173" y="441312"/>
                </a:lnTo>
                <a:lnTo>
                  <a:pt x="2754173" y="459829"/>
                </a:lnTo>
                <a:close/>
                <a:moveTo>
                  <a:pt x="3049753" y="944347"/>
                </a:moveTo>
                <a:lnTo>
                  <a:pt x="3025750" y="944347"/>
                </a:lnTo>
                <a:lnTo>
                  <a:pt x="3025750" y="968693"/>
                </a:lnTo>
                <a:lnTo>
                  <a:pt x="3001404" y="968693"/>
                </a:lnTo>
                <a:lnTo>
                  <a:pt x="3001404" y="992696"/>
                </a:lnTo>
                <a:lnTo>
                  <a:pt x="3025750" y="992696"/>
                </a:lnTo>
                <a:lnTo>
                  <a:pt x="3025750" y="1017041"/>
                </a:lnTo>
                <a:lnTo>
                  <a:pt x="3049753" y="1017041"/>
                </a:lnTo>
                <a:lnTo>
                  <a:pt x="3049753" y="992696"/>
                </a:lnTo>
                <a:lnTo>
                  <a:pt x="3074099" y="992696"/>
                </a:lnTo>
                <a:lnTo>
                  <a:pt x="3074099" y="968693"/>
                </a:lnTo>
                <a:lnTo>
                  <a:pt x="3049753" y="968693"/>
                </a:lnTo>
                <a:lnTo>
                  <a:pt x="3049753" y="944347"/>
                </a:lnTo>
                <a:close/>
                <a:moveTo>
                  <a:pt x="2616327" y="462229"/>
                </a:moveTo>
                <a:lnTo>
                  <a:pt x="2636215" y="462229"/>
                </a:lnTo>
                <a:lnTo>
                  <a:pt x="2636215" y="441998"/>
                </a:lnTo>
                <a:lnTo>
                  <a:pt x="2656447" y="441998"/>
                </a:lnTo>
                <a:lnTo>
                  <a:pt x="2656447" y="422110"/>
                </a:lnTo>
                <a:lnTo>
                  <a:pt x="2636215" y="422110"/>
                </a:lnTo>
                <a:lnTo>
                  <a:pt x="2636215" y="401879"/>
                </a:lnTo>
                <a:lnTo>
                  <a:pt x="2616327" y="401879"/>
                </a:lnTo>
                <a:lnTo>
                  <a:pt x="2616327" y="422110"/>
                </a:lnTo>
                <a:lnTo>
                  <a:pt x="2596096" y="422110"/>
                </a:lnTo>
                <a:lnTo>
                  <a:pt x="2596096" y="441998"/>
                </a:lnTo>
                <a:lnTo>
                  <a:pt x="2616327" y="441998"/>
                </a:lnTo>
                <a:lnTo>
                  <a:pt x="2616327" y="462229"/>
                </a:lnTo>
                <a:close/>
                <a:moveTo>
                  <a:pt x="2546033" y="604190"/>
                </a:moveTo>
                <a:lnTo>
                  <a:pt x="2569350" y="604190"/>
                </a:lnTo>
                <a:lnTo>
                  <a:pt x="2569350" y="580873"/>
                </a:lnTo>
                <a:lnTo>
                  <a:pt x="2592667" y="580873"/>
                </a:lnTo>
                <a:lnTo>
                  <a:pt x="2592667" y="557555"/>
                </a:lnTo>
                <a:lnTo>
                  <a:pt x="2569350" y="557555"/>
                </a:lnTo>
                <a:lnTo>
                  <a:pt x="2569350" y="534238"/>
                </a:lnTo>
                <a:lnTo>
                  <a:pt x="2546033" y="534238"/>
                </a:lnTo>
                <a:lnTo>
                  <a:pt x="2546033" y="557555"/>
                </a:lnTo>
                <a:lnTo>
                  <a:pt x="2522716" y="557555"/>
                </a:lnTo>
                <a:lnTo>
                  <a:pt x="2522716" y="580873"/>
                </a:lnTo>
                <a:lnTo>
                  <a:pt x="2546033" y="580873"/>
                </a:lnTo>
                <a:lnTo>
                  <a:pt x="2546033" y="604190"/>
                </a:lnTo>
                <a:close/>
                <a:moveTo>
                  <a:pt x="2775433" y="670712"/>
                </a:moveTo>
                <a:lnTo>
                  <a:pt x="2751430" y="670712"/>
                </a:lnTo>
                <a:lnTo>
                  <a:pt x="2751430" y="694373"/>
                </a:lnTo>
                <a:lnTo>
                  <a:pt x="2727770" y="694373"/>
                </a:lnTo>
                <a:lnTo>
                  <a:pt x="2727770" y="718376"/>
                </a:lnTo>
                <a:lnTo>
                  <a:pt x="2751430" y="718376"/>
                </a:lnTo>
                <a:lnTo>
                  <a:pt x="2751430" y="742036"/>
                </a:lnTo>
                <a:lnTo>
                  <a:pt x="2775433" y="742036"/>
                </a:lnTo>
                <a:lnTo>
                  <a:pt x="2775433" y="718376"/>
                </a:lnTo>
                <a:lnTo>
                  <a:pt x="2799093" y="718376"/>
                </a:lnTo>
                <a:lnTo>
                  <a:pt x="2799093" y="694373"/>
                </a:lnTo>
                <a:lnTo>
                  <a:pt x="2775433" y="694373"/>
                </a:lnTo>
                <a:lnTo>
                  <a:pt x="2775433" y="670712"/>
                </a:lnTo>
                <a:close/>
                <a:moveTo>
                  <a:pt x="2481568" y="180365"/>
                </a:moveTo>
                <a:lnTo>
                  <a:pt x="2496655" y="180365"/>
                </a:lnTo>
                <a:lnTo>
                  <a:pt x="2496655" y="165278"/>
                </a:lnTo>
                <a:lnTo>
                  <a:pt x="2511743" y="165278"/>
                </a:lnTo>
                <a:lnTo>
                  <a:pt x="2511743" y="150190"/>
                </a:lnTo>
                <a:lnTo>
                  <a:pt x="2496655" y="150190"/>
                </a:lnTo>
                <a:lnTo>
                  <a:pt x="2496655" y="135103"/>
                </a:lnTo>
                <a:lnTo>
                  <a:pt x="2481568" y="135103"/>
                </a:lnTo>
                <a:lnTo>
                  <a:pt x="2481568" y="150190"/>
                </a:lnTo>
                <a:lnTo>
                  <a:pt x="2466480" y="150190"/>
                </a:lnTo>
                <a:lnTo>
                  <a:pt x="2466480" y="165278"/>
                </a:lnTo>
                <a:lnTo>
                  <a:pt x="2481568" y="165278"/>
                </a:lnTo>
                <a:lnTo>
                  <a:pt x="2481568" y="180365"/>
                </a:lnTo>
                <a:close/>
                <a:moveTo>
                  <a:pt x="2548776" y="321297"/>
                </a:moveTo>
                <a:lnTo>
                  <a:pt x="2566607" y="321297"/>
                </a:lnTo>
                <a:lnTo>
                  <a:pt x="2566607" y="303809"/>
                </a:lnTo>
                <a:lnTo>
                  <a:pt x="2584094" y="303809"/>
                </a:lnTo>
                <a:lnTo>
                  <a:pt x="2584094" y="285979"/>
                </a:lnTo>
                <a:lnTo>
                  <a:pt x="2566607" y="285979"/>
                </a:lnTo>
                <a:lnTo>
                  <a:pt x="2566607" y="268491"/>
                </a:lnTo>
                <a:lnTo>
                  <a:pt x="2548776" y="268491"/>
                </a:lnTo>
                <a:lnTo>
                  <a:pt x="2548776" y="285979"/>
                </a:lnTo>
                <a:lnTo>
                  <a:pt x="2531288" y="285979"/>
                </a:lnTo>
                <a:lnTo>
                  <a:pt x="2531288" y="303809"/>
                </a:lnTo>
                <a:lnTo>
                  <a:pt x="2548776" y="303809"/>
                </a:lnTo>
                <a:lnTo>
                  <a:pt x="2548776" y="321297"/>
                </a:lnTo>
                <a:close/>
                <a:moveTo>
                  <a:pt x="2757259" y="176594"/>
                </a:moveTo>
                <a:lnTo>
                  <a:pt x="2769604" y="176594"/>
                </a:lnTo>
                <a:lnTo>
                  <a:pt x="2769604" y="163906"/>
                </a:lnTo>
                <a:lnTo>
                  <a:pt x="2782291" y="163906"/>
                </a:lnTo>
                <a:lnTo>
                  <a:pt x="2782291" y="151562"/>
                </a:lnTo>
                <a:lnTo>
                  <a:pt x="2769604" y="151562"/>
                </a:lnTo>
                <a:lnTo>
                  <a:pt x="2769604" y="138875"/>
                </a:lnTo>
                <a:lnTo>
                  <a:pt x="2757259" y="138875"/>
                </a:lnTo>
                <a:lnTo>
                  <a:pt x="2757259" y="151562"/>
                </a:lnTo>
                <a:lnTo>
                  <a:pt x="2744572" y="151562"/>
                </a:lnTo>
                <a:lnTo>
                  <a:pt x="2744572" y="163906"/>
                </a:lnTo>
                <a:lnTo>
                  <a:pt x="2757259" y="163906"/>
                </a:lnTo>
                <a:lnTo>
                  <a:pt x="2757259" y="176594"/>
                </a:lnTo>
                <a:close/>
                <a:moveTo>
                  <a:pt x="2821724" y="600075"/>
                </a:moveTo>
                <a:lnTo>
                  <a:pt x="2842298" y="600075"/>
                </a:lnTo>
                <a:lnTo>
                  <a:pt x="2842298" y="579501"/>
                </a:lnTo>
                <a:lnTo>
                  <a:pt x="2862872" y="579501"/>
                </a:lnTo>
                <a:lnTo>
                  <a:pt x="2862872" y="558927"/>
                </a:lnTo>
                <a:lnTo>
                  <a:pt x="2842298" y="558927"/>
                </a:lnTo>
                <a:lnTo>
                  <a:pt x="2842298" y="538353"/>
                </a:lnTo>
                <a:lnTo>
                  <a:pt x="2821724" y="538353"/>
                </a:lnTo>
                <a:lnTo>
                  <a:pt x="2821724" y="558927"/>
                </a:lnTo>
                <a:lnTo>
                  <a:pt x="2801150" y="558927"/>
                </a:lnTo>
                <a:lnTo>
                  <a:pt x="2801150" y="579501"/>
                </a:lnTo>
                <a:lnTo>
                  <a:pt x="2821724" y="579501"/>
                </a:lnTo>
                <a:lnTo>
                  <a:pt x="2821724" y="600075"/>
                </a:lnTo>
                <a:close/>
                <a:moveTo>
                  <a:pt x="2980830" y="808215"/>
                </a:moveTo>
                <a:lnTo>
                  <a:pt x="2957513" y="808215"/>
                </a:lnTo>
                <a:lnTo>
                  <a:pt x="2957513" y="831875"/>
                </a:lnTo>
                <a:lnTo>
                  <a:pt x="2933852" y="831875"/>
                </a:lnTo>
                <a:lnTo>
                  <a:pt x="2933852" y="855193"/>
                </a:lnTo>
                <a:lnTo>
                  <a:pt x="2957513" y="855193"/>
                </a:lnTo>
                <a:lnTo>
                  <a:pt x="2957513" y="878853"/>
                </a:lnTo>
                <a:lnTo>
                  <a:pt x="2980830" y="878853"/>
                </a:lnTo>
                <a:lnTo>
                  <a:pt x="2980830" y="855193"/>
                </a:lnTo>
                <a:lnTo>
                  <a:pt x="3004490" y="855193"/>
                </a:lnTo>
                <a:lnTo>
                  <a:pt x="3004490" y="831875"/>
                </a:lnTo>
                <a:lnTo>
                  <a:pt x="2980830" y="831875"/>
                </a:lnTo>
                <a:lnTo>
                  <a:pt x="2980830" y="808215"/>
                </a:lnTo>
                <a:close/>
                <a:moveTo>
                  <a:pt x="2962656" y="314439"/>
                </a:moveTo>
                <a:lnTo>
                  <a:pt x="2975686" y="314439"/>
                </a:lnTo>
                <a:lnTo>
                  <a:pt x="2975686" y="301409"/>
                </a:lnTo>
                <a:lnTo>
                  <a:pt x="2988716" y="301409"/>
                </a:lnTo>
                <a:lnTo>
                  <a:pt x="2988716" y="288379"/>
                </a:lnTo>
                <a:lnTo>
                  <a:pt x="2975686" y="288379"/>
                </a:lnTo>
                <a:lnTo>
                  <a:pt x="2975686" y="275349"/>
                </a:lnTo>
                <a:lnTo>
                  <a:pt x="2962656" y="275349"/>
                </a:lnTo>
                <a:lnTo>
                  <a:pt x="2962656" y="288379"/>
                </a:lnTo>
                <a:lnTo>
                  <a:pt x="2949626" y="288379"/>
                </a:lnTo>
                <a:lnTo>
                  <a:pt x="2949626" y="301409"/>
                </a:lnTo>
                <a:lnTo>
                  <a:pt x="2962656" y="301409"/>
                </a:lnTo>
                <a:lnTo>
                  <a:pt x="2962656" y="314439"/>
                </a:lnTo>
                <a:close/>
                <a:moveTo>
                  <a:pt x="3030208" y="454685"/>
                </a:moveTo>
                <a:lnTo>
                  <a:pt x="3045295" y="454685"/>
                </a:lnTo>
                <a:lnTo>
                  <a:pt x="3045295" y="439598"/>
                </a:lnTo>
                <a:lnTo>
                  <a:pt x="3060383" y="439598"/>
                </a:lnTo>
                <a:lnTo>
                  <a:pt x="3060383" y="424510"/>
                </a:lnTo>
                <a:lnTo>
                  <a:pt x="3045295" y="424510"/>
                </a:lnTo>
                <a:lnTo>
                  <a:pt x="3045295" y="409423"/>
                </a:lnTo>
                <a:lnTo>
                  <a:pt x="3030208" y="409423"/>
                </a:lnTo>
                <a:lnTo>
                  <a:pt x="3030208" y="424510"/>
                </a:lnTo>
                <a:lnTo>
                  <a:pt x="3015120" y="424510"/>
                </a:lnTo>
                <a:lnTo>
                  <a:pt x="3015120" y="439598"/>
                </a:lnTo>
                <a:lnTo>
                  <a:pt x="3030208" y="439598"/>
                </a:lnTo>
                <a:lnTo>
                  <a:pt x="3030208" y="454685"/>
                </a:lnTo>
                <a:close/>
                <a:moveTo>
                  <a:pt x="3027807" y="736549"/>
                </a:moveTo>
                <a:lnTo>
                  <a:pt x="3047695" y="736549"/>
                </a:lnTo>
                <a:lnTo>
                  <a:pt x="3047695" y="716318"/>
                </a:lnTo>
                <a:lnTo>
                  <a:pt x="3067927" y="716318"/>
                </a:lnTo>
                <a:lnTo>
                  <a:pt x="3067927" y="696430"/>
                </a:lnTo>
                <a:lnTo>
                  <a:pt x="3047695" y="696430"/>
                </a:lnTo>
                <a:lnTo>
                  <a:pt x="3047695" y="676199"/>
                </a:lnTo>
                <a:lnTo>
                  <a:pt x="3027807" y="676199"/>
                </a:lnTo>
                <a:lnTo>
                  <a:pt x="3027807" y="696430"/>
                </a:lnTo>
                <a:lnTo>
                  <a:pt x="3007576" y="696430"/>
                </a:lnTo>
                <a:lnTo>
                  <a:pt x="3007576" y="716318"/>
                </a:lnTo>
                <a:lnTo>
                  <a:pt x="3027807" y="716318"/>
                </a:lnTo>
                <a:lnTo>
                  <a:pt x="3027807" y="736549"/>
                </a:lnTo>
                <a:close/>
                <a:moveTo>
                  <a:pt x="2889619" y="739635"/>
                </a:moveTo>
                <a:lnTo>
                  <a:pt x="2911564" y="739635"/>
                </a:lnTo>
                <a:lnTo>
                  <a:pt x="2911564" y="717347"/>
                </a:lnTo>
                <a:lnTo>
                  <a:pt x="2933852" y="717347"/>
                </a:lnTo>
                <a:lnTo>
                  <a:pt x="2933852" y="695401"/>
                </a:lnTo>
                <a:lnTo>
                  <a:pt x="2911564" y="695401"/>
                </a:lnTo>
                <a:lnTo>
                  <a:pt x="2911564" y="673113"/>
                </a:lnTo>
                <a:lnTo>
                  <a:pt x="2889619" y="673113"/>
                </a:lnTo>
                <a:lnTo>
                  <a:pt x="2889619" y="695401"/>
                </a:lnTo>
                <a:lnTo>
                  <a:pt x="2867330" y="695401"/>
                </a:lnTo>
                <a:lnTo>
                  <a:pt x="2867330" y="717347"/>
                </a:lnTo>
                <a:lnTo>
                  <a:pt x="2889619" y="717347"/>
                </a:lnTo>
                <a:lnTo>
                  <a:pt x="2889619" y="739635"/>
                </a:lnTo>
                <a:close/>
                <a:moveTo>
                  <a:pt x="2824468" y="317183"/>
                </a:moveTo>
                <a:lnTo>
                  <a:pt x="2839555" y="317183"/>
                </a:lnTo>
                <a:lnTo>
                  <a:pt x="2839555" y="302438"/>
                </a:lnTo>
                <a:lnTo>
                  <a:pt x="2854300" y="302438"/>
                </a:lnTo>
                <a:lnTo>
                  <a:pt x="2854300" y="287350"/>
                </a:lnTo>
                <a:lnTo>
                  <a:pt x="2839555" y="287350"/>
                </a:lnTo>
                <a:lnTo>
                  <a:pt x="2839555" y="272606"/>
                </a:lnTo>
                <a:lnTo>
                  <a:pt x="2824468" y="272606"/>
                </a:lnTo>
                <a:lnTo>
                  <a:pt x="2824468" y="287350"/>
                </a:lnTo>
                <a:lnTo>
                  <a:pt x="2809723" y="287350"/>
                </a:lnTo>
                <a:lnTo>
                  <a:pt x="2809723" y="302438"/>
                </a:lnTo>
                <a:lnTo>
                  <a:pt x="2824468" y="302438"/>
                </a:lnTo>
                <a:lnTo>
                  <a:pt x="2824468" y="317183"/>
                </a:lnTo>
                <a:close/>
                <a:moveTo>
                  <a:pt x="2892019" y="457429"/>
                </a:moveTo>
                <a:lnTo>
                  <a:pt x="2909164" y="457429"/>
                </a:lnTo>
                <a:lnTo>
                  <a:pt x="2909164" y="440627"/>
                </a:lnTo>
                <a:lnTo>
                  <a:pt x="2925966" y="440627"/>
                </a:lnTo>
                <a:lnTo>
                  <a:pt x="2925966" y="423482"/>
                </a:lnTo>
                <a:lnTo>
                  <a:pt x="2909164" y="423482"/>
                </a:lnTo>
                <a:lnTo>
                  <a:pt x="2909164" y="406679"/>
                </a:lnTo>
                <a:lnTo>
                  <a:pt x="2892019" y="406679"/>
                </a:lnTo>
                <a:lnTo>
                  <a:pt x="2892019" y="423482"/>
                </a:lnTo>
                <a:lnTo>
                  <a:pt x="2875217" y="423482"/>
                </a:lnTo>
                <a:lnTo>
                  <a:pt x="2875217" y="440627"/>
                </a:lnTo>
                <a:lnTo>
                  <a:pt x="2892019" y="440627"/>
                </a:lnTo>
                <a:lnTo>
                  <a:pt x="2892019" y="457429"/>
                </a:lnTo>
                <a:close/>
                <a:moveTo>
                  <a:pt x="2959913" y="597332"/>
                </a:moveTo>
                <a:lnTo>
                  <a:pt x="2978429" y="597332"/>
                </a:lnTo>
                <a:lnTo>
                  <a:pt x="2978429" y="578472"/>
                </a:lnTo>
                <a:lnTo>
                  <a:pt x="2997289" y="578472"/>
                </a:lnTo>
                <a:lnTo>
                  <a:pt x="2997289" y="559956"/>
                </a:lnTo>
                <a:lnTo>
                  <a:pt x="2978429" y="559956"/>
                </a:lnTo>
                <a:lnTo>
                  <a:pt x="2978429" y="541096"/>
                </a:lnTo>
                <a:lnTo>
                  <a:pt x="2959913" y="541096"/>
                </a:lnTo>
                <a:lnTo>
                  <a:pt x="2959913" y="559956"/>
                </a:lnTo>
                <a:lnTo>
                  <a:pt x="2941054" y="559956"/>
                </a:lnTo>
                <a:lnTo>
                  <a:pt x="2941054" y="578472"/>
                </a:lnTo>
                <a:lnTo>
                  <a:pt x="2959913" y="578472"/>
                </a:lnTo>
                <a:lnTo>
                  <a:pt x="2959913" y="597332"/>
                </a:lnTo>
                <a:close/>
                <a:moveTo>
                  <a:pt x="2230907" y="2126323"/>
                </a:moveTo>
                <a:lnTo>
                  <a:pt x="2230907" y="2094090"/>
                </a:lnTo>
                <a:lnTo>
                  <a:pt x="2263140" y="2094090"/>
                </a:lnTo>
                <a:lnTo>
                  <a:pt x="2263140" y="2061858"/>
                </a:lnTo>
                <a:lnTo>
                  <a:pt x="2230907" y="2061858"/>
                </a:lnTo>
                <a:lnTo>
                  <a:pt x="2230907" y="2029625"/>
                </a:lnTo>
                <a:lnTo>
                  <a:pt x="2198675" y="2029625"/>
                </a:lnTo>
                <a:lnTo>
                  <a:pt x="2198675" y="2061858"/>
                </a:lnTo>
                <a:lnTo>
                  <a:pt x="2166442" y="2061858"/>
                </a:lnTo>
                <a:lnTo>
                  <a:pt x="2166442" y="2094090"/>
                </a:lnTo>
                <a:lnTo>
                  <a:pt x="2198675" y="2094090"/>
                </a:lnTo>
                <a:lnTo>
                  <a:pt x="2198675" y="2126323"/>
                </a:lnTo>
                <a:lnTo>
                  <a:pt x="2230907" y="2126323"/>
                </a:lnTo>
                <a:close/>
                <a:moveTo>
                  <a:pt x="1476527" y="1989163"/>
                </a:moveTo>
                <a:lnTo>
                  <a:pt x="1476527" y="1956930"/>
                </a:lnTo>
                <a:lnTo>
                  <a:pt x="1508760" y="1956930"/>
                </a:lnTo>
                <a:lnTo>
                  <a:pt x="1508760" y="1924698"/>
                </a:lnTo>
                <a:lnTo>
                  <a:pt x="1476527" y="1924698"/>
                </a:lnTo>
                <a:lnTo>
                  <a:pt x="1476527" y="1892465"/>
                </a:lnTo>
                <a:lnTo>
                  <a:pt x="1444295" y="1892465"/>
                </a:lnTo>
                <a:lnTo>
                  <a:pt x="1444295" y="1924698"/>
                </a:lnTo>
                <a:lnTo>
                  <a:pt x="1412062" y="1924698"/>
                </a:lnTo>
                <a:lnTo>
                  <a:pt x="1412062" y="1956930"/>
                </a:lnTo>
                <a:lnTo>
                  <a:pt x="1444295" y="1956930"/>
                </a:lnTo>
                <a:lnTo>
                  <a:pt x="1444295" y="1989163"/>
                </a:lnTo>
                <a:lnTo>
                  <a:pt x="1476527" y="1989163"/>
                </a:lnTo>
                <a:close/>
                <a:moveTo>
                  <a:pt x="1545107" y="2126323"/>
                </a:moveTo>
                <a:lnTo>
                  <a:pt x="1545107" y="2094090"/>
                </a:lnTo>
                <a:lnTo>
                  <a:pt x="1577340" y="2094090"/>
                </a:lnTo>
                <a:lnTo>
                  <a:pt x="1577340" y="2061858"/>
                </a:lnTo>
                <a:lnTo>
                  <a:pt x="1545107" y="2061858"/>
                </a:lnTo>
                <a:lnTo>
                  <a:pt x="1545107" y="2029625"/>
                </a:lnTo>
                <a:lnTo>
                  <a:pt x="1512875" y="2029625"/>
                </a:lnTo>
                <a:lnTo>
                  <a:pt x="1512875" y="2061858"/>
                </a:lnTo>
                <a:lnTo>
                  <a:pt x="1480642" y="2061858"/>
                </a:lnTo>
                <a:lnTo>
                  <a:pt x="1480642" y="2094090"/>
                </a:lnTo>
                <a:lnTo>
                  <a:pt x="1512875" y="2094090"/>
                </a:lnTo>
                <a:lnTo>
                  <a:pt x="1512875" y="2126323"/>
                </a:lnTo>
                <a:lnTo>
                  <a:pt x="1545107" y="2126323"/>
                </a:lnTo>
                <a:close/>
                <a:moveTo>
                  <a:pt x="1613687" y="2263483"/>
                </a:moveTo>
                <a:lnTo>
                  <a:pt x="1613687" y="2231250"/>
                </a:lnTo>
                <a:lnTo>
                  <a:pt x="1645920" y="2231250"/>
                </a:lnTo>
                <a:lnTo>
                  <a:pt x="1645920" y="2199018"/>
                </a:lnTo>
                <a:lnTo>
                  <a:pt x="1613687" y="2199018"/>
                </a:lnTo>
                <a:lnTo>
                  <a:pt x="1613687" y="2166785"/>
                </a:lnTo>
                <a:lnTo>
                  <a:pt x="1581455" y="2166785"/>
                </a:lnTo>
                <a:lnTo>
                  <a:pt x="1581455" y="2199018"/>
                </a:lnTo>
                <a:lnTo>
                  <a:pt x="1549222" y="2199018"/>
                </a:lnTo>
                <a:lnTo>
                  <a:pt x="1549222" y="2231250"/>
                </a:lnTo>
                <a:lnTo>
                  <a:pt x="1581455" y="2231250"/>
                </a:lnTo>
                <a:lnTo>
                  <a:pt x="1581455" y="2263483"/>
                </a:lnTo>
                <a:lnTo>
                  <a:pt x="1613687" y="2263483"/>
                </a:lnTo>
                <a:close/>
                <a:moveTo>
                  <a:pt x="1819427" y="2126323"/>
                </a:moveTo>
                <a:lnTo>
                  <a:pt x="1819427" y="2094090"/>
                </a:lnTo>
                <a:lnTo>
                  <a:pt x="1851660" y="2094090"/>
                </a:lnTo>
                <a:lnTo>
                  <a:pt x="1851660" y="2061858"/>
                </a:lnTo>
                <a:lnTo>
                  <a:pt x="1819427" y="2061858"/>
                </a:lnTo>
                <a:lnTo>
                  <a:pt x="1819427" y="2029625"/>
                </a:lnTo>
                <a:lnTo>
                  <a:pt x="1787195" y="2029625"/>
                </a:lnTo>
                <a:lnTo>
                  <a:pt x="1787195" y="2061858"/>
                </a:lnTo>
                <a:lnTo>
                  <a:pt x="1754962" y="2061858"/>
                </a:lnTo>
                <a:lnTo>
                  <a:pt x="1754962" y="2094090"/>
                </a:lnTo>
                <a:lnTo>
                  <a:pt x="1787195" y="2094090"/>
                </a:lnTo>
                <a:lnTo>
                  <a:pt x="1787195" y="2126323"/>
                </a:lnTo>
                <a:lnTo>
                  <a:pt x="1819427" y="2126323"/>
                </a:lnTo>
                <a:close/>
                <a:moveTo>
                  <a:pt x="1682267" y="2126323"/>
                </a:moveTo>
                <a:lnTo>
                  <a:pt x="1682267" y="2094090"/>
                </a:lnTo>
                <a:lnTo>
                  <a:pt x="1714500" y="2094090"/>
                </a:lnTo>
                <a:lnTo>
                  <a:pt x="1714500" y="2061858"/>
                </a:lnTo>
                <a:lnTo>
                  <a:pt x="1682267" y="2061858"/>
                </a:lnTo>
                <a:lnTo>
                  <a:pt x="1682267" y="2029625"/>
                </a:lnTo>
                <a:lnTo>
                  <a:pt x="1650035" y="2029625"/>
                </a:lnTo>
                <a:lnTo>
                  <a:pt x="1650035" y="2061858"/>
                </a:lnTo>
                <a:lnTo>
                  <a:pt x="1617802" y="2061858"/>
                </a:lnTo>
                <a:lnTo>
                  <a:pt x="1617802" y="2094090"/>
                </a:lnTo>
                <a:lnTo>
                  <a:pt x="1650035" y="2094090"/>
                </a:lnTo>
                <a:lnTo>
                  <a:pt x="1650035" y="2126323"/>
                </a:lnTo>
                <a:lnTo>
                  <a:pt x="1682267" y="2126323"/>
                </a:lnTo>
                <a:close/>
                <a:moveTo>
                  <a:pt x="1750847" y="2263483"/>
                </a:moveTo>
                <a:lnTo>
                  <a:pt x="1750847" y="2231250"/>
                </a:lnTo>
                <a:lnTo>
                  <a:pt x="1783080" y="2231250"/>
                </a:lnTo>
                <a:lnTo>
                  <a:pt x="1783080" y="2199018"/>
                </a:lnTo>
                <a:lnTo>
                  <a:pt x="1750847" y="2199018"/>
                </a:lnTo>
                <a:lnTo>
                  <a:pt x="1750847" y="2166785"/>
                </a:lnTo>
                <a:lnTo>
                  <a:pt x="1718615" y="2166785"/>
                </a:lnTo>
                <a:lnTo>
                  <a:pt x="1718615" y="2199018"/>
                </a:lnTo>
                <a:lnTo>
                  <a:pt x="1686382" y="2199018"/>
                </a:lnTo>
                <a:lnTo>
                  <a:pt x="1686382" y="2231250"/>
                </a:lnTo>
                <a:lnTo>
                  <a:pt x="1718615" y="2231250"/>
                </a:lnTo>
                <a:lnTo>
                  <a:pt x="1718615" y="2263483"/>
                </a:lnTo>
                <a:lnTo>
                  <a:pt x="1750847" y="2263483"/>
                </a:lnTo>
                <a:close/>
                <a:moveTo>
                  <a:pt x="1407947" y="2126323"/>
                </a:moveTo>
                <a:lnTo>
                  <a:pt x="1407947" y="2094090"/>
                </a:lnTo>
                <a:lnTo>
                  <a:pt x="1440180" y="2094090"/>
                </a:lnTo>
                <a:lnTo>
                  <a:pt x="1440180" y="2061858"/>
                </a:lnTo>
                <a:lnTo>
                  <a:pt x="1407947" y="2061858"/>
                </a:lnTo>
                <a:lnTo>
                  <a:pt x="1407947" y="2029625"/>
                </a:lnTo>
                <a:lnTo>
                  <a:pt x="1375715" y="2029625"/>
                </a:lnTo>
                <a:lnTo>
                  <a:pt x="1375715" y="2061858"/>
                </a:lnTo>
                <a:lnTo>
                  <a:pt x="1343482" y="2061858"/>
                </a:lnTo>
                <a:lnTo>
                  <a:pt x="1343482" y="2094090"/>
                </a:lnTo>
                <a:lnTo>
                  <a:pt x="1375715" y="2094090"/>
                </a:lnTo>
                <a:lnTo>
                  <a:pt x="1375715" y="2126323"/>
                </a:lnTo>
                <a:lnTo>
                  <a:pt x="1407947" y="2126323"/>
                </a:lnTo>
                <a:close/>
                <a:moveTo>
                  <a:pt x="1202207" y="1989163"/>
                </a:moveTo>
                <a:lnTo>
                  <a:pt x="1202207" y="1956930"/>
                </a:lnTo>
                <a:lnTo>
                  <a:pt x="1234440" y="1956930"/>
                </a:lnTo>
                <a:lnTo>
                  <a:pt x="1234440" y="1924698"/>
                </a:lnTo>
                <a:lnTo>
                  <a:pt x="1202207" y="1924698"/>
                </a:lnTo>
                <a:lnTo>
                  <a:pt x="1202207" y="1892465"/>
                </a:lnTo>
                <a:lnTo>
                  <a:pt x="1169975" y="1892465"/>
                </a:lnTo>
                <a:lnTo>
                  <a:pt x="1169975" y="1924698"/>
                </a:lnTo>
                <a:lnTo>
                  <a:pt x="1137742" y="1924698"/>
                </a:lnTo>
                <a:lnTo>
                  <a:pt x="1137742" y="1956930"/>
                </a:lnTo>
                <a:lnTo>
                  <a:pt x="1169975" y="1956930"/>
                </a:lnTo>
                <a:lnTo>
                  <a:pt x="1169975" y="1989163"/>
                </a:lnTo>
                <a:lnTo>
                  <a:pt x="1202207" y="1989163"/>
                </a:lnTo>
                <a:close/>
                <a:moveTo>
                  <a:pt x="1270787" y="2126323"/>
                </a:moveTo>
                <a:lnTo>
                  <a:pt x="1270787" y="2094090"/>
                </a:lnTo>
                <a:lnTo>
                  <a:pt x="1303020" y="2094090"/>
                </a:lnTo>
                <a:lnTo>
                  <a:pt x="1303020" y="2061858"/>
                </a:lnTo>
                <a:lnTo>
                  <a:pt x="1270787" y="2061858"/>
                </a:lnTo>
                <a:lnTo>
                  <a:pt x="1270787" y="2029625"/>
                </a:lnTo>
                <a:lnTo>
                  <a:pt x="1238555" y="2029625"/>
                </a:lnTo>
                <a:lnTo>
                  <a:pt x="1238555" y="2061858"/>
                </a:lnTo>
                <a:lnTo>
                  <a:pt x="1206322" y="2061858"/>
                </a:lnTo>
                <a:lnTo>
                  <a:pt x="1206322" y="2094090"/>
                </a:lnTo>
                <a:lnTo>
                  <a:pt x="1238555" y="2094090"/>
                </a:lnTo>
                <a:lnTo>
                  <a:pt x="1238555" y="2126323"/>
                </a:lnTo>
                <a:lnTo>
                  <a:pt x="1270787" y="2126323"/>
                </a:lnTo>
                <a:close/>
                <a:moveTo>
                  <a:pt x="1339367" y="1989163"/>
                </a:moveTo>
                <a:lnTo>
                  <a:pt x="1339367" y="1956930"/>
                </a:lnTo>
                <a:lnTo>
                  <a:pt x="1371600" y="1956930"/>
                </a:lnTo>
                <a:lnTo>
                  <a:pt x="1371600" y="1924698"/>
                </a:lnTo>
                <a:lnTo>
                  <a:pt x="1339367" y="1924698"/>
                </a:lnTo>
                <a:lnTo>
                  <a:pt x="1339367" y="1892465"/>
                </a:lnTo>
                <a:lnTo>
                  <a:pt x="1307135" y="1892465"/>
                </a:lnTo>
                <a:lnTo>
                  <a:pt x="1307135" y="1924698"/>
                </a:lnTo>
                <a:lnTo>
                  <a:pt x="1274902" y="1924698"/>
                </a:lnTo>
                <a:lnTo>
                  <a:pt x="1274902" y="1956930"/>
                </a:lnTo>
                <a:lnTo>
                  <a:pt x="1307135" y="1956930"/>
                </a:lnTo>
                <a:lnTo>
                  <a:pt x="1307135" y="1989163"/>
                </a:lnTo>
                <a:lnTo>
                  <a:pt x="1339367" y="1989163"/>
                </a:lnTo>
                <a:close/>
                <a:moveTo>
                  <a:pt x="2299487" y="2263483"/>
                </a:moveTo>
                <a:lnTo>
                  <a:pt x="2299487" y="2231250"/>
                </a:lnTo>
                <a:lnTo>
                  <a:pt x="2331720" y="2231250"/>
                </a:lnTo>
                <a:lnTo>
                  <a:pt x="2331720" y="2199018"/>
                </a:lnTo>
                <a:lnTo>
                  <a:pt x="2299487" y="2199018"/>
                </a:lnTo>
                <a:lnTo>
                  <a:pt x="2299487" y="2166785"/>
                </a:lnTo>
                <a:lnTo>
                  <a:pt x="2267255" y="2166785"/>
                </a:lnTo>
                <a:lnTo>
                  <a:pt x="2267255" y="2199018"/>
                </a:lnTo>
                <a:lnTo>
                  <a:pt x="2235022" y="2199018"/>
                </a:lnTo>
                <a:lnTo>
                  <a:pt x="2235022" y="2231250"/>
                </a:lnTo>
                <a:lnTo>
                  <a:pt x="2267255" y="2231250"/>
                </a:lnTo>
                <a:lnTo>
                  <a:pt x="2267255" y="2263483"/>
                </a:lnTo>
                <a:lnTo>
                  <a:pt x="2299487" y="2263483"/>
                </a:lnTo>
                <a:close/>
                <a:moveTo>
                  <a:pt x="2368067" y="2126323"/>
                </a:moveTo>
                <a:lnTo>
                  <a:pt x="2368067" y="2094090"/>
                </a:lnTo>
                <a:lnTo>
                  <a:pt x="2400300" y="2094090"/>
                </a:lnTo>
                <a:lnTo>
                  <a:pt x="2400300" y="2061858"/>
                </a:lnTo>
                <a:lnTo>
                  <a:pt x="2368067" y="2061858"/>
                </a:lnTo>
                <a:lnTo>
                  <a:pt x="2368067" y="2029625"/>
                </a:lnTo>
                <a:lnTo>
                  <a:pt x="2335835" y="2029625"/>
                </a:lnTo>
                <a:lnTo>
                  <a:pt x="2335835" y="2061858"/>
                </a:lnTo>
                <a:lnTo>
                  <a:pt x="2303602" y="2061858"/>
                </a:lnTo>
                <a:lnTo>
                  <a:pt x="2303602" y="2094090"/>
                </a:lnTo>
                <a:lnTo>
                  <a:pt x="2335835" y="2094090"/>
                </a:lnTo>
                <a:lnTo>
                  <a:pt x="2335835" y="2126323"/>
                </a:lnTo>
                <a:lnTo>
                  <a:pt x="2368067" y="2126323"/>
                </a:lnTo>
                <a:close/>
                <a:moveTo>
                  <a:pt x="1888007" y="2263483"/>
                </a:moveTo>
                <a:lnTo>
                  <a:pt x="1888007" y="2231250"/>
                </a:lnTo>
                <a:lnTo>
                  <a:pt x="1920240" y="2231250"/>
                </a:lnTo>
                <a:lnTo>
                  <a:pt x="1920240" y="2199018"/>
                </a:lnTo>
                <a:lnTo>
                  <a:pt x="1888007" y="2199018"/>
                </a:lnTo>
                <a:lnTo>
                  <a:pt x="1888007" y="2166785"/>
                </a:lnTo>
                <a:lnTo>
                  <a:pt x="1855775" y="2166785"/>
                </a:lnTo>
                <a:lnTo>
                  <a:pt x="1855775" y="2199018"/>
                </a:lnTo>
                <a:lnTo>
                  <a:pt x="1823542" y="2199018"/>
                </a:lnTo>
                <a:lnTo>
                  <a:pt x="1823542" y="2231250"/>
                </a:lnTo>
                <a:lnTo>
                  <a:pt x="1855775" y="2231250"/>
                </a:lnTo>
                <a:lnTo>
                  <a:pt x="1855775" y="2263483"/>
                </a:lnTo>
                <a:lnTo>
                  <a:pt x="1888007" y="2263483"/>
                </a:lnTo>
                <a:close/>
                <a:moveTo>
                  <a:pt x="2436647" y="2263483"/>
                </a:moveTo>
                <a:lnTo>
                  <a:pt x="2436647" y="2231250"/>
                </a:lnTo>
                <a:lnTo>
                  <a:pt x="2468880" y="2231250"/>
                </a:lnTo>
                <a:lnTo>
                  <a:pt x="2468880" y="2199018"/>
                </a:lnTo>
                <a:lnTo>
                  <a:pt x="2436647" y="2199018"/>
                </a:lnTo>
                <a:lnTo>
                  <a:pt x="2436647" y="2166785"/>
                </a:lnTo>
                <a:lnTo>
                  <a:pt x="2404415" y="2166785"/>
                </a:lnTo>
                <a:lnTo>
                  <a:pt x="2404415" y="2199018"/>
                </a:lnTo>
                <a:lnTo>
                  <a:pt x="2372182" y="2199018"/>
                </a:lnTo>
                <a:lnTo>
                  <a:pt x="2372182" y="2231250"/>
                </a:lnTo>
                <a:lnTo>
                  <a:pt x="2404415" y="2231250"/>
                </a:lnTo>
                <a:lnTo>
                  <a:pt x="2404415" y="2263483"/>
                </a:lnTo>
                <a:lnTo>
                  <a:pt x="2436647" y="2263483"/>
                </a:lnTo>
                <a:close/>
                <a:moveTo>
                  <a:pt x="2478481" y="463944"/>
                </a:moveTo>
                <a:lnTo>
                  <a:pt x="2499741" y="463944"/>
                </a:lnTo>
                <a:lnTo>
                  <a:pt x="2499741" y="442684"/>
                </a:lnTo>
                <a:lnTo>
                  <a:pt x="2521001" y="442684"/>
                </a:lnTo>
                <a:lnTo>
                  <a:pt x="2521001" y="421424"/>
                </a:lnTo>
                <a:lnTo>
                  <a:pt x="2499741" y="421424"/>
                </a:lnTo>
                <a:lnTo>
                  <a:pt x="2499741" y="400164"/>
                </a:lnTo>
                <a:lnTo>
                  <a:pt x="2478481" y="400164"/>
                </a:lnTo>
                <a:lnTo>
                  <a:pt x="2478481" y="421424"/>
                </a:lnTo>
                <a:lnTo>
                  <a:pt x="2457221" y="421424"/>
                </a:lnTo>
                <a:lnTo>
                  <a:pt x="2457221" y="442684"/>
                </a:lnTo>
                <a:lnTo>
                  <a:pt x="2478481" y="442684"/>
                </a:lnTo>
                <a:lnTo>
                  <a:pt x="2478481" y="463944"/>
                </a:lnTo>
                <a:close/>
                <a:moveTo>
                  <a:pt x="1238555" y="1755305"/>
                </a:moveTo>
                <a:lnTo>
                  <a:pt x="1238555" y="1787538"/>
                </a:lnTo>
                <a:lnTo>
                  <a:pt x="1206322" y="1787538"/>
                </a:lnTo>
                <a:lnTo>
                  <a:pt x="1206322" y="1819770"/>
                </a:lnTo>
                <a:lnTo>
                  <a:pt x="1238555" y="1819770"/>
                </a:lnTo>
                <a:lnTo>
                  <a:pt x="1238555" y="1852003"/>
                </a:lnTo>
                <a:lnTo>
                  <a:pt x="1270787" y="1852003"/>
                </a:lnTo>
                <a:lnTo>
                  <a:pt x="1270787" y="1819770"/>
                </a:lnTo>
                <a:lnTo>
                  <a:pt x="1303020" y="1819770"/>
                </a:lnTo>
                <a:lnTo>
                  <a:pt x="1303020" y="1787538"/>
                </a:lnTo>
                <a:lnTo>
                  <a:pt x="1270787" y="1787538"/>
                </a:lnTo>
                <a:lnTo>
                  <a:pt x="1270787" y="1755305"/>
                </a:lnTo>
                <a:lnTo>
                  <a:pt x="1238555" y="1755305"/>
                </a:lnTo>
                <a:close/>
                <a:moveTo>
                  <a:pt x="2025167" y="2263483"/>
                </a:moveTo>
                <a:lnTo>
                  <a:pt x="2025167" y="2231250"/>
                </a:lnTo>
                <a:lnTo>
                  <a:pt x="2057400" y="2231250"/>
                </a:lnTo>
                <a:lnTo>
                  <a:pt x="2057400" y="2199018"/>
                </a:lnTo>
                <a:lnTo>
                  <a:pt x="2025167" y="2199018"/>
                </a:lnTo>
                <a:lnTo>
                  <a:pt x="2025167" y="2166785"/>
                </a:lnTo>
                <a:lnTo>
                  <a:pt x="1992935" y="2166785"/>
                </a:lnTo>
                <a:lnTo>
                  <a:pt x="1992935" y="2199018"/>
                </a:lnTo>
                <a:lnTo>
                  <a:pt x="1960702" y="2199018"/>
                </a:lnTo>
                <a:lnTo>
                  <a:pt x="1960702" y="2231250"/>
                </a:lnTo>
                <a:lnTo>
                  <a:pt x="1992935" y="2231250"/>
                </a:lnTo>
                <a:lnTo>
                  <a:pt x="1992935" y="2263483"/>
                </a:lnTo>
                <a:lnTo>
                  <a:pt x="2025167" y="2263483"/>
                </a:lnTo>
                <a:close/>
                <a:moveTo>
                  <a:pt x="1956587" y="2126323"/>
                </a:moveTo>
                <a:lnTo>
                  <a:pt x="1956587" y="2094090"/>
                </a:lnTo>
                <a:lnTo>
                  <a:pt x="1988820" y="2094090"/>
                </a:lnTo>
                <a:lnTo>
                  <a:pt x="1988820" y="2061858"/>
                </a:lnTo>
                <a:lnTo>
                  <a:pt x="1956587" y="2061858"/>
                </a:lnTo>
                <a:lnTo>
                  <a:pt x="1956587" y="2029625"/>
                </a:lnTo>
                <a:lnTo>
                  <a:pt x="1924355" y="2029625"/>
                </a:lnTo>
                <a:lnTo>
                  <a:pt x="1924355" y="2061858"/>
                </a:lnTo>
                <a:lnTo>
                  <a:pt x="1892122" y="2061858"/>
                </a:lnTo>
                <a:lnTo>
                  <a:pt x="1892122" y="2094090"/>
                </a:lnTo>
                <a:lnTo>
                  <a:pt x="1924355" y="2094090"/>
                </a:lnTo>
                <a:lnTo>
                  <a:pt x="1924355" y="2126323"/>
                </a:lnTo>
                <a:lnTo>
                  <a:pt x="1956587" y="2126323"/>
                </a:lnTo>
                <a:close/>
                <a:moveTo>
                  <a:pt x="2093747" y="2126323"/>
                </a:moveTo>
                <a:lnTo>
                  <a:pt x="2093747" y="2094090"/>
                </a:lnTo>
                <a:lnTo>
                  <a:pt x="2125980" y="2094090"/>
                </a:lnTo>
                <a:lnTo>
                  <a:pt x="2125980" y="2061858"/>
                </a:lnTo>
                <a:lnTo>
                  <a:pt x="2093747" y="2061858"/>
                </a:lnTo>
                <a:lnTo>
                  <a:pt x="2093747" y="2029625"/>
                </a:lnTo>
                <a:lnTo>
                  <a:pt x="2061515" y="2029625"/>
                </a:lnTo>
                <a:lnTo>
                  <a:pt x="2061515" y="2061858"/>
                </a:lnTo>
                <a:lnTo>
                  <a:pt x="2029282" y="2061858"/>
                </a:lnTo>
                <a:lnTo>
                  <a:pt x="2029282" y="2094090"/>
                </a:lnTo>
                <a:lnTo>
                  <a:pt x="2061515" y="2094090"/>
                </a:lnTo>
                <a:lnTo>
                  <a:pt x="2061515" y="2126323"/>
                </a:lnTo>
                <a:lnTo>
                  <a:pt x="2093747" y="2126323"/>
                </a:lnTo>
                <a:close/>
                <a:moveTo>
                  <a:pt x="2162327" y="2263483"/>
                </a:moveTo>
                <a:lnTo>
                  <a:pt x="2162327" y="2231250"/>
                </a:lnTo>
                <a:lnTo>
                  <a:pt x="2194560" y="2231250"/>
                </a:lnTo>
                <a:lnTo>
                  <a:pt x="2194560" y="2199018"/>
                </a:lnTo>
                <a:lnTo>
                  <a:pt x="2162327" y="2199018"/>
                </a:lnTo>
                <a:lnTo>
                  <a:pt x="2162327" y="2166785"/>
                </a:lnTo>
                <a:lnTo>
                  <a:pt x="2130095" y="2166785"/>
                </a:lnTo>
                <a:lnTo>
                  <a:pt x="2130095" y="2199018"/>
                </a:lnTo>
                <a:lnTo>
                  <a:pt x="2097862" y="2199018"/>
                </a:lnTo>
                <a:lnTo>
                  <a:pt x="2097862" y="2231250"/>
                </a:lnTo>
                <a:lnTo>
                  <a:pt x="2130095" y="2231250"/>
                </a:lnTo>
                <a:lnTo>
                  <a:pt x="2130095" y="2263483"/>
                </a:lnTo>
                <a:lnTo>
                  <a:pt x="2162327" y="2263483"/>
                </a:lnTo>
                <a:close/>
                <a:moveTo>
                  <a:pt x="1581455" y="1618145"/>
                </a:moveTo>
                <a:lnTo>
                  <a:pt x="1581455" y="1650378"/>
                </a:lnTo>
                <a:lnTo>
                  <a:pt x="1549222" y="1650378"/>
                </a:lnTo>
                <a:lnTo>
                  <a:pt x="1549222" y="1682610"/>
                </a:lnTo>
                <a:lnTo>
                  <a:pt x="1581455" y="1682610"/>
                </a:lnTo>
                <a:lnTo>
                  <a:pt x="1581455" y="1714843"/>
                </a:lnTo>
                <a:lnTo>
                  <a:pt x="1613687" y="1714843"/>
                </a:lnTo>
                <a:lnTo>
                  <a:pt x="1613687" y="1682610"/>
                </a:lnTo>
                <a:lnTo>
                  <a:pt x="1645920" y="1682610"/>
                </a:lnTo>
                <a:lnTo>
                  <a:pt x="1645920" y="1650378"/>
                </a:lnTo>
                <a:lnTo>
                  <a:pt x="1613687" y="1650378"/>
                </a:lnTo>
                <a:lnTo>
                  <a:pt x="1613687" y="1618145"/>
                </a:lnTo>
                <a:lnTo>
                  <a:pt x="1581455" y="1618145"/>
                </a:lnTo>
                <a:close/>
                <a:moveTo>
                  <a:pt x="2198675" y="1755305"/>
                </a:moveTo>
                <a:lnTo>
                  <a:pt x="2198675" y="1787538"/>
                </a:lnTo>
                <a:lnTo>
                  <a:pt x="2166442" y="1787538"/>
                </a:lnTo>
                <a:lnTo>
                  <a:pt x="2166442" y="1819770"/>
                </a:lnTo>
                <a:lnTo>
                  <a:pt x="2198675" y="1819770"/>
                </a:lnTo>
                <a:lnTo>
                  <a:pt x="2198675" y="1852003"/>
                </a:lnTo>
                <a:lnTo>
                  <a:pt x="2230907" y="1852003"/>
                </a:lnTo>
                <a:lnTo>
                  <a:pt x="2230907" y="1819770"/>
                </a:lnTo>
                <a:lnTo>
                  <a:pt x="2263140" y="1819770"/>
                </a:lnTo>
                <a:lnTo>
                  <a:pt x="2263140" y="1787538"/>
                </a:lnTo>
                <a:lnTo>
                  <a:pt x="2230907" y="1787538"/>
                </a:lnTo>
                <a:lnTo>
                  <a:pt x="2230907" y="1755305"/>
                </a:lnTo>
                <a:lnTo>
                  <a:pt x="2198675" y="1755305"/>
                </a:lnTo>
                <a:close/>
                <a:moveTo>
                  <a:pt x="2267255" y="1618145"/>
                </a:moveTo>
                <a:lnTo>
                  <a:pt x="2267255" y="1650378"/>
                </a:lnTo>
                <a:lnTo>
                  <a:pt x="2235022" y="1650378"/>
                </a:lnTo>
                <a:lnTo>
                  <a:pt x="2235022" y="1682610"/>
                </a:lnTo>
                <a:lnTo>
                  <a:pt x="2267255" y="1682610"/>
                </a:lnTo>
                <a:lnTo>
                  <a:pt x="2267255" y="1714843"/>
                </a:lnTo>
                <a:lnTo>
                  <a:pt x="2299487" y="1714843"/>
                </a:lnTo>
                <a:lnTo>
                  <a:pt x="2299487" y="1682610"/>
                </a:lnTo>
                <a:lnTo>
                  <a:pt x="2331720" y="1682610"/>
                </a:lnTo>
                <a:lnTo>
                  <a:pt x="2331720" y="1650378"/>
                </a:lnTo>
                <a:lnTo>
                  <a:pt x="2299487" y="1650378"/>
                </a:lnTo>
                <a:lnTo>
                  <a:pt x="2299487" y="1618145"/>
                </a:lnTo>
                <a:lnTo>
                  <a:pt x="2267255" y="1618145"/>
                </a:lnTo>
                <a:close/>
                <a:moveTo>
                  <a:pt x="2061515" y="1755305"/>
                </a:moveTo>
                <a:lnTo>
                  <a:pt x="2061515" y="1787538"/>
                </a:lnTo>
                <a:lnTo>
                  <a:pt x="2029282" y="1787538"/>
                </a:lnTo>
                <a:lnTo>
                  <a:pt x="2029282" y="1819770"/>
                </a:lnTo>
                <a:lnTo>
                  <a:pt x="2061515" y="1819770"/>
                </a:lnTo>
                <a:lnTo>
                  <a:pt x="2061515" y="1852003"/>
                </a:lnTo>
                <a:lnTo>
                  <a:pt x="2093747" y="1852003"/>
                </a:lnTo>
                <a:lnTo>
                  <a:pt x="2093747" y="1819770"/>
                </a:lnTo>
                <a:lnTo>
                  <a:pt x="2125980" y="1819770"/>
                </a:lnTo>
                <a:lnTo>
                  <a:pt x="2125980" y="1787538"/>
                </a:lnTo>
                <a:lnTo>
                  <a:pt x="2093747" y="1787538"/>
                </a:lnTo>
                <a:lnTo>
                  <a:pt x="2093747" y="1755305"/>
                </a:lnTo>
                <a:lnTo>
                  <a:pt x="2061515" y="1755305"/>
                </a:lnTo>
                <a:close/>
                <a:moveTo>
                  <a:pt x="2335835" y="1755305"/>
                </a:moveTo>
                <a:lnTo>
                  <a:pt x="2335835" y="1787538"/>
                </a:lnTo>
                <a:lnTo>
                  <a:pt x="2303602" y="1787538"/>
                </a:lnTo>
                <a:lnTo>
                  <a:pt x="2303602" y="1819770"/>
                </a:lnTo>
                <a:lnTo>
                  <a:pt x="2335835" y="1819770"/>
                </a:lnTo>
                <a:lnTo>
                  <a:pt x="2335835" y="1852003"/>
                </a:lnTo>
                <a:lnTo>
                  <a:pt x="2368067" y="1852003"/>
                </a:lnTo>
                <a:lnTo>
                  <a:pt x="2368067" y="1819770"/>
                </a:lnTo>
                <a:lnTo>
                  <a:pt x="2400300" y="1819770"/>
                </a:lnTo>
                <a:lnTo>
                  <a:pt x="2400300" y="1787538"/>
                </a:lnTo>
                <a:lnTo>
                  <a:pt x="2368067" y="1787538"/>
                </a:lnTo>
                <a:lnTo>
                  <a:pt x="2368067" y="1755305"/>
                </a:lnTo>
                <a:lnTo>
                  <a:pt x="2335835" y="1755305"/>
                </a:lnTo>
                <a:close/>
                <a:moveTo>
                  <a:pt x="2130095" y="1618145"/>
                </a:moveTo>
                <a:lnTo>
                  <a:pt x="2130095" y="1650378"/>
                </a:lnTo>
                <a:lnTo>
                  <a:pt x="2097862" y="1650378"/>
                </a:lnTo>
                <a:lnTo>
                  <a:pt x="2097862" y="1682610"/>
                </a:lnTo>
                <a:lnTo>
                  <a:pt x="2130095" y="1682610"/>
                </a:lnTo>
                <a:lnTo>
                  <a:pt x="2130095" y="1714843"/>
                </a:lnTo>
                <a:lnTo>
                  <a:pt x="2162327" y="1714843"/>
                </a:lnTo>
                <a:lnTo>
                  <a:pt x="2162327" y="1682610"/>
                </a:lnTo>
                <a:lnTo>
                  <a:pt x="2194560" y="1682610"/>
                </a:lnTo>
                <a:lnTo>
                  <a:pt x="2194560" y="1650378"/>
                </a:lnTo>
                <a:lnTo>
                  <a:pt x="2162327" y="1650378"/>
                </a:lnTo>
                <a:lnTo>
                  <a:pt x="2162327" y="1618145"/>
                </a:lnTo>
                <a:lnTo>
                  <a:pt x="2130095" y="1618145"/>
                </a:lnTo>
                <a:close/>
                <a:moveTo>
                  <a:pt x="2299487" y="1989163"/>
                </a:moveTo>
                <a:lnTo>
                  <a:pt x="2299487" y="1956930"/>
                </a:lnTo>
                <a:lnTo>
                  <a:pt x="2331720" y="1956930"/>
                </a:lnTo>
                <a:lnTo>
                  <a:pt x="2331720" y="1924698"/>
                </a:lnTo>
                <a:lnTo>
                  <a:pt x="2299487" y="1924698"/>
                </a:lnTo>
                <a:lnTo>
                  <a:pt x="2299487" y="1892465"/>
                </a:lnTo>
                <a:lnTo>
                  <a:pt x="2267255" y="1892465"/>
                </a:lnTo>
                <a:lnTo>
                  <a:pt x="2267255" y="1924698"/>
                </a:lnTo>
                <a:lnTo>
                  <a:pt x="2235022" y="1924698"/>
                </a:lnTo>
                <a:lnTo>
                  <a:pt x="2235022" y="1956930"/>
                </a:lnTo>
                <a:lnTo>
                  <a:pt x="2267255" y="1956930"/>
                </a:lnTo>
                <a:lnTo>
                  <a:pt x="2267255" y="1989163"/>
                </a:lnTo>
                <a:lnTo>
                  <a:pt x="2299487" y="1989163"/>
                </a:lnTo>
                <a:close/>
                <a:moveTo>
                  <a:pt x="2404415" y="1892465"/>
                </a:moveTo>
                <a:lnTo>
                  <a:pt x="2404415" y="1924698"/>
                </a:lnTo>
                <a:lnTo>
                  <a:pt x="2372182" y="1924698"/>
                </a:lnTo>
                <a:lnTo>
                  <a:pt x="2372182" y="1956930"/>
                </a:lnTo>
                <a:lnTo>
                  <a:pt x="2404415" y="1956930"/>
                </a:lnTo>
                <a:lnTo>
                  <a:pt x="2404415" y="1989163"/>
                </a:lnTo>
                <a:lnTo>
                  <a:pt x="2436647" y="1989163"/>
                </a:lnTo>
                <a:lnTo>
                  <a:pt x="2436647" y="1956930"/>
                </a:lnTo>
                <a:lnTo>
                  <a:pt x="2468880" y="1956930"/>
                </a:lnTo>
                <a:lnTo>
                  <a:pt x="2468880" y="1924698"/>
                </a:lnTo>
                <a:lnTo>
                  <a:pt x="2436647" y="1924698"/>
                </a:lnTo>
                <a:lnTo>
                  <a:pt x="2436647" y="1892465"/>
                </a:lnTo>
                <a:lnTo>
                  <a:pt x="2404415" y="1892465"/>
                </a:lnTo>
                <a:close/>
                <a:moveTo>
                  <a:pt x="2162327" y="1989163"/>
                </a:moveTo>
                <a:lnTo>
                  <a:pt x="2162327" y="1956930"/>
                </a:lnTo>
                <a:lnTo>
                  <a:pt x="2194560" y="1956930"/>
                </a:lnTo>
                <a:lnTo>
                  <a:pt x="2194560" y="1924698"/>
                </a:lnTo>
                <a:lnTo>
                  <a:pt x="2162327" y="1924698"/>
                </a:lnTo>
                <a:lnTo>
                  <a:pt x="2162327" y="1892465"/>
                </a:lnTo>
                <a:lnTo>
                  <a:pt x="2130095" y="1892465"/>
                </a:lnTo>
                <a:lnTo>
                  <a:pt x="2130095" y="1924698"/>
                </a:lnTo>
                <a:lnTo>
                  <a:pt x="2097862" y="1924698"/>
                </a:lnTo>
                <a:lnTo>
                  <a:pt x="2097862" y="1956930"/>
                </a:lnTo>
                <a:lnTo>
                  <a:pt x="2130095" y="1956930"/>
                </a:lnTo>
                <a:lnTo>
                  <a:pt x="2130095" y="1989163"/>
                </a:lnTo>
                <a:lnTo>
                  <a:pt x="2162327" y="1989163"/>
                </a:lnTo>
                <a:close/>
                <a:moveTo>
                  <a:pt x="2472995" y="1755305"/>
                </a:moveTo>
                <a:lnTo>
                  <a:pt x="2472995" y="1787538"/>
                </a:lnTo>
                <a:lnTo>
                  <a:pt x="2440762" y="1787538"/>
                </a:lnTo>
                <a:lnTo>
                  <a:pt x="2440762" y="1819770"/>
                </a:lnTo>
                <a:lnTo>
                  <a:pt x="2472995" y="1819770"/>
                </a:lnTo>
                <a:lnTo>
                  <a:pt x="2472995" y="1852003"/>
                </a:lnTo>
                <a:lnTo>
                  <a:pt x="2505227" y="1852003"/>
                </a:lnTo>
                <a:lnTo>
                  <a:pt x="2505227" y="1819770"/>
                </a:lnTo>
                <a:lnTo>
                  <a:pt x="2537460" y="1819770"/>
                </a:lnTo>
                <a:lnTo>
                  <a:pt x="2537460" y="1787538"/>
                </a:lnTo>
                <a:lnTo>
                  <a:pt x="2505227" y="1787538"/>
                </a:lnTo>
                <a:lnTo>
                  <a:pt x="2505227" y="1755305"/>
                </a:lnTo>
                <a:lnTo>
                  <a:pt x="2472995" y="1755305"/>
                </a:lnTo>
                <a:close/>
                <a:moveTo>
                  <a:pt x="1924355" y="1755305"/>
                </a:moveTo>
                <a:lnTo>
                  <a:pt x="1924355" y="1787538"/>
                </a:lnTo>
                <a:lnTo>
                  <a:pt x="1892122" y="1787538"/>
                </a:lnTo>
                <a:lnTo>
                  <a:pt x="1892122" y="1819770"/>
                </a:lnTo>
                <a:lnTo>
                  <a:pt x="1924355" y="1819770"/>
                </a:lnTo>
                <a:lnTo>
                  <a:pt x="1924355" y="1852003"/>
                </a:lnTo>
                <a:lnTo>
                  <a:pt x="1956587" y="1852003"/>
                </a:lnTo>
                <a:lnTo>
                  <a:pt x="1956587" y="1819770"/>
                </a:lnTo>
                <a:lnTo>
                  <a:pt x="1988820" y="1819770"/>
                </a:lnTo>
                <a:lnTo>
                  <a:pt x="1988820" y="1787538"/>
                </a:lnTo>
                <a:lnTo>
                  <a:pt x="1956587" y="1787538"/>
                </a:lnTo>
                <a:lnTo>
                  <a:pt x="1956587" y="1755305"/>
                </a:lnTo>
                <a:lnTo>
                  <a:pt x="1924355" y="1755305"/>
                </a:lnTo>
                <a:close/>
                <a:moveTo>
                  <a:pt x="1650035" y="1755305"/>
                </a:moveTo>
                <a:lnTo>
                  <a:pt x="1650035" y="1787538"/>
                </a:lnTo>
                <a:lnTo>
                  <a:pt x="1617802" y="1787538"/>
                </a:lnTo>
                <a:lnTo>
                  <a:pt x="1617802" y="1819770"/>
                </a:lnTo>
                <a:lnTo>
                  <a:pt x="1650035" y="1819770"/>
                </a:lnTo>
                <a:lnTo>
                  <a:pt x="1650035" y="1852003"/>
                </a:lnTo>
                <a:lnTo>
                  <a:pt x="1682267" y="1852003"/>
                </a:lnTo>
                <a:lnTo>
                  <a:pt x="1682267" y="1819770"/>
                </a:lnTo>
                <a:lnTo>
                  <a:pt x="1714500" y="1819770"/>
                </a:lnTo>
                <a:lnTo>
                  <a:pt x="1714500" y="1787538"/>
                </a:lnTo>
                <a:lnTo>
                  <a:pt x="1682267" y="1787538"/>
                </a:lnTo>
                <a:lnTo>
                  <a:pt x="1682267" y="1755305"/>
                </a:lnTo>
                <a:lnTo>
                  <a:pt x="1650035" y="1755305"/>
                </a:lnTo>
                <a:close/>
                <a:moveTo>
                  <a:pt x="2025167" y="1989163"/>
                </a:moveTo>
                <a:lnTo>
                  <a:pt x="2025167" y="1956930"/>
                </a:lnTo>
                <a:lnTo>
                  <a:pt x="2057400" y="1956930"/>
                </a:lnTo>
                <a:lnTo>
                  <a:pt x="2057400" y="1924698"/>
                </a:lnTo>
                <a:lnTo>
                  <a:pt x="2025167" y="1924698"/>
                </a:lnTo>
                <a:lnTo>
                  <a:pt x="2025167" y="1892465"/>
                </a:lnTo>
                <a:lnTo>
                  <a:pt x="1992935" y="1892465"/>
                </a:lnTo>
                <a:lnTo>
                  <a:pt x="1992935" y="1924698"/>
                </a:lnTo>
                <a:lnTo>
                  <a:pt x="1960702" y="1924698"/>
                </a:lnTo>
                <a:lnTo>
                  <a:pt x="1960702" y="1956930"/>
                </a:lnTo>
                <a:lnTo>
                  <a:pt x="1992935" y="1956930"/>
                </a:lnTo>
                <a:lnTo>
                  <a:pt x="1992935" y="1989163"/>
                </a:lnTo>
                <a:lnTo>
                  <a:pt x="2025167" y="1989163"/>
                </a:lnTo>
                <a:close/>
                <a:moveTo>
                  <a:pt x="1992935" y="1618145"/>
                </a:moveTo>
                <a:lnTo>
                  <a:pt x="1992935" y="1650378"/>
                </a:lnTo>
                <a:lnTo>
                  <a:pt x="1960702" y="1650378"/>
                </a:lnTo>
                <a:lnTo>
                  <a:pt x="1960702" y="1682610"/>
                </a:lnTo>
                <a:lnTo>
                  <a:pt x="1992935" y="1682610"/>
                </a:lnTo>
                <a:lnTo>
                  <a:pt x="1992935" y="1714843"/>
                </a:lnTo>
                <a:lnTo>
                  <a:pt x="2025167" y="1714843"/>
                </a:lnTo>
                <a:lnTo>
                  <a:pt x="2025167" y="1682610"/>
                </a:lnTo>
                <a:lnTo>
                  <a:pt x="2057400" y="1682610"/>
                </a:lnTo>
                <a:lnTo>
                  <a:pt x="2057400" y="1650378"/>
                </a:lnTo>
                <a:lnTo>
                  <a:pt x="2025167" y="1650378"/>
                </a:lnTo>
                <a:lnTo>
                  <a:pt x="2025167" y="1618145"/>
                </a:lnTo>
                <a:lnTo>
                  <a:pt x="1992935" y="1618145"/>
                </a:lnTo>
                <a:close/>
                <a:moveTo>
                  <a:pt x="1444295" y="1618145"/>
                </a:moveTo>
                <a:lnTo>
                  <a:pt x="1444295" y="1650378"/>
                </a:lnTo>
                <a:lnTo>
                  <a:pt x="1412062" y="1650378"/>
                </a:lnTo>
                <a:lnTo>
                  <a:pt x="1412062" y="1682610"/>
                </a:lnTo>
                <a:lnTo>
                  <a:pt x="1444295" y="1682610"/>
                </a:lnTo>
                <a:lnTo>
                  <a:pt x="1444295" y="1714843"/>
                </a:lnTo>
                <a:lnTo>
                  <a:pt x="1476527" y="1714843"/>
                </a:lnTo>
                <a:lnTo>
                  <a:pt x="1476527" y="1682610"/>
                </a:lnTo>
                <a:lnTo>
                  <a:pt x="1508760" y="1682610"/>
                </a:lnTo>
                <a:lnTo>
                  <a:pt x="1508760" y="1650378"/>
                </a:lnTo>
                <a:lnTo>
                  <a:pt x="1476527" y="1650378"/>
                </a:lnTo>
                <a:lnTo>
                  <a:pt x="1476527" y="1618145"/>
                </a:lnTo>
                <a:lnTo>
                  <a:pt x="1444295" y="1618145"/>
                </a:lnTo>
                <a:close/>
                <a:moveTo>
                  <a:pt x="1512875" y="1755305"/>
                </a:moveTo>
                <a:lnTo>
                  <a:pt x="1512875" y="1787538"/>
                </a:lnTo>
                <a:lnTo>
                  <a:pt x="1480642" y="1787538"/>
                </a:lnTo>
                <a:lnTo>
                  <a:pt x="1480642" y="1819770"/>
                </a:lnTo>
                <a:lnTo>
                  <a:pt x="1512875" y="1819770"/>
                </a:lnTo>
                <a:lnTo>
                  <a:pt x="1512875" y="1852003"/>
                </a:lnTo>
                <a:lnTo>
                  <a:pt x="1545107" y="1852003"/>
                </a:lnTo>
                <a:lnTo>
                  <a:pt x="1545107" y="1819770"/>
                </a:lnTo>
                <a:lnTo>
                  <a:pt x="1577340" y="1819770"/>
                </a:lnTo>
                <a:lnTo>
                  <a:pt x="1577340" y="1787538"/>
                </a:lnTo>
                <a:lnTo>
                  <a:pt x="1545107" y="1787538"/>
                </a:lnTo>
                <a:lnTo>
                  <a:pt x="1545107" y="1755305"/>
                </a:lnTo>
                <a:lnTo>
                  <a:pt x="1512875" y="1755305"/>
                </a:lnTo>
                <a:close/>
                <a:moveTo>
                  <a:pt x="1855775" y="1618145"/>
                </a:moveTo>
                <a:lnTo>
                  <a:pt x="1855775" y="1650378"/>
                </a:lnTo>
                <a:lnTo>
                  <a:pt x="1823542" y="1650378"/>
                </a:lnTo>
                <a:lnTo>
                  <a:pt x="1823542" y="1682610"/>
                </a:lnTo>
                <a:lnTo>
                  <a:pt x="1855775" y="1682610"/>
                </a:lnTo>
                <a:lnTo>
                  <a:pt x="1855775" y="1714843"/>
                </a:lnTo>
                <a:lnTo>
                  <a:pt x="1888007" y="1714843"/>
                </a:lnTo>
                <a:lnTo>
                  <a:pt x="1888007" y="1682610"/>
                </a:lnTo>
                <a:lnTo>
                  <a:pt x="1920240" y="1682610"/>
                </a:lnTo>
                <a:lnTo>
                  <a:pt x="1920240" y="1650378"/>
                </a:lnTo>
                <a:lnTo>
                  <a:pt x="1888007" y="1650378"/>
                </a:lnTo>
                <a:lnTo>
                  <a:pt x="1888007" y="1618145"/>
                </a:lnTo>
                <a:lnTo>
                  <a:pt x="1855775" y="1618145"/>
                </a:lnTo>
                <a:close/>
                <a:moveTo>
                  <a:pt x="1375715" y="1755305"/>
                </a:moveTo>
                <a:lnTo>
                  <a:pt x="1375715" y="1787538"/>
                </a:lnTo>
                <a:lnTo>
                  <a:pt x="1343482" y="1787538"/>
                </a:lnTo>
                <a:lnTo>
                  <a:pt x="1343482" y="1819770"/>
                </a:lnTo>
                <a:lnTo>
                  <a:pt x="1375715" y="1819770"/>
                </a:lnTo>
                <a:lnTo>
                  <a:pt x="1375715" y="1852003"/>
                </a:lnTo>
                <a:lnTo>
                  <a:pt x="1407947" y="1852003"/>
                </a:lnTo>
                <a:lnTo>
                  <a:pt x="1407947" y="1819770"/>
                </a:lnTo>
                <a:lnTo>
                  <a:pt x="1440180" y="1819770"/>
                </a:lnTo>
                <a:lnTo>
                  <a:pt x="1440180" y="1787538"/>
                </a:lnTo>
                <a:lnTo>
                  <a:pt x="1407947" y="1787538"/>
                </a:lnTo>
                <a:lnTo>
                  <a:pt x="1407947" y="1755305"/>
                </a:lnTo>
                <a:lnTo>
                  <a:pt x="1375715" y="1755305"/>
                </a:lnTo>
                <a:close/>
                <a:moveTo>
                  <a:pt x="1718615" y="1618145"/>
                </a:moveTo>
                <a:lnTo>
                  <a:pt x="1718615" y="1650378"/>
                </a:lnTo>
                <a:lnTo>
                  <a:pt x="1686382" y="1650378"/>
                </a:lnTo>
                <a:lnTo>
                  <a:pt x="1686382" y="1682610"/>
                </a:lnTo>
                <a:lnTo>
                  <a:pt x="1718615" y="1682610"/>
                </a:lnTo>
                <a:lnTo>
                  <a:pt x="1718615" y="1714843"/>
                </a:lnTo>
                <a:lnTo>
                  <a:pt x="1750847" y="1714843"/>
                </a:lnTo>
                <a:lnTo>
                  <a:pt x="1750847" y="1682610"/>
                </a:lnTo>
                <a:lnTo>
                  <a:pt x="1783080" y="1682610"/>
                </a:lnTo>
                <a:lnTo>
                  <a:pt x="1783080" y="1650378"/>
                </a:lnTo>
                <a:lnTo>
                  <a:pt x="1750847" y="1650378"/>
                </a:lnTo>
                <a:lnTo>
                  <a:pt x="1750847" y="1618145"/>
                </a:lnTo>
                <a:lnTo>
                  <a:pt x="1718615" y="1618145"/>
                </a:lnTo>
                <a:close/>
                <a:moveTo>
                  <a:pt x="1787195" y="1755305"/>
                </a:moveTo>
                <a:lnTo>
                  <a:pt x="1787195" y="1787538"/>
                </a:lnTo>
                <a:lnTo>
                  <a:pt x="1754962" y="1787538"/>
                </a:lnTo>
                <a:lnTo>
                  <a:pt x="1754962" y="1819770"/>
                </a:lnTo>
                <a:lnTo>
                  <a:pt x="1787195" y="1819770"/>
                </a:lnTo>
                <a:lnTo>
                  <a:pt x="1787195" y="1852003"/>
                </a:lnTo>
                <a:lnTo>
                  <a:pt x="1819427" y="1852003"/>
                </a:lnTo>
                <a:lnTo>
                  <a:pt x="1819427" y="1819770"/>
                </a:lnTo>
                <a:lnTo>
                  <a:pt x="1851660" y="1819770"/>
                </a:lnTo>
                <a:lnTo>
                  <a:pt x="1851660" y="1787538"/>
                </a:lnTo>
                <a:lnTo>
                  <a:pt x="1819427" y="1787538"/>
                </a:lnTo>
                <a:lnTo>
                  <a:pt x="1819427" y="1755305"/>
                </a:lnTo>
                <a:lnTo>
                  <a:pt x="1787195" y="1755305"/>
                </a:lnTo>
                <a:close/>
                <a:moveTo>
                  <a:pt x="626135" y="1151801"/>
                </a:moveTo>
                <a:lnTo>
                  <a:pt x="648767" y="1151801"/>
                </a:lnTo>
                <a:lnTo>
                  <a:pt x="648767" y="1129170"/>
                </a:lnTo>
                <a:lnTo>
                  <a:pt x="671398" y="1129170"/>
                </a:lnTo>
                <a:lnTo>
                  <a:pt x="671398" y="1106538"/>
                </a:lnTo>
                <a:lnTo>
                  <a:pt x="648767" y="1106538"/>
                </a:lnTo>
                <a:lnTo>
                  <a:pt x="648767" y="1083907"/>
                </a:lnTo>
                <a:lnTo>
                  <a:pt x="626135" y="1083907"/>
                </a:lnTo>
                <a:lnTo>
                  <a:pt x="626135" y="1106538"/>
                </a:lnTo>
                <a:lnTo>
                  <a:pt x="603504" y="1106538"/>
                </a:lnTo>
                <a:lnTo>
                  <a:pt x="603504" y="1129170"/>
                </a:lnTo>
                <a:lnTo>
                  <a:pt x="626135" y="1129170"/>
                </a:lnTo>
                <a:lnTo>
                  <a:pt x="626135" y="1151801"/>
                </a:lnTo>
                <a:close/>
                <a:moveTo>
                  <a:pt x="697116" y="733463"/>
                </a:moveTo>
                <a:lnTo>
                  <a:pt x="714946" y="733463"/>
                </a:lnTo>
                <a:lnTo>
                  <a:pt x="714946" y="715289"/>
                </a:lnTo>
                <a:lnTo>
                  <a:pt x="733120" y="715289"/>
                </a:lnTo>
                <a:lnTo>
                  <a:pt x="733120" y="697459"/>
                </a:lnTo>
                <a:lnTo>
                  <a:pt x="714946" y="697459"/>
                </a:lnTo>
                <a:lnTo>
                  <a:pt x="714946" y="679285"/>
                </a:lnTo>
                <a:lnTo>
                  <a:pt x="697116" y="679285"/>
                </a:lnTo>
                <a:lnTo>
                  <a:pt x="697116" y="697459"/>
                </a:lnTo>
                <a:lnTo>
                  <a:pt x="678942" y="697459"/>
                </a:lnTo>
                <a:lnTo>
                  <a:pt x="678942" y="715289"/>
                </a:lnTo>
                <a:lnTo>
                  <a:pt x="697116" y="715289"/>
                </a:lnTo>
                <a:lnTo>
                  <a:pt x="697116" y="733463"/>
                </a:lnTo>
                <a:close/>
                <a:moveTo>
                  <a:pt x="695058" y="1013955"/>
                </a:moveTo>
                <a:lnTo>
                  <a:pt x="717004" y="1013955"/>
                </a:lnTo>
                <a:lnTo>
                  <a:pt x="717004" y="991667"/>
                </a:lnTo>
                <a:lnTo>
                  <a:pt x="739292" y="991667"/>
                </a:lnTo>
                <a:lnTo>
                  <a:pt x="739292" y="969721"/>
                </a:lnTo>
                <a:lnTo>
                  <a:pt x="717004" y="969721"/>
                </a:lnTo>
                <a:lnTo>
                  <a:pt x="717004" y="947433"/>
                </a:lnTo>
                <a:lnTo>
                  <a:pt x="695058" y="947433"/>
                </a:lnTo>
                <a:lnTo>
                  <a:pt x="695058" y="969721"/>
                </a:lnTo>
                <a:lnTo>
                  <a:pt x="672770" y="969721"/>
                </a:lnTo>
                <a:lnTo>
                  <a:pt x="672770" y="991667"/>
                </a:lnTo>
                <a:lnTo>
                  <a:pt x="695058" y="991667"/>
                </a:lnTo>
                <a:lnTo>
                  <a:pt x="695058" y="1013955"/>
                </a:lnTo>
                <a:close/>
                <a:moveTo>
                  <a:pt x="766381" y="594246"/>
                </a:moveTo>
                <a:lnTo>
                  <a:pt x="782841" y="594246"/>
                </a:lnTo>
                <a:lnTo>
                  <a:pt x="782841" y="577444"/>
                </a:lnTo>
                <a:lnTo>
                  <a:pt x="799643" y="577444"/>
                </a:lnTo>
                <a:lnTo>
                  <a:pt x="799643" y="560984"/>
                </a:lnTo>
                <a:lnTo>
                  <a:pt x="782841" y="560984"/>
                </a:lnTo>
                <a:lnTo>
                  <a:pt x="782841" y="544182"/>
                </a:lnTo>
                <a:lnTo>
                  <a:pt x="766381" y="544182"/>
                </a:lnTo>
                <a:lnTo>
                  <a:pt x="766381" y="560984"/>
                </a:lnTo>
                <a:lnTo>
                  <a:pt x="749579" y="560984"/>
                </a:lnTo>
                <a:lnTo>
                  <a:pt x="749579" y="577444"/>
                </a:lnTo>
                <a:lnTo>
                  <a:pt x="766381" y="577444"/>
                </a:lnTo>
                <a:lnTo>
                  <a:pt x="766381" y="594246"/>
                </a:lnTo>
                <a:close/>
                <a:moveTo>
                  <a:pt x="763981" y="875424"/>
                </a:moveTo>
                <a:lnTo>
                  <a:pt x="785241" y="875424"/>
                </a:lnTo>
                <a:lnTo>
                  <a:pt x="785241" y="854164"/>
                </a:lnTo>
                <a:lnTo>
                  <a:pt x="806501" y="854164"/>
                </a:lnTo>
                <a:lnTo>
                  <a:pt x="806501" y="832904"/>
                </a:lnTo>
                <a:lnTo>
                  <a:pt x="785241" y="832904"/>
                </a:lnTo>
                <a:lnTo>
                  <a:pt x="785241" y="811644"/>
                </a:lnTo>
                <a:lnTo>
                  <a:pt x="763981" y="811644"/>
                </a:lnTo>
                <a:lnTo>
                  <a:pt x="763981" y="832904"/>
                </a:lnTo>
                <a:lnTo>
                  <a:pt x="742721" y="832904"/>
                </a:lnTo>
                <a:lnTo>
                  <a:pt x="742721" y="854164"/>
                </a:lnTo>
                <a:lnTo>
                  <a:pt x="763981" y="854164"/>
                </a:lnTo>
                <a:lnTo>
                  <a:pt x="763981" y="875424"/>
                </a:lnTo>
                <a:close/>
                <a:moveTo>
                  <a:pt x="630250" y="590817"/>
                </a:moveTo>
                <a:lnTo>
                  <a:pt x="644652" y="590817"/>
                </a:lnTo>
                <a:lnTo>
                  <a:pt x="644652" y="576415"/>
                </a:lnTo>
                <a:lnTo>
                  <a:pt x="659054" y="576415"/>
                </a:lnTo>
                <a:lnTo>
                  <a:pt x="659054" y="562013"/>
                </a:lnTo>
                <a:lnTo>
                  <a:pt x="644652" y="562013"/>
                </a:lnTo>
                <a:lnTo>
                  <a:pt x="644652" y="547611"/>
                </a:lnTo>
                <a:lnTo>
                  <a:pt x="630250" y="547611"/>
                </a:lnTo>
                <a:lnTo>
                  <a:pt x="630250" y="562013"/>
                </a:lnTo>
                <a:lnTo>
                  <a:pt x="615848" y="562013"/>
                </a:lnTo>
                <a:lnTo>
                  <a:pt x="615848" y="576415"/>
                </a:lnTo>
                <a:lnTo>
                  <a:pt x="630250" y="576415"/>
                </a:lnTo>
                <a:lnTo>
                  <a:pt x="630250" y="590817"/>
                </a:lnTo>
                <a:close/>
                <a:moveTo>
                  <a:pt x="699516" y="451256"/>
                </a:moveTo>
                <a:lnTo>
                  <a:pt x="712546" y="451256"/>
                </a:lnTo>
                <a:lnTo>
                  <a:pt x="712546" y="438569"/>
                </a:lnTo>
                <a:lnTo>
                  <a:pt x="725233" y="438569"/>
                </a:lnTo>
                <a:lnTo>
                  <a:pt x="725233" y="425539"/>
                </a:lnTo>
                <a:lnTo>
                  <a:pt x="712546" y="425539"/>
                </a:lnTo>
                <a:lnTo>
                  <a:pt x="712546" y="412852"/>
                </a:lnTo>
                <a:lnTo>
                  <a:pt x="699516" y="412852"/>
                </a:lnTo>
                <a:lnTo>
                  <a:pt x="699516" y="425539"/>
                </a:lnTo>
                <a:lnTo>
                  <a:pt x="686829" y="425539"/>
                </a:lnTo>
                <a:lnTo>
                  <a:pt x="686829" y="438569"/>
                </a:lnTo>
                <a:lnTo>
                  <a:pt x="699516" y="438569"/>
                </a:lnTo>
                <a:lnTo>
                  <a:pt x="699516" y="451256"/>
                </a:lnTo>
                <a:close/>
                <a:moveTo>
                  <a:pt x="627850" y="871995"/>
                </a:moveTo>
                <a:lnTo>
                  <a:pt x="647052" y="871995"/>
                </a:lnTo>
                <a:lnTo>
                  <a:pt x="647052" y="853135"/>
                </a:lnTo>
                <a:lnTo>
                  <a:pt x="665912" y="853135"/>
                </a:lnTo>
                <a:lnTo>
                  <a:pt x="665912" y="833933"/>
                </a:lnTo>
                <a:lnTo>
                  <a:pt x="647052" y="833933"/>
                </a:lnTo>
                <a:lnTo>
                  <a:pt x="647052" y="815073"/>
                </a:lnTo>
                <a:lnTo>
                  <a:pt x="627850" y="815073"/>
                </a:lnTo>
                <a:lnTo>
                  <a:pt x="627850" y="833933"/>
                </a:lnTo>
                <a:lnTo>
                  <a:pt x="608990" y="833933"/>
                </a:lnTo>
                <a:lnTo>
                  <a:pt x="608990" y="853135"/>
                </a:lnTo>
                <a:lnTo>
                  <a:pt x="627850" y="853135"/>
                </a:lnTo>
                <a:lnTo>
                  <a:pt x="627850" y="871995"/>
                </a:lnTo>
                <a:close/>
                <a:moveTo>
                  <a:pt x="557555" y="1289304"/>
                </a:moveTo>
                <a:lnTo>
                  <a:pt x="580187" y="1289304"/>
                </a:lnTo>
                <a:lnTo>
                  <a:pt x="580187" y="1266330"/>
                </a:lnTo>
                <a:lnTo>
                  <a:pt x="603161" y="1266330"/>
                </a:lnTo>
                <a:lnTo>
                  <a:pt x="603161" y="1243698"/>
                </a:lnTo>
                <a:lnTo>
                  <a:pt x="580187" y="1243698"/>
                </a:lnTo>
                <a:lnTo>
                  <a:pt x="580187" y="1220724"/>
                </a:lnTo>
                <a:lnTo>
                  <a:pt x="557555" y="1220724"/>
                </a:lnTo>
                <a:lnTo>
                  <a:pt x="557555" y="1243698"/>
                </a:lnTo>
                <a:lnTo>
                  <a:pt x="534581" y="1243698"/>
                </a:lnTo>
                <a:lnTo>
                  <a:pt x="534581" y="1266330"/>
                </a:lnTo>
                <a:lnTo>
                  <a:pt x="557555" y="1266330"/>
                </a:lnTo>
                <a:lnTo>
                  <a:pt x="557555" y="1289304"/>
                </a:lnTo>
                <a:close/>
                <a:moveTo>
                  <a:pt x="560984" y="729691"/>
                </a:moveTo>
                <a:lnTo>
                  <a:pt x="576758" y="729691"/>
                </a:lnTo>
                <a:lnTo>
                  <a:pt x="576758" y="714261"/>
                </a:lnTo>
                <a:lnTo>
                  <a:pt x="592188" y="714261"/>
                </a:lnTo>
                <a:lnTo>
                  <a:pt x="592188" y="698487"/>
                </a:lnTo>
                <a:lnTo>
                  <a:pt x="576758" y="698487"/>
                </a:lnTo>
                <a:lnTo>
                  <a:pt x="576758" y="683057"/>
                </a:lnTo>
                <a:lnTo>
                  <a:pt x="560984" y="683057"/>
                </a:lnTo>
                <a:lnTo>
                  <a:pt x="560984" y="698487"/>
                </a:lnTo>
                <a:lnTo>
                  <a:pt x="545554" y="698487"/>
                </a:lnTo>
                <a:lnTo>
                  <a:pt x="545554" y="714261"/>
                </a:lnTo>
                <a:lnTo>
                  <a:pt x="560984" y="714261"/>
                </a:lnTo>
                <a:lnTo>
                  <a:pt x="560984" y="729691"/>
                </a:lnTo>
                <a:close/>
                <a:moveTo>
                  <a:pt x="149504" y="1552994"/>
                </a:moveTo>
                <a:lnTo>
                  <a:pt x="165278" y="1552994"/>
                </a:lnTo>
                <a:lnTo>
                  <a:pt x="165278" y="1537221"/>
                </a:lnTo>
                <a:lnTo>
                  <a:pt x="181051" y="1537221"/>
                </a:lnTo>
                <a:lnTo>
                  <a:pt x="181051" y="1521447"/>
                </a:lnTo>
                <a:lnTo>
                  <a:pt x="165278" y="1521447"/>
                </a:lnTo>
                <a:lnTo>
                  <a:pt x="165278" y="1505674"/>
                </a:lnTo>
                <a:lnTo>
                  <a:pt x="149504" y="1505674"/>
                </a:lnTo>
                <a:lnTo>
                  <a:pt x="149504" y="1521447"/>
                </a:lnTo>
                <a:lnTo>
                  <a:pt x="133731" y="1521447"/>
                </a:lnTo>
                <a:lnTo>
                  <a:pt x="133731" y="1537221"/>
                </a:lnTo>
                <a:lnTo>
                  <a:pt x="149504" y="1537221"/>
                </a:lnTo>
                <a:lnTo>
                  <a:pt x="149504" y="1552994"/>
                </a:lnTo>
                <a:close/>
                <a:moveTo>
                  <a:pt x="558927" y="1010183"/>
                </a:moveTo>
                <a:lnTo>
                  <a:pt x="578815" y="1010183"/>
                </a:lnTo>
                <a:lnTo>
                  <a:pt x="578815" y="990638"/>
                </a:lnTo>
                <a:lnTo>
                  <a:pt x="598360" y="990638"/>
                </a:lnTo>
                <a:lnTo>
                  <a:pt x="598360" y="970750"/>
                </a:lnTo>
                <a:lnTo>
                  <a:pt x="578815" y="970750"/>
                </a:lnTo>
                <a:lnTo>
                  <a:pt x="578815" y="951205"/>
                </a:lnTo>
                <a:lnTo>
                  <a:pt x="558927" y="951205"/>
                </a:lnTo>
                <a:lnTo>
                  <a:pt x="558927" y="970750"/>
                </a:lnTo>
                <a:lnTo>
                  <a:pt x="539382" y="970750"/>
                </a:lnTo>
                <a:lnTo>
                  <a:pt x="539382" y="990638"/>
                </a:lnTo>
                <a:lnTo>
                  <a:pt x="558927" y="990638"/>
                </a:lnTo>
                <a:lnTo>
                  <a:pt x="558927" y="1010183"/>
                </a:lnTo>
                <a:close/>
                <a:moveTo>
                  <a:pt x="969378" y="739635"/>
                </a:moveTo>
                <a:lnTo>
                  <a:pt x="991324" y="739635"/>
                </a:lnTo>
                <a:lnTo>
                  <a:pt x="991324" y="717347"/>
                </a:lnTo>
                <a:lnTo>
                  <a:pt x="1013612" y="717347"/>
                </a:lnTo>
                <a:lnTo>
                  <a:pt x="1013612" y="695401"/>
                </a:lnTo>
                <a:lnTo>
                  <a:pt x="991324" y="695401"/>
                </a:lnTo>
                <a:lnTo>
                  <a:pt x="991324" y="673113"/>
                </a:lnTo>
                <a:lnTo>
                  <a:pt x="969378" y="673113"/>
                </a:lnTo>
                <a:lnTo>
                  <a:pt x="969378" y="695401"/>
                </a:lnTo>
                <a:lnTo>
                  <a:pt x="947090" y="695401"/>
                </a:lnTo>
                <a:lnTo>
                  <a:pt x="947090" y="717347"/>
                </a:lnTo>
                <a:lnTo>
                  <a:pt x="969378" y="717347"/>
                </a:lnTo>
                <a:lnTo>
                  <a:pt x="969378" y="739635"/>
                </a:lnTo>
                <a:close/>
                <a:moveTo>
                  <a:pt x="2505227" y="2126323"/>
                </a:moveTo>
                <a:lnTo>
                  <a:pt x="2505227" y="2094090"/>
                </a:lnTo>
                <a:lnTo>
                  <a:pt x="2537460" y="2094090"/>
                </a:lnTo>
                <a:lnTo>
                  <a:pt x="2537460" y="2061858"/>
                </a:lnTo>
                <a:lnTo>
                  <a:pt x="2505227" y="2061858"/>
                </a:lnTo>
                <a:lnTo>
                  <a:pt x="2505227" y="2029625"/>
                </a:lnTo>
                <a:lnTo>
                  <a:pt x="2472995" y="2029625"/>
                </a:lnTo>
                <a:lnTo>
                  <a:pt x="2472995" y="2061858"/>
                </a:lnTo>
                <a:lnTo>
                  <a:pt x="2440762" y="2061858"/>
                </a:lnTo>
                <a:lnTo>
                  <a:pt x="2440762" y="2094090"/>
                </a:lnTo>
                <a:lnTo>
                  <a:pt x="2472995" y="2094090"/>
                </a:lnTo>
                <a:lnTo>
                  <a:pt x="2472995" y="2126323"/>
                </a:lnTo>
                <a:lnTo>
                  <a:pt x="2505227" y="2126323"/>
                </a:lnTo>
                <a:close/>
                <a:moveTo>
                  <a:pt x="971779" y="457429"/>
                </a:moveTo>
                <a:lnTo>
                  <a:pt x="988924" y="457429"/>
                </a:lnTo>
                <a:lnTo>
                  <a:pt x="988924" y="440627"/>
                </a:lnTo>
                <a:lnTo>
                  <a:pt x="1005726" y="440627"/>
                </a:lnTo>
                <a:lnTo>
                  <a:pt x="1005726" y="423482"/>
                </a:lnTo>
                <a:lnTo>
                  <a:pt x="988924" y="423482"/>
                </a:lnTo>
                <a:lnTo>
                  <a:pt x="988924" y="406679"/>
                </a:lnTo>
                <a:lnTo>
                  <a:pt x="971779" y="406679"/>
                </a:lnTo>
                <a:lnTo>
                  <a:pt x="971779" y="423482"/>
                </a:lnTo>
                <a:lnTo>
                  <a:pt x="954976" y="423482"/>
                </a:lnTo>
                <a:lnTo>
                  <a:pt x="954976" y="440627"/>
                </a:lnTo>
                <a:lnTo>
                  <a:pt x="971779" y="440627"/>
                </a:lnTo>
                <a:lnTo>
                  <a:pt x="971779" y="457429"/>
                </a:lnTo>
                <a:close/>
                <a:moveTo>
                  <a:pt x="1041387" y="317183"/>
                </a:moveTo>
                <a:lnTo>
                  <a:pt x="1056475" y="317183"/>
                </a:lnTo>
                <a:lnTo>
                  <a:pt x="1056475" y="302438"/>
                </a:lnTo>
                <a:lnTo>
                  <a:pt x="1071220" y="302438"/>
                </a:lnTo>
                <a:lnTo>
                  <a:pt x="1071220" y="287350"/>
                </a:lnTo>
                <a:lnTo>
                  <a:pt x="1056475" y="287350"/>
                </a:lnTo>
                <a:lnTo>
                  <a:pt x="1056475" y="272606"/>
                </a:lnTo>
                <a:lnTo>
                  <a:pt x="1041387" y="272606"/>
                </a:lnTo>
                <a:lnTo>
                  <a:pt x="1041387" y="287350"/>
                </a:lnTo>
                <a:lnTo>
                  <a:pt x="1026643" y="287350"/>
                </a:lnTo>
                <a:lnTo>
                  <a:pt x="1026643" y="302438"/>
                </a:lnTo>
                <a:lnTo>
                  <a:pt x="1041387" y="302438"/>
                </a:lnTo>
                <a:lnTo>
                  <a:pt x="1041387" y="317183"/>
                </a:lnTo>
                <a:close/>
                <a:moveTo>
                  <a:pt x="835647" y="454685"/>
                </a:moveTo>
                <a:lnTo>
                  <a:pt x="850735" y="454685"/>
                </a:lnTo>
                <a:lnTo>
                  <a:pt x="850735" y="439598"/>
                </a:lnTo>
                <a:lnTo>
                  <a:pt x="865822" y="439598"/>
                </a:lnTo>
                <a:lnTo>
                  <a:pt x="865822" y="424510"/>
                </a:lnTo>
                <a:lnTo>
                  <a:pt x="850735" y="424510"/>
                </a:lnTo>
                <a:lnTo>
                  <a:pt x="850735" y="409423"/>
                </a:lnTo>
                <a:lnTo>
                  <a:pt x="835647" y="409423"/>
                </a:lnTo>
                <a:lnTo>
                  <a:pt x="835647" y="424510"/>
                </a:lnTo>
                <a:lnTo>
                  <a:pt x="820560" y="424510"/>
                </a:lnTo>
                <a:lnTo>
                  <a:pt x="820560" y="439598"/>
                </a:lnTo>
                <a:lnTo>
                  <a:pt x="835647" y="439598"/>
                </a:lnTo>
                <a:lnTo>
                  <a:pt x="835647" y="454685"/>
                </a:lnTo>
                <a:close/>
                <a:moveTo>
                  <a:pt x="900112" y="878510"/>
                </a:moveTo>
                <a:lnTo>
                  <a:pt x="923430" y="878510"/>
                </a:lnTo>
                <a:lnTo>
                  <a:pt x="923430" y="855193"/>
                </a:lnTo>
                <a:lnTo>
                  <a:pt x="946747" y="855193"/>
                </a:lnTo>
                <a:lnTo>
                  <a:pt x="946747" y="831875"/>
                </a:lnTo>
                <a:lnTo>
                  <a:pt x="923430" y="831875"/>
                </a:lnTo>
                <a:lnTo>
                  <a:pt x="923430" y="808558"/>
                </a:lnTo>
                <a:lnTo>
                  <a:pt x="900112" y="808558"/>
                </a:lnTo>
                <a:lnTo>
                  <a:pt x="900112" y="831875"/>
                </a:lnTo>
                <a:lnTo>
                  <a:pt x="876795" y="831875"/>
                </a:lnTo>
                <a:lnTo>
                  <a:pt x="876795" y="855193"/>
                </a:lnTo>
                <a:lnTo>
                  <a:pt x="900112" y="855193"/>
                </a:lnTo>
                <a:lnTo>
                  <a:pt x="900112" y="878510"/>
                </a:lnTo>
                <a:close/>
                <a:moveTo>
                  <a:pt x="905256" y="314439"/>
                </a:moveTo>
                <a:lnTo>
                  <a:pt x="918286" y="314439"/>
                </a:lnTo>
                <a:lnTo>
                  <a:pt x="918286" y="301409"/>
                </a:lnTo>
                <a:lnTo>
                  <a:pt x="931316" y="301409"/>
                </a:lnTo>
                <a:lnTo>
                  <a:pt x="931316" y="288379"/>
                </a:lnTo>
                <a:lnTo>
                  <a:pt x="918286" y="288379"/>
                </a:lnTo>
                <a:lnTo>
                  <a:pt x="918286" y="275349"/>
                </a:lnTo>
                <a:lnTo>
                  <a:pt x="905256" y="275349"/>
                </a:lnTo>
                <a:lnTo>
                  <a:pt x="905256" y="288379"/>
                </a:lnTo>
                <a:lnTo>
                  <a:pt x="892226" y="288379"/>
                </a:lnTo>
                <a:lnTo>
                  <a:pt x="892226" y="301409"/>
                </a:lnTo>
                <a:lnTo>
                  <a:pt x="905256" y="301409"/>
                </a:lnTo>
                <a:lnTo>
                  <a:pt x="905256" y="314439"/>
                </a:lnTo>
                <a:close/>
                <a:moveTo>
                  <a:pt x="833247" y="736549"/>
                </a:moveTo>
                <a:lnTo>
                  <a:pt x="853135" y="736549"/>
                </a:lnTo>
                <a:lnTo>
                  <a:pt x="853135" y="716318"/>
                </a:lnTo>
                <a:lnTo>
                  <a:pt x="873366" y="716318"/>
                </a:lnTo>
                <a:lnTo>
                  <a:pt x="873366" y="696430"/>
                </a:lnTo>
                <a:lnTo>
                  <a:pt x="853135" y="696430"/>
                </a:lnTo>
                <a:lnTo>
                  <a:pt x="853135" y="676199"/>
                </a:lnTo>
                <a:lnTo>
                  <a:pt x="833247" y="676199"/>
                </a:lnTo>
                <a:lnTo>
                  <a:pt x="833247" y="696430"/>
                </a:lnTo>
                <a:lnTo>
                  <a:pt x="813016" y="696430"/>
                </a:lnTo>
                <a:lnTo>
                  <a:pt x="813016" y="716318"/>
                </a:lnTo>
                <a:lnTo>
                  <a:pt x="833247" y="716318"/>
                </a:lnTo>
                <a:lnTo>
                  <a:pt x="833247" y="736549"/>
                </a:lnTo>
                <a:close/>
                <a:moveTo>
                  <a:pt x="902513" y="597332"/>
                </a:moveTo>
                <a:lnTo>
                  <a:pt x="921029" y="597332"/>
                </a:lnTo>
                <a:lnTo>
                  <a:pt x="921029" y="578472"/>
                </a:lnTo>
                <a:lnTo>
                  <a:pt x="939889" y="578472"/>
                </a:lnTo>
                <a:lnTo>
                  <a:pt x="939889" y="559956"/>
                </a:lnTo>
                <a:lnTo>
                  <a:pt x="921029" y="559956"/>
                </a:lnTo>
                <a:lnTo>
                  <a:pt x="921029" y="541096"/>
                </a:lnTo>
                <a:lnTo>
                  <a:pt x="902513" y="541096"/>
                </a:lnTo>
                <a:lnTo>
                  <a:pt x="902513" y="559956"/>
                </a:lnTo>
                <a:lnTo>
                  <a:pt x="883653" y="559956"/>
                </a:lnTo>
                <a:lnTo>
                  <a:pt x="883653" y="578472"/>
                </a:lnTo>
                <a:lnTo>
                  <a:pt x="902513" y="578472"/>
                </a:lnTo>
                <a:lnTo>
                  <a:pt x="902513" y="597332"/>
                </a:lnTo>
                <a:close/>
                <a:moveTo>
                  <a:pt x="490347" y="1147686"/>
                </a:moveTo>
                <a:lnTo>
                  <a:pt x="510235" y="1147686"/>
                </a:lnTo>
                <a:lnTo>
                  <a:pt x="510235" y="1127798"/>
                </a:lnTo>
                <a:lnTo>
                  <a:pt x="530123" y="1127798"/>
                </a:lnTo>
                <a:lnTo>
                  <a:pt x="530123" y="1107910"/>
                </a:lnTo>
                <a:lnTo>
                  <a:pt x="510235" y="1107910"/>
                </a:lnTo>
                <a:lnTo>
                  <a:pt x="510235" y="1088022"/>
                </a:lnTo>
                <a:lnTo>
                  <a:pt x="490347" y="1088022"/>
                </a:lnTo>
                <a:lnTo>
                  <a:pt x="490347" y="1107910"/>
                </a:lnTo>
                <a:lnTo>
                  <a:pt x="470459" y="1107910"/>
                </a:lnTo>
                <a:lnTo>
                  <a:pt x="470459" y="1127798"/>
                </a:lnTo>
                <a:lnTo>
                  <a:pt x="490347" y="1127798"/>
                </a:lnTo>
                <a:lnTo>
                  <a:pt x="490347" y="1147686"/>
                </a:lnTo>
                <a:close/>
                <a:moveTo>
                  <a:pt x="494462" y="587045"/>
                </a:moveTo>
                <a:lnTo>
                  <a:pt x="506120" y="587045"/>
                </a:lnTo>
                <a:lnTo>
                  <a:pt x="506120" y="575043"/>
                </a:lnTo>
                <a:lnTo>
                  <a:pt x="518122" y="575043"/>
                </a:lnTo>
                <a:lnTo>
                  <a:pt x="518122" y="563385"/>
                </a:lnTo>
                <a:lnTo>
                  <a:pt x="506120" y="563385"/>
                </a:lnTo>
                <a:lnTo>
                  <a:pt x="506120" y="551383"/>
                </a:lnTo>
                <a:lnTo>
                  <a:pt x="494462" y="551383"/>
                </a:lnTo>
                <a:lnTo>
                  <a:pt x="494462" y="563385"/>
                </a:lnTo>
                <a:lnTo>
                  <a:pt x="482460" y="563385"/>
                </a:lnTo>
                <a:lnTo>
                  <a:pt x="482460" y="575043"/>
                </a:lnTo>
                <a:lnTo>
                  <a:pt x="494462" y="575043"/>
                </a:lnTo>
                <a:lnTo>
                  <a:pt x="494462" y="587045"/>
                </a:lnTo>
                <a:close/>
                <a:moveTo>
                  <a:pt x="287693" y="1001611"/>
                </a:moveTo>
                <a:lnTo>
                  <a:pt x="301409" y="1001611"/>
                </a:lnTo>
                <a:lnTo>
                  <a:pt x="301409" y="987552"/>
                </a:lnTo>
                <a:lnTo>
                  <a:pt x="315468" y="987552"/>
                </a:lnTo>
                <a:lnTo>
                  <a:pt x="315468" y="973836"/>
                </a:lnTo>
                <a:lnTo>
                  <a:pt x="301409" y="973836"/>
                </a:lnTo>
                <a:lnTo>
                  <a:pt x="301409" y="959777"/>
                </a:lnTo>
                <a:lnTo>
                  <a:pt x="287693" y="959777"/>
                </a:lnTo>
                <a:lnTo>
                  <a:pt x="287693" y="973836"/>
                </a:lnTo>
                <a:lnTo>
                  <a:pt x="273634" y="973836"/>
                </a:lnTo>
                <a:lnTo>
                  <a:pt x="273634" y="987552"/>
                </a:lnTo>
                <a:lnTo>
                  <a:pt x="287693" y="987552"/>
                </a:lnTo>
                <a:lnTo>
                  <a:pt x="287693" y="1001611"/>
                </a:lnTo>
                <a:close/>
                <a:moveTo>
                  <a:pt x="285979" y="1280732"/>
                </a:moveTo>
                <a:lnTo>
                  <a:pt x="303124" y="1280732"/>
                </a:lnTo>
                <a:lnTo>
                  <a:pt x="303124" y="1263587"/>
                </a:lnTo>
                <a:lnTo>
                  <a:pt x="320269" y="1263587"/>
                </a:lnTo>
                <a:lnTo>
                  <a:pt x="320269" y="1246442"/>
                </a:lnTo>
                <a:lnTo>
                  <a:pt x="303124" y="1246442"/>
                </a:lnTo>
                <a:lnTo>
                  <a:pt x="303124" y="1229297"/>
                </a:lnTo>
                <a:lnTo>
                  <a:pt x="285979" y="1229297"/>
                </a:lnTo>
                <a:lnTo>
                  <a:pt x="285979" y="1246442"/>
                </a:lnTo>
                <a:lnTo>
                  <a:pt x="268834" y="1246442"/>
                </a:lnTo>
                <a:lnTo>
                  <a:pt x="268834" y="1263587"/>
                </a:lnTo>
                <a:lnTo>
                  <a:pt x="285979" y="1263587"/>
                </a:lnTo>
                <a:lnTo>
                  <a:pt x="285979" y="1280732"/>
                </a:lnTo>
                <a:close/>
                <a:moveTo>
                  <a:pt x="352501" y="1698384"/>
                </a:moveTo>
                <a:lnTo>
                  <a:pt x="373761" y="1698384"/>
                </a:lnTo>
                <a:lnTo>
                  <a:pt x="373761" y="1677124"/>
                </a:lnTo>
                <a:lnTo>
                  <a:pt x="395021" y="1677124"/>
                </a:lnTo>
                <a:lnTo>
                  <a:pt x="395021" y="1655864"/>
                </a:lnTo>
                <a:lnTo>
                  <a:pt x="373761" y="1655864"/>
                </a:lnTo>
                <a:lnTo>
                  <a:pt x="373761" y="1634604"/>
                </a:lnTo>
                <a:lnTo>
                  <a:pt x="352501" y="1634604"/>
                </a:lnTo>
                <a:lnTo>
                  <a:pt x="352501" y="1655864"/>
                </a:lnTo>
                <a:lnTo>
                  <a:pt x="331241" y="1655864"/>
                </a:lnTo>
                <a:lnTo>
                  <a:pt x="331241" y="1677124"/>
                </a:lnTo>
                <a:lnTo>
                  <a:pt x="352501" y="1677124"/>
                </a:lnTo>
                <a:lnTo>
                  <a:pt x="352501" y="1698384"/>
                </a:lnTo>
                <a:close/>
                <a:moveTo>
                  <a:pt x="353187" y="1421663"/>
                </a:moveTo>
                <a:lnTo>
                  <a:pt x="373075" y="1421663"/>
                </a:lnTo>
                <a:lnTo>
                  <a:pt x="373075" y="1402118"/>
                </a:lnTo>
                <a:lnTo>
                  <a:pt x="392620" y="1402118"/>
                </a:lnTo>
                <a:lnTo>
                  <a:pt x="392620" y="1382230"/>
                </a:lnTo>
                <a:lnTo>
                  <a:pt x="373075" y="1382230"/>
                </a:lnTo>
                <a:lnTo>
                  <a:pt x="373075" y="1362685"/>
                </a:lnTo>
                <a:lnTo>
                  <a:pt x="353187" y="1362685"/>
                </a:lnTo>
                <a:lnTo>
                  <a:pt x="353187" y="1382230"/>
                </a:lnTo>
                <a:lnTo>
                  <a:pt x="333642" y="1382230"/>
                </a:lnTo>
                <a:lnTo>
                  <a:pt x="333642" y="1402118"/>
                </a:lnTo>
                <a:lnTo>
                  <a:pt x="353187" y="1402118"/>
                </a:lnTo>
                <a:lnTo>
                  <a:pt x="353187" y="1421663"/>
                </a:lnTo>
                <a:close/>
                <a:moveTo>
                  <a:pt x="150533" y="1275931"/>
                </a:moveTo>
                <a:lnTo>
                  <a:pt x="164249" y="1275931"/>
                </a:lnTo>
                <a:lnTo>
                  <a:pt x="164249" y="1261872"/>
                </a:lnTo>
                <a:lnTo>
                  <a:pt x="178308" y="1261872"/>
                </a:lnTo>
                <a:lnTo>
                  <a:pt x="178308" y="1248156"/>
                </a:lnTo>
                <a:lnTo>
                  <a:pt x="164249" y="1248156"/>
                </a:lnTo>
                <a:lnTo>
                  <a:pt x="164249" y="1234097"/>
                </a:lnTo>
                <a:lnTo>
                  <a:pt x="150533" y="1234097"/>
                </a:lnTo>
                <a:lnTo>
                  <a:pt x="150533" y="1248156"/>
                </a:lnTo>
                <a:lnTo>
                  <a:pt x="136474" y="1248156"/>
                </a:lnTo>
                <a:lnTo>
                  <a:pt x="136474" y="1261872"/>
                </a:lnTo>
                <a:lnTo>
                  <a:pt x="150533" y="1261872"/>
                </a:lnTo>
                <a:lnTo>
                  <a:pt x="150533" y="1275931"/>
                </a:lnTo>
                <a:close/>
                <a:moveTo>
                  <a:pt x="219113" y="1138771"/>
                </a:moveTo>
                <a:lnTo>
                  <a:pt x="232829" y="1138771"/>
                </a:lnTo>
                <a:lnTo>
                  <a:pt x="232829" y="1124712"/>
                </a:lnTo>
                <a:lnTo>
                  <a:pt x="246888" y="1124712"/>
                </a:lnTo>
                <a:lnTo>
                  <a:pt x="246888" y="1110996"/>
                </a:lnTo>
                <a:lnTo>
                  <a:pt x="232829" y="1110996"/>
                </a:lnTo>
                <a:lnTo>
                  <a:pt x="232829" y="1096937"/>
                </a:lnTo>
                <a:lnTo>
                  <a:pt x="219113" y="1096937"/>
                </a:lnTo>
                <a:lnTo>
                  <a:pt x="219113" y="1110996"/>
                </a:lnTo>
                <a:lnTo>
                  <a:pt x="205054" y="1110996"/>
                </a:lnTo>
                <a:lnTo>
                  <a:pt x="205054" y="1124712"/>
                </a:lnTo>
                <a:lnTo>
                  <a:pt x="219113" y="1124712"/>
                </a:lnTo>
                <a:lnTo>
                  <a:pt x="219113" y="1138771"/>
                </a:lnTo>
                <a:close/>
                <a:moveTo>
                  <a:pt x="216713" y="1693926"/>
                </a:moveTo>
                <a:lnTo>
                  <a:pt x="235229" y="1693926"/>
                </a:lnTo>
                <a:lnTo>
                  <a:pt x="235229" y="1675752"/>
                </a:lnTo>
                <a:lnTo>
                  <a:pt x="253403" y="1675752"/>
                </a:lnTo>
                <a:lnTo>
                  <a:pt x="253403" y="1657236"/>
                </a:lnTo>
                <a:lnTo>
                  <a:pt x="235229" y="1657236"/>
                </a:lnTo>
                <a:lnTo>
                  <a:pt x="235229" y="1639062"/>
                </a:lnTo>
                <a:lnTo>
                  <a:pt x="216713" y="1639062"/>
                </a:lnTo>
                <a:lnTo>
                  <a:pt x="216713" y="1657236"/>
                </a:lnTo>
                <a:lnTo>
                  <a:pt x="198539" y="1657236"/>
                </a:lnTo>
                <a:lnTo>
                  <a:pt x="198539" y="1675752"/>
                </a:lnTo>
                <a:lnTo>
                  <a:pt x="216713" y="1675752"/>
                </a:lnTo>
                <a:lnTo>
                  <a:pt x="216713" y="1693926"/>
                </a:lnTo>
                <a:close/>
                <a:moveTo>
                  <a:pt x="354559" y="1143572"/>
                </a:moveTo>
                <a:lnTo>
                  <a:pt x="371704" y="1143572"/>
                </a:lnTo>
                <a:lnTo>
                  <a:pt x="371704" y="1126427"/>
                </a:lnTo>
                <a:lnTo>
                  <a:pt x="388849" y="1126427"/>
                </a:lnTo>
                <a:lnTo>
                  <a:pt x="388849" y="1109282"/>
                </a:lnTo>
                <a:lnTo>
                  <a:pt x="371704" y="1109282"/>
                </a:lnTo>
                <a:lnTo>
                  <a:pt x="371704" y="1092137"/>
                </a:lnTo>
                <a:lnTo>
                  <a:pt x="354559" y="1092137"/>
                </a:lnTo>
                <a:lnTo>
                  <a:pt x="354559" y="1109282"/>
                </a:lnTo>
                <a:lnTo>
                  <a:pt x="337414" y="1109282"/>
                </a:lnTo>
                <a:lnTo>
                  <a:pt x="337414" y="1126427"/>
                </a:lnTo>
                <a:lnTo>
                  <a:pt x="354559" y="1126427"/>
                </a:lnTo>
                <a:lnTo>
                  <a:pt x="354559" y="1143572"/>
                </a:lnTo>
                <a:close/>
                <a:moveTo>
                  <a:pt x="217742" y="1417206"/>
                </a:moveTo>
                <a:lnTo>
                  <a:pt x="234201" y="1417206"/>
                </a:lnTo>
                <a:lnTo>
                  <a:pt x="234201" y="1400404"/>
                </a:lnTo>
                <a:lnTo>
                  <a:pt x="251003" y="1400404"/>
                </a:lnTo>
                <a:lnTo>
                  <a:pt x="251003" y="1383944"/>
                </a:lnTo>
                <a:lnTo>
                  <a:pt x="234201" y="1383944"/>
                </a:lnTo>
                <a:lnTo>
                  <a:pt x="234201" y="1367142"/>
                </a:lnTo>
                <a:lnTo>
                  <a:pt x="217742" y="1367142"/>
                </a:lnTo>
                <a:lnTo>
                  <a:pt x="217742" y="1383944"/>
                </a:lnTo>
                <a:lnTo>
                  <a:pt x="200939" y="1383944"/>
                </a:lnTo>
                <a:lnTo>
                  <a:pt x="200939" y="1400404"/>
                </a:lnTo>
                <a:lnTo>
                  <a:pt x="217742" y="1400404"/>
                </a:lnTo>
                <a:lnTo>
                  <a:pt x="217742" y="1417206"/>
                </a:lnTo>
                <a:close/>
                <a:moveTo>
                  <a:pt x="284950" y="1558138"/>
                </a:moveTo>
                <a:lnTo>
                  <a:pt x="304152" y="1558138"/>
                </a:lnTo>
                <a:lnTo>
                  <a:pt x="304152" y="1538935"/>
                </a:lnTo>
                <a:lnTo>
                  <a:pt x="323355" y="1538935"/>
                </a:lnTo>
                <a:lnTo>
                  <a:pt x="323355" y="1519733"/>
                </a:lnTo>
                <a:lnTo>
                  <a:pt x="304152" y="1519733"/>
                </a:lnTo>
                <a:lnTo>
                  <a:pt x="304152" y="1500530"/>
                </a:lnTo>
                <a:lnTo>
                  <a:pt x="284950" y="1500530"/>
                </a:lnTo>
                <a:lnTo>
                  <a:pt x="284950" y="1519733"/>
                </a:lnTo>
                <a:lnTo>
                  <a:pt x="265748" y="1519733"/>
                </a:lnTo>
                <a:lnTo>
                  <a:pt x="265748" y="1538935"/>
                </a:lnTo>
                <a:lnTo>
                  <a:pt x="284950" y="1538935"/>
                </a:lnTo>
                <a:lnTo>
                  <a:pt x="284950" y="1558138"/>
                </a:lnTo>
                <a:close/>
                <a:moveTo>
                  <a:pt x="356273" y="863765"/>
                </a:moveTo>
                <a:lnTo>
                  <a:pt x="369989" y="863765"/>
                </a:lnTo>
                <a:lnTo>
                  <a:pt x="369989" y="850392"/>
                </a:lnTo>
                <a:lnTo>
                  <a:pt x="383362" y="850392"/>
                </a:lnTo>
                <a:lnTo>
                  <a:pt x="383362" y="836676"/>
                </a:lnTo>
                <a:lnTo>
                  <a:pt x="369989" y="836676"/>
                </a:lnTo>
                <a:lnTo>
                  <a:pt x="369989" y="823303"/>
                </a:lnTo>
                <a:lnTo>
                  <a:pt x="356273" y="823303"/>
                </a:lnTo>
                <a:lnTo>
                  <a:pt x="356273" y="836676"/>
                </a:lnTo>
                <a:lnTo>
                  <a:pt x="342900" y="836676"/>
                </a:lnTo>
                <a:lnTo>
                  <a:pt x="342900" y="850392"/>
                </a:lnTo>
                <a:lnTo>
                  <a:pt x="356273" y="850392"/>
                </a:lnTo>
                <a:lnTo>
                  <a:pt x="356273" y="863765"/>
                </a:lnTo>
                <a:close/>
                <a:moveTo>
                  <a:pt x="1105510" y="742036"/>
                </a:moveTo>
                <a:lnTo>
                  <a:pt x="1129513" y="742036"/>
                </a:lnTo>
                <a:lnTo>
                  <a:pt x="1129513" y="718376"/>
                </a:lnTo>
                <a:lnTo>
                  <a:pt x="1153173" y="718376"/>
                </a:lnTo>
                <a:lnTo>
                  <a:pt x="1153173" y="694373"/>
                </a:lnTo>
                <a:lnTo>
                  <a:pt x="1129513" y="694373"/>
                </a:lnTo>
                <a:lnTo>
                  <a:pt x="1129513" y="670712"/>
                </a:lnTo>
                <a:lnTo>
                  <a:pt x="1105510" y="670712"/>
                </a:lnTo>
                <a:lnTo>
                  <a:pt x="1105510" y="694373"/>
                </a:lnTo>
                <a:lnTo>
                  <a:pt x="1081849" y="694373"/>
                </a:lnTo>
                <a:lnTo>
                  <a:pt x="1081849" y="718376"/>
                </a:lnTo>
                <a:lnTo>
                  <a:pt x="1105510" y="718376"/>
                </a:lnTo>
                <a:lnTo>
                  <a:pt x="1105510" y="742036"/>
                </a:lnTo>
                <a:close/>
                <a:moveTo>
                  <a:pt x="2432876" y="532524"/>
                </a:moveTo>
                <a:lnTo>
                  <a:pt x="2408187" y="532524"/>
                </a:lnTo>
                <a:lnTo>
                  <a:pt x="2408187" y="556870"/>
                </a:lnTo>
                <a:lnTo>
                  <a:pt x="2383841" y="556870"/>
                </a:lnTo>
                <a:lnTo>
                  <a:pt x="2383841" y="581558"/>
                </a:lnTo>
                <a:lnTo>
                  <a:pt x="2408187" y="581558"/>
                </a:lnTo>
                <a:lnTo>
                  <a:pt x="2408187" y="605904"/>
                </a:lnTo>
                <a:lnTo>
                  <a:pt x="2432876" y="605904"/>
                </a:lnTo>
                <a:lnTo>
                  <a:pt x="2432876" y="581558"/>
                </a:lnTo>
                <a:lnTo>
                  <a:pt x="2457221" y="581558"/>
                </a:lnTo>
                <a:lnTo>
                  <a:pt x="2457221" y="556870"/>
                </a:lnTo>
                <a:lnTo>
                  <a:pt x="2432876" y="556870"/>
                </a:lnTo>
                <a:lnTo>
                  <a:pt x="2432876" y="532524"/>
                </a:lnTo>
                <a:close/>
                <a:moveTo>
                  <a:pt x="425196" y="725919"/>
                </a:moveTo>
                <a:lnTo>
                  <a:pt x="438226" y="725919"/>
                </a:lnTo>
                <a:lnTo>
                  <a:pt x="438226" y="712889"/>
                </a:lnTo>
                <a:lnTo>
                  <a:pt x="451256" y="712889"/>
                </a:lnTo>
                <a:lnTo>
                  <a:pt x="451256" y="699859"/>
                </a:lnTo>
                <a:lnTo>
                  <a:pt x="438226" y="699859"/>
                </a:lnTo>
                <a:lnTo>
                  <a:pt x="438226" y="686829"/>
                </a:lnTo>
                <a:lnTo>
                  <a:pt x="425196" y="686829"/>
                </a:lnTo>
                <a:lnTo>
                  <a:pt x="425196" y="699859"/>
                </a:lnTo>
                <a:lnTo>
                  <a:pt x="412166" y="699859"/>
                </a:lnTo>
                <a:lnTo>
                  <a:pt x="412166" y="712889"/>
                </a:lnTo>
                <a:lnTo>
                  <a:pt x="425196" y="712889"/>
                </a:lnTo>
                <a:lnTo>
                  <a:pt x="425196" y="725919"/>
                </a:lnTo>
                <a:close/>
                <a:moveTo>
                  <a:pt x="488975" y="1426121"/>
                </a:moveTo>
                <a:lnTo>
                  <a:pt x="511607" y="1426121"/>
                </a:lnTo>
                <a:lnTo>
                  <a:pt x="511607" y="1403490"/>
                </a:lnTo>
                <a:lnTo>
                  <a:pt x="534238" y="1403490"/>
                </a:lnTo>
                <a:lnTo>
                  <a:pt x="534238" y="1380858"/>
                </a:lnTo>
                <a:lnTo>
                  <a:pt x="511607" y="1380858"/>
                </a:lnTo>
                <a:lnTo>
                  <a:pt x="511607" y="1358227"/>
                </a:lnTo>
                <a:lnTo>
                  <a:pt x="488975" y="1358227"/>
                </a:lnTo>
                <a:lnTo>
                  <a:pt x="488975" y="1380858"/>
                </a:lnTo>
                <a:lnTo>
                  <a:pt x="466344" y="1380858"/>
                </a:lnTo>
                <a:lnTo>
                  <a:pt x="466344" y="1403490"/>
                </a:lnTo>
                <a:lnTo>
                  <a:pt x="488975" y="1403490"/>
                </a:lnTo>
                <a:lnTo>
                  <a:pt x="488975" y="1426121"/>
                </a:lnTo>
                <a:close/>
                <a:moveTo>
                  <a:pt x="420052" y="1838287"/>
                </a:moveTo>
                <a:lnTo>
                  <a:pt x="443370" y="1838287"/>
                </a:lnTo>
                <a:lnTo>
                  <a:pt x="443370" y="1815313"/>
                </a:lnTo>
                <a:lnTo>
                  <a:pt x="466344" y="1815313"/>
                </a:lnTo>
                <a:lnTo>
                  <a:pt x="466344" y="1791995"/>
                </a:lnTo>
                <a:lnTo>
                  <a:pt x="443370" y="1791995"/>
                </a:lnTo>
                <a:lnTo>
                  <a:pt x="443370" y="1769021"/>
                </a:lnTo>
                <a:lnTo>
                  <a:pt x="420052" y="1769021"/>
                </a:lnTo>
                <a:lnTo>
                  <a:pt x="420052" y="1791995"/>
                </a:lnTo>
                <a:lnTo>
                  <a:pt x="397078" y="1791995"/>
                </a:lnTo>
                <a:lnTo>
                  <a:pt x="397078" y="1815313"/>
                </a:lnTo>
                <a:lnTo>
                  <a:pt x="420052" y="1815313"/>
                </a:lnTo>
                <a:lnTo>
                  <a:pt x="420052" y="1838287"/>
                </a:lnTo>
                <a:close/>
                <a:moveTo>
                  <a:pt x="423139" y="1006069"/>
                </a:moveTo>
                <a:lnTo>
                  <a:pt x="440284" y="1006069"/>
                </a:lnTo>
                <a:lnTo>
                  <a:pt x="440284" y="989267"/>
                </a:lnTo>
                <a:lnTo>
                  <a:pt x="457086" y="989267"/>
                </a:lnTo>
                <a:lnTo>
                  <a:pt x="457086" y="972122"/>
                </a:lnTo>
                <a:lnTo>
                  <a:pt x="440284" y="972122"/>
                </a:lnTo>
                <a:lnTo>
                  <a:pt x="440284" y="955319"/>
                </a:lnTo>
                <a:lnTo>
                  <a:pt x="423139" y="955319"/>
                </a:lnTo>
                <a:lnTo>
                  <a:pt x="423139" y="972122"/>
                </a:lnTo>
                <a:lnTo>
                  <a:pt x="406336" y="972122"/>
                </a:lnTo>
                <a:lnTo>
                  <a:pt x="406336" y="989267"/>
                </a:lnTo>
                <a:lnTo>
                  <a:pt x="423139" y="989267"/>
                </a:lnTo>
                <a:lnTo>
                  <a:pt x="423139" y="1006069"/>
                </a:lnTo>
                <a:close/>
                <a:moveTo>
                  <a:pt x="420738" y="1562595"/>
                </a:moveTo>
                <a:lnTo>
                  <a:pt x="442684" y="1562595"/>
                </a:lnTo>
                <a:lnTo>
                  <a:pt x="442684" y="1540307"/>
                </a:lnTo>
                <a:lnTo>
                  <a:pt x="464972" y="1540307"/>
                </a:lnTo>
                <a:lnTo>
                  <a:pt x="464972" y="1518361"/>
                </a:lnTo>
                <a:lnTo>
                  <a:pt x="442684" y="1518361"/>
                </a:lnTo>
                <a:lnTo>
                  <a:pt x="442684" y="1496073"/>
                </a:lnTo>
                <a:lnTo>
                  <a:pt x="420738" y="1496073"/>
                </a:lnTo>
                <a:lnTo>
                  <a:pt x="420738" y="1518361"/>
                </a:lnTo>
                <a:lnTo>
                  <a:pt x="398450" y="1518361"/>
                </a:lnTo>
                <a:lnTo>
                  <a:pt x="398450" y="1540307"/>
                </a:lnTo>
                <a:lnTo>
                  <a:pt x="420738" y="1540307"/>
                </a:lnTo>
                <a:lnTo>
                  <a:pt x="420738" y="1562595"/>
                </a:lnTo>
                <a:close/>
                <a:moveTo>
                  <a:pt x="421767" y="1284846"/>
                </a:moveTo>
                <a:lnTo>
                  <a:pt x="441655" y="1284846"/>
                </a:lnTo>
                <a:lnTo>
                  <a:pt x="441655" y="1264958"/>
                </a:lnTo>
                <a:lnTo>
                  <a:pt x="461543" y="1264958"/>
                </a:lnTo>
                <a:lnTo>
                  <a:pt x="461543" y="1245070"/>
                </a:lnTo>
                <a:lnTo>
                  <a:pt x="441655" y="1245070"/>
                </a:lnTo>
                <a:lnTo>
                  <a:pt x="441655" y="1225182"/>
                </a:lnTo>
                <a:lnTo>
                  <a:pt x="421767" y="1225182"/>
                </a:lnTo>
                <a:lnTo>
                  <a:pt x="421767" y="1245070"/>
                </a:lnTo>
                <a:lnTo>
                  <a:pt x="401879" y="1245070"/>
                </a:lnTo>
                <a:lnTo>
                  <a:pt x="401879" y="1264958"/>
                </a:lnTo>
                <a:lnTo>
                  <a:pt x="421767" y="1264958"/>
                </a:lnTo>
                <a:lnTo>
                  <a:pt x="421767" y="1284846"/>
                </a:lnTo>
                <a:close/>
                <a:moveTo>
                  <a:pt x="492061" y="868223"/>
                </a:moveTo>
                <a:lnTo>
                  <a:pt x="508521" y="868223"/>
                </a:lnTo>
                <a:lnTo>
                  <a:pt x="508521" y="851764"/>
                </a:lnTo>
                <a:lnTo>
                  <a:pt x="524980" y="851764"/>
                </a:lnTo>
                <a:lnTo>
                  <a:pt x="524980" y="835304"/>
                </a:lnTo>
                <a:lnTo>
                  <a:pt x="508521" y="835304"/>
                </a:lnTo>
                <a:lnTo>
                  <a:pt x="508521" y="818845"/>
                </a:lnTo>
                <a:lnTo>
                  <a:pt x="492061" y="818845"/>
                </a:lnTo>
                <a:lnTo>
                  <a:pt x="492061" y="835304"/>
                </a:lnTo>
                <a:lnTo>
                  <a:pt x="475602" y="835304"/>
                </a:lnTo>
                <a:lnTo>
                  <a:pt x="475602" y="851764"/>
                </a:lnTo>
                <a:lnTo>
                  <a:pt x="492061" y="851764"/>
                </a:lnTo>
                <a:lnTo>
                  <a:pt x="492061" y="868223"/>
                </a:lnTo>
                <a:close/>
                <a:moveTo>
                  <a:pt x="1931899" y="183109"/>
                </a:moveTo>
                <a:lnTo>
                  <a:pt x="1949044" y="183109"/>
                </a:lnTo>
                <a:lnTo>
                  <a:pt x="1949044" y="166307"/>
                </a:lnTo>
                <a:lnTo>
                  <a:pt x="1965846" y="166307"/>
                </a:lnTo>
                <a:lnTo>
                  <a:pt x="1965846" y="149162"/>
                </a:lnTo>
                <a:lnTo>
                  <a:pt x="1949044" y="149162"/>
                </a:lnTo>
                <a:lnTo>
                  <a:pt x="1949044" y="132359"/>
                </a:lnTo>
                <a:lnTo>
                  <a:pt x="1931899" y="132359"/>
                </a:lnTo>
                <a:lnTo>
                  <a:pt x="1931899" y="149162"/>
                </a:lnTo>
                <a:lnTo>
                  <a:pt x="1915096" y="149162"/>
                </a:lnTo>
                <a:lnTo>
                  <a:pt x="1915096" y="166307"/>
                </a:lnTo>
                <a:lnTo>
                  <a:pt x="1931899" y="166307"/>
                </a:lnTo>
                <a:lnTo>
                  <a:pt x="1931899" y="183109"/>
                </a:lnTo>
                <a:close/>
                <a:moveTo>
                  <a:pt x="1999107" y="325069"/>
                </a:moveTo>
                <a:lnTo>
                  <a:pt x="2018995" y="325069"/>
                </a:lnTo>
                <a:lnTo>
                  <a:pt x="2018995" y="304838"/>
                </a:lnTo>
                <a:lnTo>
                  <a:pt x="2039227" y="304838"/>
                </a:lnTo>
                <a:lnTo>
                  <a:pt x="2039227" y="284950"/>
                </a:lnTo>
                <a:lnTo>
                  <a:pt x="2018995" y="284950"/>
                </a:lnTo>
                <a:lnTo>
                  <a:pt x="2018995" y="264719"/>
                </a:lnTo>
                <a:lnTo>
                  <a:pt x="1999107" y="264719"/>
                </a:lnTo>
                <a:lnTo>
                  <a:pt x="1999107" y="284950"/>
                </a:lnTo>
                <a:lnTo>
                  <a:pt x="1978876" y="284950"/>
                </a:lnTo>
                <a:lnTo>
                  <a:pt x="1978876" y="304838"/>
                </a:lnTo>
                <a:lnTo>
                  <a:pt x="1999107" y="304838"/>
                </a:lnTo>
                <a:lnTo>
                  <a:pt x="1999107" y="325069"/>
                </a:lnTo>
                <a:close/>
                <a:moveTo>
                  <a:pt x="2136267" y="324726"/>
                </a:moveTo>
                <a:lnTo>
                  <a:pt x="2156155" y="324726"/>
                </a:lnTo>
                <a:lnTo>
                  <a:pt x="2156155" y="304838"/>
                </a:lnTo>
                <a:lnTo>
                  <a:pt x="2176043" y="304838"/>
                </a:lnTo>
                <a:lnTo>
                  <a:pt x="2176043" y="284950"/>
                </a:lnTo>
                <a:lnTo>
                  <a:pt x="2156155" y="284950"/>
                </a:lnTo>
                <a:lnTo>
                  <a:pt x="2156155" y="265062"/>
                </a:lnTo>
                <a:lnTo>
                  <a:pt x="2136267" y="265062"/>
                </a:lnTo>
                <a:lnTo>
                  <a:pt x="2136267" y="284950"/>
                </a:lnTo>
                <a:lnTo>
                  <a:pt x="2116379" y="284950"/>
                </a:lnTo>
                <a:lnTo>
                  <a:pt x="2116379" y="304838"/>
                </a:lnTo>
                <a:lnTo>
                  <a:pt x="2136267" y="304838"/>
                </a:lnTo>
                <a:lnTo>
                  <a:pt x="2136267" y="324726"/>
                </a:lnTo>
                <a:close/>
                <a:moveTo>
                  <a:pt x="2065972" y="466687"/>
                </a:moveTo>
                <a:lnTo>
                  <a:pt x="2089290" y="466687"/>
                </a:lnTo>
                <a:lnTo>
                  <a:pt x="2089290" y="443713"/>
                </a:lnTo>
                <a:lnTo>
                  <a:pt x="2112264" y="443713"/>
                </a:lnTo>
                <a:lnTo>
                  <a:pt x="2112264" y="420395"/>
                </a:lnTo>
                <a:lnTo>
                  <a:pt x="2089290" y="420395"/>
                </a:lnTo>
                <a:lnTo>
                  <a:pt x="2089290" y="397421"/>
                </a:lnTo>
                <a:lnTo>
                  <a:pt x="2065972" y="397421"/>
                </a:lnTo>
                <a:lnTo>
                  <a:pt x="2065972" y="420395"/>
                </a:lnTo>
                <a:lnTo>
                  <a:pt x="2042998" y="420395"/>
                </a:lnTo>
                <a:lnTo>
                  <a:pt x="2042998" y="443713"/>
                </a:lnTo>
                <a:lnTo>
                  <a:pt x="2065972" y="443713"/>
                </a:lnTo>
                <a:lnTo>
                  <a:pt x="2065972" y="466687"/>
                </a:lnTo>
                <a:close/>
                <a:moveTo>
                  <a:pt x="2069059" y="183109"/>
                </a:moveTo>
                <a:lnTo>
                  <a:pt x="2086204" y="183109"/>
                </a:lnTo>
                <a:lnTo>
                  <a:pt x="2086204" y="166307"/>
                </a:lnTo>
                <a:lnTo>
                  <a:pt x="2103006" y="166307"/>
                </a:lnTo>
                <a:lnTo>
                  <a:pt x="2103006" y="149162"/>
                </a:lnTo>
                <a:lnTo>
                  <a:pt x="2086204" y="149162"/>
                </a:lnTo>
                <a:lnTo>
                  <a:pt x="2086204" y="132359"/>
                </a:lnTo>
                <a:lnTo>
                  <a:pt x="2069059" y="132359"/>
                </a:lnTo>
                <a:lnTo>
                  <a:pt x="2069059" y="149162"/>
                </a:lnTo>
                <a:lnTo>
                  <a:pt x="2052256" y="149162"/>
                </a:lnTo>
                <a:lnTo>
                  <a:pt x="2052256" y="166307"/>
                </a:lnTo>
                <a:lnTo>
                  <a:pt x="2069059" y="166307"/>
                </a:lnTo>
                <a:lnTo>
                  <a:pt x="2069059" y="183109"/>
                </a:lnTo>
                <a:close/>
                <a:moveTo>
                  <a:pt x="1791652" y="467030"/>
                </a:moveTo>
                <a:lnTo>
                  <a:pt x="1814970" y="467030"/>
                </a:lnTo>
                <a:lnTo>
                  <a:pt x="1814970" y="443713"/>
                </a:lnTo>
                <a:lnTo>
                  <a:pt x="1838287" y="443713"/>
                </a:lnTo>
                <a:lnTo>
                  <a:pt x="1838287" y="420395"/>
                </a:lnTo>
                <a:lnTo>
                  <a:pt x="1814970" y="420395"/>
                </a:lnTo>
                <a:lnTo>
                  <a:pt x="1814970" y="397078"/>
                </a:lnTo>
                <a:lnTo>
                  <a:pt x="1791652" y="397078"/>
                </a:lnTo>
                <a:lnTo>
                  <a:pt x="1791652" y="420395"/>
                </a:lnTo>
                <a:lnTo>
                  <a:pt x="1768335" y="420395"/>
                </a:lnTo>
                <a:lnTo>
                  <a:pt x="1768335" y="443713"/>
                </a:lnTo>
                <a:lnTo>
                  <a:pt x="1791652" y="443713"/>
                </a:lnTo>
                <a:lnTo>
                  <a:pt x="1791652" y="467030"/>
                </a:lnTo>
                <a:close/>
                <a:moveTo>
                  <a:pt x="1794739" y="183109"/>
                </a:moveTo>
                <a:lnTo>
                  <a:pt x="1811884" y="183109"/>
                </a:lnTo>
                <a:lnTo>
                  <a:pt x="1811884" y="166307"/>
                </a:lnTo>
                <a:lnTo>
                  <a:pt x="1828686" y="166307"/>
                </a:lnTo>
                <a:lnTo>
                  <a:pt x="1828686" y="149162"/>
                </a:lnTo>
                <a:lnTo>
                  <a:pt x="1811884" y="149162"/>
                </a:lnTo>
                <a:lnTo>
                  <a:pt x="1811884" y="132359"/>
                </a:lnTo>
                <a:lnTo>
                  <a:pt x="1794739" y="132359"/>
                </a:lnTo>
                <a:lnTo>
                  <a:pt x="1794739" y="149162"/>
                </a:lnTo>
                <a:lnTo>
                  <a:pt x="1777936" y="149162"/>
                </a:lnTo>
                <a:lnTo>
                  <a:pt x="1777936" y="166307"/>
                </a:lnTo>
                <a:lnTo>
                  <a:pt x="1794739" y="166307"/>
                </a:lnTo>
                <a:lnTo>
                  <a:pt x="1794739" y="183109"/>
                </a:lnTo>
                <a:close/>
                <a:moveTo>
                  <a:pt x="1928812" y="467030"/>
                </a:moveTo>
                <a:lnTo>
                  <a:pt x="1952130" y="467030"/>
                </a:lnTo>
                <a:lnTo>
                  <a:pt x="1952130" y="443713"/>
                </a:lnTo>
                <a:lnTo>
                  <a:pt x="1975447" y="443713"/>
                </a:lnTo>
                <a:lnTo>
                  <a:pt x="1975447" y="420395"/>
                </a:lnTo>
                <a:lnTo>
                  <a:pt x="1952130" y="420395"/>
                </a:lnTo>
                <a:lnTo>
                  <a:pt x="1952130" y="397078"/>
                </a:lnTo>
                <a:lnTo>
                  <a:pt x="1928812" y="397078"/>
                </a:lnTo>
                <a:lnTo>
                  <a:pt x="1928812" y="420395"/>
                </a:lnTo>
                <a:lnTo>
                  <a:pt x="1905495" y="420395"/>
                </a:lnTo>
                <a:lnTo>
                  <a:pt x="1905495" y="443713"/>
                </a:lnTo>
                <a:lnTo>
                  <a:pt x="1928812" y="443713"/>
                </a:lnTo>
                <a:lnTo>
                  <a:pt x="1928812" y="467030"/>
                </a:lnTo>
                <a:close/>
                <a:moveTo>
                  <a:pt x="1861604" y="325412"/>
                </a:moveTo>
                <a:lnTo>
                  <a:pt x="1882178" y="325412"/>
                </a:lnTo>
                <a:lnTo>
                  <a:pt x="1882178" y="305181"/>
                </a:lnTo>
                <a:lnTo>
                  <a:pt x="1902409" y="305181"/>
                </a:lnTo>
                <a:lnTo>
                  <a:pt x="1902409" y="284607"/>
                </a:lnTo>
                <a:lnTo>
                  <a:pt x="1882178" y="284607"/>
                </a:lnTo>
                <a:lnTo>
                  <a:pt x="1882178" y="264376"/>
                </a:lnTo>
                <a:lnTo>
                  <a:pt x="1861604" y="264376"/>
                </a:lnTo>
                <a:lnTo>
                  <a:pt x="1861604" y="284607"/>
                </a:lnTo>
                <a:lnTo>
                  <a:pt x="1841373" y="284607"/>
                </a:lnTo>
                <a:lnTo>
                  <a:pt x="1841373" y="305181"/>
                </a:lnTo>
                <a:lnTo>
                  <a:pt x="1861604" y="305181"/>
                </a:lnTo>
                <a:lnTo>
                  <a:pt x="1861604" y="325412"/>
                </a:lnTo>
                <a:close/>
                <a:moveTo>
                  <a:pt x="1865033" y="40805"/>
                </a:moveTo>
                <a:lnTo>
                  <a:pt x="1878749" y="40805"/>
                </a:lnTo>
                <a:lnTo>
                  <a:pt x="1878749" y="27432"/>
                </a:lnTo>
                <a:lnTo>
                  <a:pt x="1892122" y="27432"/>
                </a:lnTo>
                <a:lnTo>
                  <a:pt x="1892122" y="13716"/>
                </a:lnTo>
                <a:lnTo>
                  <a:pt x="1878749" y="13716"/>
                </a:lnTo>
                <a:lnTo>
                  <a:pt x="1878749" y="343"/>
                </a:lnTo>
                <a:lnTo>
                  <a:pt x="1865033" y="343"/>
                </a:lnTo>
                <a:lnTo>
                  <a:pt x="1865033" y="13716"/>
                </a:lnTo>
                <a:lnTo>
                  <a:pt x="1851660" y="13716"/>
                </a:lnTo>
                <a:lnTo>
                  <a:pt x="1851660" y="27432"/>
                </a:lnTo>
                <a:lnTo>
                  <a:pt x="1865033" y="27432"/>
                </a:lnTo>
                <a:lnTo>
                  <a:pt x="1865033" y="40805"/>
                </a:lnTo>
                <a:close/>
                <a:moveTo>
                  <a:pt x="2002193" y="41148"/>
                </a:moveTo>
                <a:lnTo>
                  <a:pt x="2015909" y="41148"/>
                </a:lnTo>
                <a:lnTo>
                  <a:pt x="2015909" y="27432"/>
                </a:lnTo>
                <a:lnTo>
                  <a:pt x="2029625" y="27432"/>
                </a:lnTo>
                <a:lnTo>
                  <a:pt x="2029625" y="13716"/>
                </a:lnTo>
                <a:lnTo>
                  <a:pt x="2015909" y="13716"/>
                </a:lnTo>
                <a:lnTo>
                  <a:pt x="2015909" y="0"/>
                </a:lnTo>
                <a:lnTo>
                  <a:pt x="2002193" y="0"/>
                </a:lnTo>
                <a:lnTo>
                  <a:pt x="2002193" y="13716"/>
                </a:lnTo>
                <a:lnTo>
                  <a:pt x="1988477" y="13716"/>
                </a:lnTo>
                <a:lnTo>
                  <a:pt x="1988477" y="27432"/>
                </a:lnTo>
                <a:lnTo>
                  <a:pt x="2002193" y="27432"/>
                </a:lnTo>
                <a:lnTo>
                  <a:pt x="2002193" y="41148"/>
                </a:lnTo>
                <a:close/>
                <a:moveTo>
                  <a:pt x="2344064" y="181394"/>
                </a:moveTo>
                <a:lnTo>
                  <a:pt x="2359838" y="181394"/>
                </a:lnTo>
                <a:lnTo>
                  <a:pt x="2359838" y="165621"/>
                </a:lnTo>
                <a:lnTo>
                  <a:pt x="2375611" y="165621"/>
                </a:lnTo>
                <a:lnTo>
                  <a:pt x="2375611" y="149847"/>
                </a:lnTo>
                <a:lnTo>
                  <a:pt x="2359838" y="149847"/>
                </a:lnTo>
                <a:lnTo>
                  <a:pt x="2359838" y="134074"/>
                </a:lnTo>
                <a:lnTo>
                  <a:pt x="2344064" y="134074"/>
                </a:lnTo>
                <a:lnTo>
                  <a:pt x="2344064" y="149847"/>
                </a:lnTo>
                <a:lnTo>
                  <a:pt x="2328291" y="149847"/>
                </a:lnTo>
                <a:lnTo>
                  <a:pt x="2328291" y="165621"/>
                </a:lnTo>
                <a:lnTo>
                  <a:pt x="2344064" y="165621"/>
                </a:lnTo>
                <a:lnTo>
                  <a:pt x="2344064" y="181394"/>
                </a:lnTo>
                <a:close/>
                <a:moveTo>
                  <a:pt x="1108253" y="459829"/>
                </a:moveTo>
                <a:lnTo>
                  <a:pt x="1126769" y="459829"/>
                </a:lnTo>
                <a:lnTo>
                  <a:pt x="1126769" y="441312"/>
                </a:lnTo>
                <a:lnTo>
                  <a:pt x="1145286" y="441312"/>
                </a:lnTo>
                <a:lnTo>
                  <a:pt x="1145286" y="422796"/>
                </a:lnTo>
                <a:lnTo>
                  <a:pt x="1126769" y="422796"/>
                </a:lnTo>
                <a:lnTo>
                  <a:pt x="1126769" y="404279"/>
                </a:lnTo>
                <a:lnTo>
                  <a:pt x="1108253" y="404279"/>
                </a:lnTo>
                <a:lnTo>
                  <a:pt x="1108253" y="422796"/>
                </a:lnTo>
                <a:lnTo>
                  <a:pt x="1089736" y="422796"/>
                </a:lnTo>
                <a:lnTo>
                  <a:pt x="1089736" y="441312"/>
                </a:lnTo>
                <a:lnTo>
                  <a:pt x="1108253" y="441312"/>
                </a:lnTo>
                <a:lnTo>
                  <a:pt x="1108253" y="459829"/>
                </a:lnTo>
                <a:close/>
                <a:moveTo>
                  <a:pt x="2414359" y="38748"/>
                </a:moveTo>
                <a:lnTo>
                  <a:pt x="2426704" y="38748"/>
                </a:lnTo>
                <a:lnTo>
                  <a:pt x="2426704" y="26746"/>
                </a:lnTo>
                <a:lnTo>
                  <a:pt x="2438705" y="26746"/>
                </a:lnTo>
                <a:lnTo>
                  <a:pt x="2438705" y="14402"/>
                </a:lnTo>
                <a:lnTo>
                  <a:pt x="2426704" y="14402"/>
                </a:lnTo>
                <a:lnTo>
                  <a:pt x="2426704" y="2400"/>
                </a:lnTo>
                <a:lnTo>
                  <a:pt x="2414359" y="2400"/>
                </a:lnTo>
                <a:lnTo>
                  <a:pt x="2414359" y="14402"/>
                </a:lnTo>
                <a:lnTo>
                  <a:pt x="2402357" y="14402"/>
                </a:lnTo>
                <a:lnTo>
                  <a:pt x="2402357" y="26746"/>
                </a:lnTo>
                <a:lnTo>
                  <a:pt x="2414359" y="26746"/>
                </a:lnTo>
                <a:lnTo>
                  <a:pt x="2414359" y="38748"/>
                </a:lnTo>
                <a:close/>
                <a:moveTo>
                  <a:pt x="2340979" y="465315"/>
                </a:moveTo>
                <a:lnTo>
                  <a:pt x="2362924" y="465315"/>
                </a:lnTo>
                <a:lnTo>
                  <a:pt x="2362924" y="443027"/>
                </a:lnTo>
                <a:lnTo>
                  <a:pt x="2385212" y="443027"/>
                </a:lnTo>
                <a:lnTo>
                  <a:pt x="2385212" y="421081"/>
                </a:lnTo>
                <a:lnTo>
                  <a:pt x="2362924" y="421081"/>
                </a:lnTo>
                <a:lnTo>
                  <a:pt x="2362924" y="398793"/>
                </a:lnTo>
                <a:lnTo>
                  <a:pt x="2340979" y="398793"/>
                </a:lnTo>
                <a:lnTo>
                  <a:pt x="2340979" y="421081"/>
                </a:lnTo>
                <a:lnTo>
                  <a:pt x="2318690" y="421081"/>
                </a:lnTo>
                <a:lnTo>
                  <a:pt x="2318690" y="443027"/>
                </a:lnTo>
                <a:lnTo>
                  <a:pt x="2340979" y="443027"/>
                </a:lnTo>
                <a:lnTo>
                  <a:pt x="2340979" y="465315"/>
                </a:lnTo>
                <a:close/>
                <a:moveTo>
                  <a:pt x="2203475" y="466344"/>
                </a:moveTo>
                <a:lnTo>
                  <a:pt x="2226107" y="466344"/>
                </a:lnTo>
                <a:lnTo>
                  <a:pt x="2226107" y="443370"/>
                </a:lnTo>
                <a:lnTo>
                  <a:pt x="2249081" y="443370"/>
                </a:lnTo>
                <a:lnTo>
                  <a:pt x="2249081" y="420738"/>
                </a:lnTo>
                <a:lnTo>
                  <a:pt x="2226107" y="420738"/>
                </a:lnTo>
                <a:lnTo>
                  <a:pt x="2226107" y="397764"/>
                </a:lnTo>
                <a:lnTo>
                  <a:pt x="2203475" y="397764"/>
                </a:lnTo>
                <a:lnTo>
                  <a:pt x="2203475" y="420738"/>
                </a:lnTo>
                <a:lnTo>
                  <a:pt x="2180501" y="420738"/>
                </a:lnTo>
                <a:lnTo>
                  <a:pt x="2180501" y="443370"/>
                </a:lnTo>
                <a:lnTo>
                  <a:pt x="2203475" y="443370"/>
                </a:lnTo>
                <a:lnTo>
                  <a:pt x="2203475" y="466344"/>
                </a:lnTo>
                <a:close/>
                <a:moveTo>
                  <a:pt x="2139353" y="40805"/>
                </a:moveTo>
                <a:lnTo>
                  <a:pt x="2153069" y="40805"/>
                </a:lnTo>
                <a:lnTo>
                  <a:pt x="2153069" y="27432"/>
                </a:lnTo>
                <a:lnTo>
                  <a:pt x="2166442" y="27432"/>
                </a:lnTo>
                <a:lnTo>
                  <a:pt x="2166442" y="13716"/>
                </a:lnTo>
                <a:lnTo>
                  <a:pt x="2153069" y="13716"/>
                </a:lnTo>
                <a:lnTo>
                  <a:pt x="2153069" y="343"/>
                </a:lnTo>
                <a:lnTo>
                  <a:pt x="2139353" y="343"/>
                </a:lnTo>
                <a:lnTo>
                  <a:pt x="2139353" y="13716"/>
                </a:lnTo>
                <a:lnTo>
                  <a:pt x="2125980" y="13716"/>
                </a:lnTo>
                <a:lnTo>
                  <a:pt x="2125980" y="27432"/>
                </a:lnTo>
                <a:lnTo>
                  <a:pt x="2139353" y="27432"/>
                </a:lnTo>
                <a:lnTo>
                  <a:pt x="2139353" y="40805"/>
                </a:lnTo>
                <a:close/>
                <a:moveTo>
                  <a:pt x="2206562" y="182423"/>
                </a:moveTo>
                <a:lnTo>
                  <a:pt x="2223021" y="182423"/>
                </a:lnTo>
                <a:lnTo>
                  <a:pt x="2223021" y="165964"/>
                </a:lnTo>
                <a:lnTo>
                  <a:pt x="2239480" y="165964"/>
                </a:lnTo>
                <a:lnTo>
                  <a:pt x="2239480" y="149504"/>
                </a:lnTo>
                <a:lnTo>
                  <a:pt x="2223021" y="149504"/>
                </a:lnTo>
                <a:lnTo>
                  <a:pt x="2223021" y="133045"/>
                </a:lnTo>
                <a:lnTo>
                  <a:pt x="2206562" y="133045"/>
                </a:lnTo>
                <a:lnTo>
                  <a:pt x="2206562" y="149504"/>
                </a:lnTo>
                <a:lnTo>
                  <a:pt x="2190103" y="149504"/>
                </a:lnTo>
                <a:lnTo>
                  <a:pt x="2190103" y="165964"/>
                </a:lnTo>
                <a:lnTo>
                  <a:pt x="2206562" y="165964"/>
                </a:lnTo>
                <a:lnTo>
                  <a:pt x="2206562" y="182423"/>
                </a:lnTo>
                <a:close/>
                <a:moveTo>
                  <a:pt x="2273770" y="324041"/>
                </a:moveTo>
                <a:lnTo>
                  <a:pt x="2292973" y="324041"/>
                </a:lnTo>
                <a:lnTo>
                  <a:pt x="2292973" y="304495"/>
                </a:lnTo>
                <a:lnTo>
                  <a:pt x="2312518" y="304495"/>
                </a:lnTo>
                <a:lnTo>
                  <a:pt x="2312518" y="285293"/>
                </a:lnTo>
                <a:lnTo>
                  <a:pt x="2292973" y="285293"/>
                </a:lnTo>
                <a:lnTo>
                  <a:pt x="2292973" y="265748"/>
                </a:lnTo>
                <a:lnTo>
                  <a:pt x="2273770" y="265748"/>
                </a:lnTo>
                <a:lnTo>
                  <a:pt x="2273770" y="285293"/>
                </a:lnTo>
                <a:lnTo>
                  <a:pt x="2254225" y="285293"/>
                </a:lnTo>
                <a:lnTo>
                  <a:pt x="2254225" y="304495"/>
                </a:lnTo>
                <a:lnTo>
                  <a:pt x="2273770" y="304495"/>
                </a:lnTo>
                <a:lnTo>
                  <a:pt x="2273770" y="324041"/>
                </a:lnTo>
                <a:close/>
                <a:moveTo>
                  <a:pt x="2276856" y="39776"/>
                </a:moveTo>
                <a:lnTo>
                  <a:pt x="2289886" y="39776"/>
                </a:lnTo>
                <a:lnTo>
                  <a:pt x="2289886" y="27089"/>
                </a:lnTo>
                <a:lnTo>
                  <a:pt x="2302574" y="27089"/>
                </a:lnTo>
                <a:lnTo>
                  <a:pt x="2302574" y="14059"/>
                </a:lnTo>
                <a:lnTo>
                  <a:pt x="2289886" y="14059"/>
                </a:lnTo>
                <a:lnTo>
                  <a:pt x="2289886" y="1372"/>
                </a:lnTo>
                <a:lnTo>
                  <a:pt x="2276856" y="1372"/>
                </a:lnTo>
                <a:lnTo>
                  <a:pt x="2276856" y="14059"/>
                </a:lnTo>
                <a:lnTo>
                  <a:pt x="2264169" y="14059"/>
                </a:lnTo>
                <a:lnTo>
                  <a:pt x="2264169" y="27089"/>
                </a:lnTo>
                <a:lnTo>
                  <a:pt x="2276856" y="27089"/>
                </a:lnTo>
                <a:lnTo>
                  <a:pt x="2276856" y="39776"/>
                </a:lnTo>
                <a:close/>
                <a:moveTo>
                  <a:pt x="2411273" y="323012"/>
                </a:moveTo>
                <a:lnTo>
                  <a:pt x="2429789" y="323012"/>
                </a:lnTo>
                <a:lnTo>
                  <a:pt x="2429789" y="304152"/>
                </a:lnTo>
                <a:lnTo>
                  <a:pt x="2448649" y="304152"/>
                </a:lnTo>
                <a:lnTo>
                  <a:pt x="2448649" y="285636"/>
                </a:lnTo>
                <a:lnTo>
                  <a:pt x="2429789" y="285636"/>
                </a:lnTo>
                <a:lnTo>
                  <a:pt x="2429789" y="266776"/>
                </a:lnTo>
                <a:lnTo>
                  <a:pt x="2411273" y="266776"/>
                </a:lnTo>
                <a:lnTo>
                  <a:pt x="2411273" y="285636"/>
                </a:lnTo>
                <a:lnTo>
                  <a:pt x="2392414" y="285636"/>
                </a:lnTo>
                <a:lnTo>
                  <a:pt x="2392414" y="304152"/>
                </a:lnTo>
                <a:lnTo>
                  <a:pt x="2411273" y="304152"/>
                </a:lnTo>
                <a:lnTo>
                  <a:pt x="2411273" y="323012"/>
                </a:lnTo>
                <a:close/>
                <a:moveTo>
                  <a:pt x="1314336" y="321297"/>
                </a:moveTo>
                <a:lnTo>
                  <a:pt x="1332166" y="321297"/>
                </a:lnTo>
                <a:lnTo>
                  <a:pt x="1332166" y="303809"/>
                </a:lnTo>
                <a:lnTo>
                  <a:pt x="1349654" y="303809"/>
                </a:lnTo>
                <a:lnTo>
                  <a:pt x="1349654" y="285979"/>
                </a:lnTo>
                <a:lnTo>
                  <a:pt x="1332166" y="285979"/>
                </a:lnTo>
                <a:lnTo>
                  <a:pt x="1332166" y="268491"/>
                </a:lnTo>
                <a:lnTo>
                  <a:pt x="1314336" y="268491"/>
                </a:lnTo>
                <a:lnTo>
                  <a:pt x="1314336" y="285979"/>
                </a:lnTo>
                <a:lnTo>
                  <a:pt x="1296848" y="285979"/>
                </a:lnTo>
                <a:lnTo>
                  <a:pt x="1296848" y="303809"/>
                </a:lnTo>
                <a:lnTo>
                  <a:pt x="1314336" y="303809"/>
                </a:lnTo>
                <a:lnTo>
                  <a:pt x="1314336" y="321297"/>
                </a:lnTo>
                <a:close/>
                <a:moveTo>
                  <a:pt x="1247813" y="178651"/>
                </a:moveTo>
                <a:lnTo>
                  <a:pt x="1261529" y="178651"/>
                </a:lnTo>
                <a:lnTo>
                  <a:pt x="1261529" y="164592"/>
                </a:lnTo>
                <a:lnTo>
                  <a:pt x="1275588" y="164592"/>
                </a:lnTo>
                <a:lnTo>
                  <a:pt x="1275588" y="150876"/>
                </a:lnTo>
                <a:lnTo>
                  <a:pt x="1261529" y="150876"/>
                </a:lnTo>
                <a:lnTo>
                  <a:pt x="1261529" y="136817"/>
                </a:lnTo>
                <a:lnTo>
                  <a:pt x="1247813" y="136817"/>
                </a:lnTo>
                <a:lnTo>
                  <a:pt x="1247813" y="150876"/>
                </a:lnTo>
                <a:lnTo>
                  <a:pt x="1233754" y="150876"/>
                </a:lnTo>
                <a:lnTo>
                  <a:pt x="1233754" y="164592"/>
                </a:lnTo>
                <a:lnTo>
                  <a:pt x="1247813" y="164592"/>
                </a:lnTo>
                <a:lnTo>
                  <a:pt x="1247813" y="178651"/>
                </a:lnTo>
                <a:close/>
                <a:moveTo>
                  <a:pt x="1311592" y="604190"/>
                </a:moveTo>
                <a:lnTo>
                  <a:pt x="1334910" y="604190"/>
                </a:lnTo>
                <a:lnTo>
                  <a:pt x="1334910" y="580873"/>
                </a:lnTo>
                <a:lnTo>
                  <a:pt x="1358227" y="580873"/>
                </a:lnTo>
                <a:lnTo>
                  <a:pt x="1358227" y="557555"/>
                </a:lnTo>
                <a:lnTo>
                  <a:pt x="1334910" y="557555"/>
                </a:lnTo>
                <a:lnTo>
                  <a:pt x="1334910" y="534238"/>
                </a:lnTo>
                <a:lnTo>
                  <a:pt x="1311592" y="534238"/>
                </a:lnTo>
                <a:lnTo>
                  <a:pt x="1311592" y="557555"/>
                </a:lnTo>
                <a:lnTo>
                  <a:pt x="1288275" y="557555"/>
                </a:lnTo>
                <a:lnTo>
                  <a:pt x="1288275" y="580873"/>
                </a:lnTo>
                <a:lnTo>
                  <a:pt x="1311592" y="580873"/>
                </a:lnTo>
                <a:lnTo>
                  <a:pt x="1311592" y="604190"/>
                </a:lnTo>
                <a:close/>
                <a:moveTo>
                  <a:pt x="1381201" y="463944"/>
                </a:moveTo>
                <a:lnTo>
                  <a:pt x="1402461" y="463944"/>
                </a:lnTo>
                <a:lnTo>
                  <a:pt x="1402461" y="442684"/>
                </a:lnTo>
                <a:lnTo>
                  <a:pt x="1423721" y="442684"/>
                </a:lnTo>
                <a:lnTo>
                  <a:pt x="1423721" y="421424"/>
                </a:lnTo>
                <a:lnTo>
                  <a:pt x="1402461" y="421424"/>
                </a:lnTo>
                <a:lnTo>
                  <a:pt x="1402461" y="400164"/>
                </a:lnTo>
                <a:lnTo>
                  <a:pt x="1381201" y="400164"/>
                </a:lnTo>
                <a:lnTo>
                  <a:pt x="1381201" y="421424"/>
                </a:lnTo>
                <a:lnTo>
                  <a:pt x="1359941" y="421424"/>
                </a:lnTo>
                <a:lnTo>
                  <a:pt x="1359941" y="442684"/>
                </a:lnTo>
                <a:lnTo>
                  <a:pt x="1381201" y="442684"/>
                </a:lnTo>
                <a:lnTo>
                  <a:pt x="1381201" y="463944"/>
                </a:lnTo>
                <a:close/>
                <a:moveTo>
                  <a:pt x="1244727" y="461886"/>
                </a:moveTo>
                <a:lnTo>
                  <a:pt x="1264615" y="461886"/>
                </a:lnTo>
                <a:lnTo>
                  <a:pt x="1264615" y="441998"/>
                </a:lnTo>
                <a:lnTo>
                  <a:pt x="1284503" y="441998"/>
                </a:lnTo>
                <a:lnTo>
                  <a:pt x="1284503" y="422110"/>
                </a:lnTo>
                <a:lnTo>
                  <a:pt x="1264615" y="422110"/>
                </a:lnTo>
                <a:lnTo>
                  <a:pt x="1264615" y="402222"/>
                </a:lnTo>
                <a:lnTo>
                  <a:pt x="1244727" y="402222"/>
                </a:lnTo>
                <a:lnTo>
                  <a:pt x="1244727" y="422110"/>
                </a:lnTo>
                <a:lnTo>
                  <a:pt x="1224839" y="422110"/>
                </a:lnTo>
                <a:lnTo>
                  <a:pt x="1224839" y="441998"/>
                </a:lnTo>
                <a:lnTo>
                  <a:pt x="1244727" y="441998"/>
                </a:lnTo>
                <a:lnTo>
                  <a:pt x="1244727" y="461886"/>
                </a:lnTo>
                <a:close/>
                <a:moveTo>
                  <a:pt x="1384287" y="180365"/>
                </a:moveTo>
                <a:lnTo>
                  <a:pt x="1399375" y="180365"/>
                </a:lnTo>
                <a:lnTo>
                  <a:pt x="1399375" y="165278"/>
                </a:lnTo>
                <a:lnTo>
                  <a:pt x="1414462" y="165278"/>
                </a:lnTo>
                <a:lnTo>
                  <a:pt x="1414462" y="150190"/>
                </a:lnTo>
                <a:lnTo>
                  <a:pt x="1399375" y="150190"/>
                </a:lnTo>
                <a:lnTo>
                  <a:pt x="1399375" y="135103"/>
                </a:lnTo>
                <a:lnTo>
                  <a:pt x="1384287" y="135103"/>
                </a:lnTo>
                <a:lnTo>
                  <a:pt x="1384287" y="150190"/>
                </a:lnTo>
                <a:lnTo>
                  <a:pt x="1369200" y="150190"/>
                </a:lnTo>
                <a:lnTo>
                  <a:pt x="1369200" y="165278"/>
                </a:lnTo>
                <a:lnTo>
                  <a:pt x="1384287" y="165278"/>
                </a:lnTo>
                <a:lnTo>
                  <a:pt x="1384287" y="180365"/>
                </a:lnTo>
                <a:close/>
                <a:moveTo>
                  <a:pt x="1111339" y="176594"/>
                </a:moveTo>
                <a:lnTo>
                  <a:pt x="1123683" y="176594"/>
                </a:lnTo>
                <a:lnTo>
                  <a:pt x="1123683" y="163906"/>
                </a:lnTo>
                <a:lnTo>
                  <a:pt x="1136371" y="163906"/>
                </a:lnTo>
                <a:lnTo>
                  <a:pt x="1136371" y="151562"/>
                </a:lnTo>
                <a:lnTo>
                  <a:pt x="1123683" y="151562"/>
                </a:lnTo>
                <a:lnTo>
                  <a:pt x="1123683" y="138875"/>
                </a:lnTo>
                <a:lnTo>
                  <a:pt x="1111339" y="138875"/>
                </a:lnTo>
                <a:lnTo>
                  <a:pt x="1111339" y="151562"/>
                </a:lnTo>
                <a:lnTo>
                  <a:pt x="1098652" y="151562"/>
                </a:lnTo>
                <a:lnTo>
                  <a:pt x="1098652" y="163906"/>
                </a:lnTo>
                <a:lnTo>
                  <a:pt x="1111339" y="163906"/>
                </a:lnTo>
                <a:lnTo>
                  <a:pt x="1111339" y="176594"/>
                </a:lnTo>
                <a:close/>
                <a:moveTo>
                  <a:pt x="1175118" y="602475"/>
                </a:moveTo>
                <a:lnTo>
                  <a:pt x="1197064" y="602475"/>
                </a:lnTo>
                <a:lnTo>
                  <a:pt x="1197064" y="580187"/>
                </a:lnTo>
                <a:lnTo>
                  <a:pt x="1219352" y="580187"/>
                </a:lnTo>
                <a:lnTo>
                  <a:pt x="1219352" y="558241"/>
                </a:lnTo>
                <a:lnTo>
                  <a:pt x="1197064" y="558241"/>
                </a:lnTo>
                <a:lnTo>
                  <a:pt x="1197064" y="535953"/>
                </a:lnTo>
                <a:lnTo>
                  <a:pt x="1175118" y="535953"/>
                </a:lnTo>
                <a:lnTo>
                  <a:pt x="1175118" y="558241"/>
                </a:lnTo>
                <a:lnTo>
                  <a:pt x="1152830" y="558241"/>
                </a:lnTo>
                <a:lnTo>
                  <a:pt x="1152830" y="580187"/>
                </a:lnTo>
                <a:lnTo>
                  <a:pt x="1175118" y="580187"/>
                </a:lnTo>
                <a:lnTo>
                  <a:pt x="1175118" y="602475"/>
                </a:lnTo>
                <a:close/>
                <a:moveTo>
                  <a:pt x="1177861" y="319240"/>
                </a:moveTo>
                <a:lnTo>
                  <a:pt x="1194321" y="319240"/>
                </a:lnTo>
                <a:lnTo>
                  <a:pt x="1194321" y="303124"/>
                </a:lnTo>
                <a:lnTo>
                  <a:pt x="1210437" y="303124"/>
                </a:lnTo>
                <a:lnTo>
                  <a:pt x="1210437" y="286664"/>
                </a:lnTo>
                <a:lnTo>
                  <a:pt x="1194321" y="286664"/>
                </a:lnTo>
                <a:lnTo>
                  <a:pt x="1194321" y="270548"/>
                </a:lnTo>
                <a:lnTo>
                  <a:pt x="1177861" y="270548"/>
                </a:lnTo>
                <a:lnTo>
                  <a:pt x="1177861" y="286664"/>
                </a:lnTo>
                <a:lnTo>
                  <a:pt x="1161745" y="286664"/>
                </a:lnTo>
                <a:lnTo>
                  <a:pt x="1161745" y="303124"/>
                </a:lnTo>
                <a:lnTo>
                  <a:pt x="1177861" y="303124"/>
                </a:lnTo>
                <a:lnTo>
                  <a:pt x="1177861" y="319240"/>
                </a:lnTo>
                <a:close/>
                <a:moveTo>
                  <a:pt x="1657921" y="182423"/>
                </a:moveTo>
                <a:lnTo>
                  <a:pt x="1674381" y="182423"/>
                </a:lnTo>
                <a:lnTo>
                  <a:pt x="1674381" y="165964"/>
                </a:lnTo>
                <a:lnTo>
                  <a:pt x="1690840" y="165964"/>
                </a:lnTo>
                <a:lnTo>
                  <a:pt x="1690840" y="149504"/>
                </a:lnTo>
                <a:lnTo>
                  <a:pt x="1674381" y="149504"/>
                </a:lnTo>
                <a:lnTo>
                  <a:pt x="1674381" y="133045"/>
                </a:lnTo>
                <a:lnTo>
                  <a:pt x="1657921" y="133045"/>
                </a:lnTo>
                <a:lnTo>
                  <a:pt x="1657921" y="149504"/>
                </a:lnTo>
                <a:lnTo>
                  <a:pt x="1641462" y="149504"/>
                </a:lnTo>
                <a:lnTo>
                  <a:pt x="1641462" y="165964"/>
                </a:lnTo>
                <a:lnTo>
                  <a:pt x="1657921" y="165964"/>
                </a:lnTo>
                <a:lnTo>
                  <a:pt x="1657921" y="182423"/>
                </a:lnTo>
                <a:close/>
                <a:moveTo>
                  <a:pt x="1727873" y="40805"/>
                </a:moveTo>
                <a:lnTo>
                  <a:pt x="1741589" y="40805"/>
                </a:lnTo>
                <a:lnTo>
                  <a:pt x="1741589" y="27432"/>
                </a:lnTo>
                <a:lnTo>
                  <a:pt x="1754962" y="27432"/>
                </a:lnTo>
                <a:lnTo>
                  <a:pt x="1754962" y="13716"/>
                </a:lnTo>
                <a:lnTo>
                  <a:pt x="1741589" y="13716"/>
                </a:lnTo>
                <a:lnTo>
                  <a:pt x="1741589" y="343"/>
                </a:lnTo>
                <a:lnTo>
                  <a:pt x="1727873" y="343"/>
                </a:lnTo>
                <a:lnTo>
                  <a:pt x="1727873" y="13716"/>
                </a:lnTo>
                <a:lnTo>
                  <a:pt x="1714500" y="13716"/>
                </a:lnTo>
                <a:lnTo>
                  <a:pt x="1714500" y="27432"/>
                </a:lnTo>
                <a:lnTo>
                  <a:pt x="1727873" y="27432"/>
                </a:lnTo>
                <a:lnTo>
                  <a:pt x="1727873" y="40805"/>
                </a:lnTo>
                <a:close/>
                <a:moveTo>
                  <a:pt x="1654835" y="466001"/>
                </a:moveTo>
                <a:lnTo>
                  <a:pt x="1677467" y="466001"/>
                </a:lnTo>
                <a:lnTo>
                  <a:pt x="1677467" y="443370"/>
                </a:lnTo>
                <a:lnTo>
                  <a:pt x="1700098" y="443370"/>
                </a:lnTo>
                <a:lnTo>
                  <a:pt x="1700098" y="420738"/>
                </a:lnTo>
                <a:lnTo>
                  <a:pt x="1677467" y="420738"/>
                </a:lnTo>
                <a:lnTo>
                  <a:pt x="1677467" y="398107"/>
                </a:lnTo>
                <a:lnTo>
                  <a:pt x="1654835" y="398107"/>
                </a:lnTo>
                <a:lnTo>
                  <a:pt x="1654835" y="420738"/>
                </a:lnTo>
                <a:lnTo>
                  <a:pt x="1632204" y="420738"/>
                </a:lnTo>
                <a:lnTo>
                  <a:pt x="1632204" y="443370"/>
                </a:lnTo>
                <a:lnTo>
                  <a:pt x="1654835" y="443370"/>
                </a:lnTo>
                <a:lnTo>
                  <a:pt x="1654835" y="466001"/>
                </a:lnTo>
                <a:close/>
                <a:moveTo>
                  <a:pt x="1724787" y="325069"/>
                </a:moveTo>
                <a:lnTo>
                  <a:pt x="1744675" y="325069"/>
                </a:lnTo>
                <a:lnTo>
                  <a:pt x="1744675" y="304838"/>
                </a:lnTo>
                <a:lnTo>
                  <a:pt x="1764906" y="304838"/>
                </a:lnTo>
                <a:lnTo>
                  <a:pt x="1764906" y="284950"/>
                </a:lnTo>
                <a:lnTo>
                  <a:pt x="1744675" y="284950"/>
                </a:lnTo>
                <a:lnTo>
                  <a:pt x="1744675" y="264719"/>
                </a:lnTo>
                <a:lnTo>
                  <a:pt x="1724787" y="264719"/>
                </a:lnTo>
                <a:lnTo>
                  <a:pt x="1724787" y="284950"/>
                </a:lnTo>
                <a:lnTo>
                  <a:pt x="1704556" y="284950"/>
                </a:lnTo>
                <a:lnTo>
                  <a:pt x="1704556" y="304838"/>
                </a:lnTo>
                <a:lnTo>
                  <a:pt x="1724787" y="304838"/>
                </a:lnTo>
                <a:lnTo>
                  <a:pt x="1724787" y="325069"/>
                </a:lnTo>
                <a:close/>
                <a:moveTo>
                  <a:pt x="1591056" y="39776"/>
                </a:moveTo>
                <a:lnTo>
                  <a:pt x="1604086" y="39776"/>
                </a:lnTo>
                <a:lnTo>
                  <a:pt x="1604086" y="27089"/>
                </a:lnTo>
                <a:lnTo>
                  <a:pt x="1616773" y="27089"/>
                </a:lnTo>
                <a:lnTo>
                  <a:pt x="1616773" y="14059"/>
                </a:lnTo>
                <a:lnTo>
                  <a:pt x="1604086" y="14059"/>
                </a:lnTo>
                <a:lnTo>
                  <a:pt x="1604086" y="1372"/>
                </a:lnTo>
                <a:lnTo>
                  <a:pt x="1591056" y="1372"/>
                </a:lnTo>
                <a:lnTo>
                  <a:pt x="1591056" y="14059"/>
                </a:lnTo>
                <a:lnTo>
                  <a:pt x="1578369" y="14059"/>
                </a:lnTo>
                <a:lnTo>
                  <a:pt x="1578369" y="27089"/>
                </a:lnTo>
                <a:lnTo>
                  <a:pt x="1591056" y="27089"/>
                </a:lnTo>
                <a:lnTo>
                  <a:pt x="1591056" y="39776"/>
                </a:lnTo>
                <a:close/>
                <a:moveTo>
                  <a:pt x="1454239" y="39091"/>
                </a:moveTo>
                <a:lnTo>
                  <a:pt x="1466583" y="39091"/>
                </a:lnTo>
                <a:lnTo>
                  <a:pt x="1466583" y="26746"/>
                </a:lnTo>
                <a:lnTo>
                  <a:pt x="1478928" y="26746"/>
                </a:lnTo>
                <a:lnTo>
                  <a:pt x="1478928" y="14402"/>
                </a:lnTo>
                <a:lnTo>
                  <a:pt x="1466583" y="14402"/>
                </a:lnTo>
                <a:lnTo>
                  <a:pt x="1466583" y="2057"/>
                </a:lnTo>
                <a:lnTo>
                  <a:pt x="1454239" y="2057"/>
                </a:lnTo>
                <a:lnTo>
                  <a:pt x="1454239" y="14402"/>
                </a:lnTo>
                <a:lnTo>
                  <a:pt x="1441894" y="14402"/>
                </a:lnTo>
                <a:lnTo>
                  <a:pt x="1441894" y="26746"/>
                </a:lnTo>
                <a:lnTo>
                  <a:pt x="1454239" y="26746"/>
                </a:lnTo>
                <a:lnTo>
                  <a:pt x="1454239" y="39091"/>
                </a:lnTo>
                <a:close/>
                <a:moveTo>
                  <a:pt x="1518018" y="464972"/>
                </a:moveTo>
                <a:lnTo>
                  <a:pt x="1539964" y="464972"/>
                </a:lnTo>
                <a:lnTo>
                  <a:pt x="1539964" y="443027"/>
                </a:lnTo>
                <a:lnTo>
                  <a:pt x="1561909" y="443027"/>
                </a:lnTo>
                <a:lnTo>
                  <a:pt x="1561909" y="421081"/>
                </a:lnTo>
                <a:lnTo>
                  <a:pt x="1539964" y="421081"/>
                </a:lnTo>
                <a:lnTo>
                  <a:pt x="1539964" y="399136"/>
                </a:lnTo>
                <a:lnTo>
                  <a:pt x="1518018" y="399136"/>
                </a:lnTo>
                <a:lnTo>
                  <a:pt x="1518018" y="421081"/>
                </a:lnTo>
                <a:lnTo>
                  <a:pt x="1496073" y="421081"/>
                </a:lnTo>
                <a:lnTo>
                  <a:pt x="1496073" y="443027"/>
                </a:lnTo>
                <a:lnTo>
                  <a:pt x="1518018" y="443027"/>
                </a:lnTo>
                <a:lnTo>
                  <a:pt x="1518018" y="464972"/>
                </a:lnTo>
                <a:close/>
                <a:moveTo>
                  <a:pt x="1451153" y="323012"/>
                </a:moveTo>
                <a:lnTo>
                  <a:pt x="1469669" y="323012"/>
                </a:lnTo>
                <a:lnTo>
                  <a:pt x="1469669" y="304152"/>
                </a:lnTo>
                <a:lnTo>
                  <a:pt x="1488529" y="304152"/>
                </a:lnTo>
                <a:lnTo>
                  <a:pt x="1488529" y="285636"/>
                </a:lnTo>
                <a:lnTo>
                  <a:pt x="1469669" y="285636"/>
                </a:lnTo>
                <a:lnTo>
                  <a:pt x="1469669" y="266776"/>
                </a:lnTo>
                <a:lnTo>
                  <a:pt x="1451153" y="266776"/>
                </a:lnTo>
                <a:lnTo>
                  <a:pt x="1451153" y="285636"/>
                </a:lnTo>
                <a:lnTo>
                  <a:pt x="1432293" y="285636"/>
                </a:lnTo>
                <a:lnTo>
                  <a:pt x="1432293" y="304152"/>
                </a:lnTo>
                <a:lnTo>
                  <a:pt x="1451153" y="304152"/>
                </a:lnTo>
                <a:lnTo>
                  <a:pt x="1451153" y="323012"/>
                </a:lnTo>
                <a:close/>
                <a:moveTo>
                  <a:pt x="1587970" y="324041"/>
                </a:moveTo>
                <a:lnTo>
                  <a:pt x="1607172" y="324041"/>
                </a:lnTo>
                <a:lnTo>
                  <a:pt x="1607172" y="304495"/>
                </a:lnTo>
                <a:lnTo>
                  <a:pt x="1626718" y="304495"/>
                </a:lnTo>
                <a:lnTo>
                  <a:pt x="1626718" y="285293"/>
                </a:lnTo>
                <a:lnTo>
                  <a:pt x="1607172" y="285293"/>
                </a:lnTo>
                <a:lnTo>
                  <a:pt x="1607172" y="265748"/>
                </a:lnTo>
                <a:lnTo>
                  <a:pt x="1587970" y="265748"/>
                </a:lnTo>
                <a:lnTo>
                  <a:pt x="1587970" y="285293"/>
                </a:lnTo>
                <a:lnTo>
                  <a:pt x="1568425" y="285293"/>
                </a:lnTo>
                <a:lnTo>
                  <a:pt x="1568425" y="304495"/>
                </a:lnTo>
                <a:lnTo>
                  <a:pt x="1587970" y="304495"/>
                </a:lnTo>
                <a:lnTo>
                  <a:pt x="1587970" y="324041"/>
                </a:lnTo>
                <a:close/>
                <a:moveTo>
                  <a:pt x="1521104" y="181394"/>
                </a:moveTo>
                <a:lnTo>
                  <a:pt x="1536878" y="181394"/>
                </a:lnTo>
                <a:lnTo>
                  <a:pt x="1536878" y="165621"/>
                </a:lnTo>
                <a:lnTo>
                  <a:pt x="1552651" y="165621"/>
                </a:lnTo>
                <a:lnTo>
                  <a:pt x="1552651" y="149847"/>
                </a:lnTo>
                <a:lnTo>
                  <a:pt x="1536878" y="149847"/>
                </a:lnTo>
                <a:lnTo>
                  <a:pt x="1536878" y="134074"/>
                </a:lnTo>
                <a:lnTo>
                  <a:pt x="1521104" y="134074"/>
                </a:lnTo>
                <a:lnTo>
                  <a:pt x="1521104" y="149847"/>
                </a:lnTo>
                <a:lnTo>
                  <a:pt x="1505331" y="149847"/>
                </a:lnTo>
                <a:lnTo>
                  <a:pt x="1505331" y="165621"/>
                </a:lnTo>
                <a:lnTo>
                  <a:pt x="1521104" y="165621"/>
                </a:lnTo>
                <a:lnTo>
                  <a:pt x="1521104" y="181394"/>
                </a:lnTo>
                <a:close/>
              </a:path>
            </a:pathLst>
          </a:custGeom>
          <a:gradFill>
            <a:gsLst>
              <a:gs pos="0">
                <a:schemeClr val="accent1">
                  <a:alpha val="15080"/>
                </a:schemeClr>
              </a:gs>
              <a:gs pos="100000">
                <a:schemeClr val="accent3">
                  <a:alpha val="15080"/>
                </a:schemeClr>
              </a:gs>
            </a:gsLst>
            <a:path path="circle">
              <a:fillToRect l="50000" t="50000" r="50000" b="50000"/>
            </a:path>
            <a:tileRect/>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4" name="Google Shape;12;p2"/>
          <p:cNvSpPr/>
          <p:nvPr userDrawn="1"/>
        </p:nvSpPr>
        <p:spPr>
          <a:xfrm>
            <a:off x="8244879" y="1070728"/>
            <a:ext cx="3947121" cy="3881628"/>
          </a:xfrm>
          <a:custGeom>
            <a:avLst/>
            <a:gdLst/>
            <a:ahLst/>
            <a:cxnLst/>
            <a:rect l="l" t="t" r="r" b="b"/>
            <a:pathLst>
              <a:path w="3947121" h="3881628" extrusionOk="0">
                <a:moveTo>
                  <a:pt x="1064704" y="2536431"/>
                </a:moveTo>
                <a:lnTo>
                  <a:pt x="1064704" y="2505227"/>
                </a:lnTo>
                <a:lnTo>
                  <a:pt x="1095908" y="2505227"/>
                </a:lnTo>
                <a:lnTo>
                  <a:pt x="1095908" y="2473681"/>
                </a:lnTo>
                <a:lnTo>
                  <a:pt x="1064704" y="2473681"/>
                </a:lnTo>
                <a:lnTo>
                  <a:pt x="1064704" y="2442477"/>
                </a:lnTo>
                <a:lnTo>
                  <a:pt x="1033158" y="2442477"/>
                </a:lnTo>
                <a:lnTo>
                  <a:pt x="1033158" y="2473681"/>
                </a:lnTo>
                <a:lnTo>
                  <a:pt x="1001954" y="2473681"/>
                </a:lnTo>
                <a:lnTo>
                  <a:pt x="1001954" y="2505227"/>
                </a:lnTo>
                <a:lnTo>
                  <a:pt x="1033158" y="2505227"/>
                </a:lnTo>
                <a:lnTo>
                  <a:pt x="1033158" y="2536431"/>
                </a:lnTo>
                <a:lnTo>
                  <a:pt x="1064704" y="2536431"/>
                </a:lnTo>
                <a:close/>
                <a:moveTo>
                  <a:pt x="1202207" y="2537803"/>
                </a:moveTo>
                <a:lnTo>
                  <a:pt x="1202207" y="2505570"/>
                </a:lnTo>
                <a:lnTo>
                  <a:pt x="1234440" y="2505570"/>
                </a:lnTo>
                <a:lnTo>
                  <a:pt x="1234440" y="2473338"/>
                </a:lnTo>
                <a:lnTo>
                  <a:pt x="1202207" y="2473338"/>
                </a:lnTo>
                <a:lnTo>
                  <a:pt x="1202207" y="2441105"/>
                </a:lnTo>
                <a:lnTo>
                  <a:pt x="1169975" y="2441105"/>
                </a:lnTo>
                <a:lnTo>
                  <a:pt x="1169975" y="2473338"/>
                </a:lnTo>
                <a:lnTo>
                  <a:pt x="1137742" y="2473338"/>
                </a:lnTo>
                <a:lnTo>
                  <a:pt x="1137742" y="2505570"/>
                </a:lnTo>
                <a:lnTo>
                  <a:pt x="1169975" y="2505570"/>
                </a:lnTo>
                <a:lnTo>
                  <a:pt x="1169975" y="2537803"/>
                </a:lnTo>
                <a:lnTo>
                  <a:pt x="1202207" y="2537803"/>
                </a:lnTo>
                <a:close/>
                <a:moveTo>
                  <a:pt x="1270787" y="2674963"/>
                </a:moveTo>
                <a:lnTo>
                  <a:pt x="1270787" y="2642730"/>
                </a:lnTo>
                <a:lnTo>
                  <a:pt x="1303020" y="2642730"/>
                </a:lnTo>
                <a:lnTo>
                  <a:pt x="1303020" y="2610498"/>
                </a:lnTo>
                <a:lnTo>
                  <a:pt x="1270787" y="2610498"/>
                </a:lnTo>
                <a:lnTo>
                  <a:pt x="1270787" y="2578265"/>
                </a:lnTo>
                <a:lnTo>
                  <a:pt x="1238555" y="2578265"/>
                </a:lnTo>
                <a:lnTo>
                  <a:pt x="1238555" y="2610498"/>
                </a:lnTo>
                <a:lnTo>
                  <a:pt x="1206322" y="2610498"/>
                </a:lnTo>
                <a:lnTo>
                  <a:pt x="1206322" y="2642730"/>
                </a:lnTo>
                <a:lnTo>
                  <a:pt x="1238555" y="2642730"/>
                </a:lnTo>
                <a:lnTo>
                  <a:pt x="1238555" y="2674963"/>
                </a:lnTo>
                <a:lnTo>
                  <a:pt x="1270787" y="2674963"/>
                </a:lnTo>
                <a:close/>
                <a:moveTo>
                  <a:pt x="1133627" y="2400643"/>
                </a:moveTo>
                <a:lnTo>
                  <a:pt x="1133627" y="2368410"/>
                </a:lnTo>
                <a:lnTo>
                  <a:pt x="1165860" y="2368410"/>
                </a:lnTo>
                <a:lnTo>
                  <a:pt x="1165860" y="2336178"/>
                </a:lnTo>
                <a:lnTo>
                  <a:pt x="1133627" y="2336178"/>
                </a:lnTo>
                <a:lnTo>
                  <a:pt x="1133627" y="2303945"/>
                </a:lnTo>
                <a:lnTo>
                  <a:pt x="1101395" y="2303945"/>
                </a:lnTo>
                <a:lnTo>
                  <a:pt x="1101395" y="2336178"/>
                </a:lnTo>
                <a:lnTo>
                  <a:pt x="1069162" y="2336178"/>
                </a:lnTo>
                <a:lnTo>
                  <a:pt x="1069162" y="2368410"/>
                </a:lnTo>
                <a:lnTo>
                  <a:pt x="1101395" y="2368410"/>
                </a:lnTo>
                <a:lnTo>
                  <a:pt x="1101395" y="2400643"/>
                </a:lnTo>
                <a:lnTo>
                  <a:pt x="1133627" y="2400643"/>
                </a:lnTo>
                <a:close/>
                <a:moveTo>
                  <a:pt x="996124" y="2399271"/>
                </a:moveTo>
                <a:lnTo>
                  <a:pt x="996124" y="2368067"/>
                </a:lnTo>
                <a:lnTo>
                  <a:pt x="1027328" y="2368067"/>
                </a:lnTo>
                <a:lnTo>
                  <a:pt x="1027328" y="2336521"/>
                </a:lnTo>
                <a:lnTo>
                  <a:pt x="996124" y="2336521"/>
                </a:lnTo>
                <a:lnTo>
                  <a:pt x="996124" y="2305317"/>
                </a:lnTo>
                <a:lnTo>
                  <a:pt x="964578" y="2305317"/>
                </a:lnTo>
                <a:lnTo>
                  <a:pt x="964578" y="2336521"/>
                </a:lnTo>
                <a:lnTo>
                  <a:pt x="933374" y="2336521"/>
                </a:lnTo>
                <a:lnTo>
                  <a:pt x="933374" y="2368067"/>
                </a:lnTo>
                <a:lnTo>
                  <a:pt x="964578" y="2368067"/>
                </a:lnTo>
                <a:lnTo>
                  <a:pt x="964578" y="2399271"/>
                </a:lnTo>
                <a:lnTo>
                  <a:pt x="996124" y="2399271"/>
                </a:lnTo>
                <a:close/>
                <a:moveTo>
                  <a:pt x="651167" y="1981962"/>
                </a:moveTo>
                <a:lnTo>
                  <a:pt x="651167" y="1954530"/>
                </a:lnTo>
                <a:lnTo>
                  <a:pt x="678599" y="1954530"/>
                </a:lnTo>
                <a:lnTo>
                  <a:pt x="678599" y="1927098"/>
                </a:lnTo>
                <a:lnTo>
                  <a:pt x="651167" y="1927098"/>
                </a:lnTo>
                <a:lnTo>
                  <a:pt x="651167" y="1899666"/>
                </a:lnTo>
                <a:lnTo>
                  <a:pt x="623735" y="1899666"/>
                </a:lnTo>
                <a:lnTo>
                  <a:pt x="623735" y="1927098"/>
                </a:lnTo>
                <a:lnTo>
                  <a:pt x="596303" y="1927098"/>
                </a:lnTo>
                <a:lnTo>
                  <a:pt x="596303" y="1954530"/>
                </a:lnTo>
                <a:lnTo>
                  <a:pt x="623735" y="1954530"/>
                </a:lnTo>
                <a:lnTo>
                  <a:pt x="623735" y="1981962"/>
                </a:lnTo>
                <a:lnTo>
                  <a:pt x="651167" y="1981962"/>
                </a:lnTo>
                <a:close/>
                <a:moveTo>
                  <a:pt x="720090" y="2120494"/>
                </a:moveTo>
                <a:lnTo>
                  <a:pt x="720090" y="2092033"/>
                </a:lnTo>
                <a:lnTo>
                  <a:pt x="748551" y="2092033"/>
                </a:lnTo>
                <a:lnTo>
                  <a:pt x="748551" y="2063915"/>
                </a:lnTo>
                <a:lnTo>
                  <a:pt x="720090" y="2063915"/>
                </a:lnTo>
                <a:lnTo>
                  <a:pt x="720090" y="2035454"/>
                </a:lnTo>
                <a:lnTo>
                  <a:pt x="691972" y="2035454"/>
                </a:lnTo>
                <a:lnTo>
                  <a:pt x="691972" y="2063915"/>
                </a:lnTo>
                <a:lnTo>
                  <a:pt x="663511" y="2063915"/>
                </a:lnTo>
                <a:lnTo>
                  <a:pt x="663511" y="2092033"/>
                </a:lnTo>
                <a:lnTo>
                  <a:pt x="691972" y="2092033"/>
                </a:lnTo>
                <a:lnTo>
                  <a:pt x="691972" y="2120494"/>
                </a:lnTo>
                <a:lnTo>
                  <a:pt x="720090" y="2120494"/>
                </a:lnTo>
                <a:close/>
                <a:moveTo>
                  <a:pt x="858279" y="2123580"/>
                </a:moveTo>
                <a:lnTo>
                  <a:pt x="858279" y="2093062"/>
                </a:lnTo>
                <a:lnTo>
                  <a:pt x="888797" y="2093062"/>
                </a:lnTo>
                <a:lnTo>
                  <a:pt x="888797" y="2062886"/>
                </a:lnTo>
                <a:lnTo>
                  <a:pt x="858279" y="2062886"/>
                </a:lnTo>
                <a:lnTo>
                  <a:pt x="858279" y="2032368"/>
                </a:lnTo>
                <a:lnTo>
                  <a:pt x="828103" y="2032368"/>
                </a:lnTo>
                <a:lnTo>
                  <a:pt x="828103" y="2062886"/>
                </a:lnTo>
                <a:lnTo>
                  <a:pt x="797585" y="2062886"/>
                </a:lnTo>
                <a:lnTo>
                  <a:pt x="797585" y="2093062"/>
                </a:lnTo>
                <a:lnTo>
                  <a:pt x="828103" y="2093062"/>
                </a:lnTo>
                <a:lnTo>
                  <a:pt x="828103" y="2123580"/>
                </a:lnTo>
                <a:lnTo>
                  <a:pt x="858279" y="2123580"/>
                </a:lnTo>
                <a:close/>
                <a:moveTo>
                  <a:pt x="927202" y="2261768"/>
                </a:moveTo>
                <a:lnTo>
                  <a:pt x="927202" y="2230565"/>
                </a:lnTo>
                <a:lnTo>
                  <a:pt x="958405" y="2230565"/>
                </a:lnTo>
                <a:lnTo>
                  <a:pt x="958405" y="2199704"/>
                </a:lnTo>
                <a:lnTo>
                  <a:pt x="927202" y="2199704"/>
                </a:lnTo>
                <a:lnTo>
                  <a:pt x="927202" y="2168500"/>
                </a:lnTo>
                <a:lnTo>
                  <a:pt x="896341" y="2168500"/>
                </a:lnTo>
                <a:lnTo>
                  <a:pt x="896341" y="2199704"/>
                </a:lnTo>
                <a:lnTo>
                  <a:pt x="865137" y="2199704"/>
                </a:lnTo>
                <a:lnTo>
                  <a:pt x="865137" y="2230565"/>
                </a:lnTo>
                <a:lnTo>
                  <a:pt x="896341" y="2230565"/>
                </a:lnTo>
                <a:lnTo>
                  <a:pt x="896341" y="2261768"/>
                </a:lnTo>
                <a:lnTo>
                  <a:pt x="927202" y="2261768"/>
                </a:lnTo>
                <a:close/>
                <a:moveTo>
                  <a:pt x="789356" y="2259025"/>
                </a:moveTo>
                <a:lnTo>
                  <a:pt x="789356" y="2229879"/>
                </a:lnTo>
                <a:lnTo>
                  <a:pt x="818502" y="2229879"/>
                </a:lnTo>
                <a:lnTo>
                  <a:pt x="818502" y="2200389"/>
                </a:lnTo>
                <a:lnTo>
                  <a:pt x="789356" y="2200389"/>
                </a:lnTo>
                <a:lnTo>
                  <a:pt x="789356" y="2171243"/>
                </a:lnTo>
                <a:lnTo>
                  <a:pt x="759866" y="2171243"/>
                </a:lnTo>
                <a:lnTo>
                  <a:pt x="759866" y="2200389"/>
                </a:lnTo>
                <a:lnTo>
                  <a:pt x="730720" y="2200389"/>
                </a:lnTo>
                <a:lnTo>
                  <a:pt x="730720" y="2229879"/>
                </a:lnTo>
                <a:lnTo>
                  <a:pt x="759866" y="2229879"/>
                </a:lnTo>
                <a:lnTo>
                  <a:pt x="759866" y="2259025"/>
                </a:lnTo>
                <a:lnTo>
                  <a:pt x="789356" y="2259025"/>
                </a:lnTo>
                <a:close/>
                <a:moveTo>
                  <a:pt x="1888007" y="2812123"/>
                </a:moveTo>
                <a:lnTo>
                  <a:pt x="1888007" y="2779890"/>
                </a:lnTo>
                <a:lnTo>
                  <a:pt x="1920240" y="2779890"/>
                </a:lnTo>
                <a:lnTo>
                  <a:pt x="1920240" y="2747658"/>
                </a:lnTo>
                <a:lnTo>
                  <a:pt x="1888007" y="2747658"/>
                </a:lnTo>
                <a:lnTo>
                  <a:pt x="1888007" y="2715425"/>
                </a:lnTo>
                <a:lnTo>
                  <a:pt x="1855775" y="2715425"/>
                </a:lnTo>
                <a:lnTo>
                  <a:pt x="1855775" y="2747658"/>
                </a:lnTo>
                <a:lnTo>
                  <a:pt x="1823542" y="2747658"/>
                </a:lnTo>
                <a:lnTo>
                  <a:pt x="1823542" y="2779890"/>
                </a:lnTo>
                <a:lnTo>
                  <a:pt x="1855775" y="2779890"/>
                </a:lnTo>
                <a:lnTo>
                  <a:pt x="1855775" y="2812123"/>
                </a:lnTo>
                <a:lnTo>
                  <a:pt x="1888007" y="2812123"/>
                </a:lnTo>
                <a:close/>
                <a:moveTo>
                  <a:pt x="1750847" y="2812123"/>
                </a:moveTo>
                <a:lnTo>
                  <a:pt x="1750847" y="2779890"/>
                </a:lnTo>
                <a:lnTo>
                  <a:pt x="1783080" y="2779890"/>
                </a:lnTo>
                <a:lnTo>
                  <a:pt x="1783080" y="2747658"/>
                </a:lnTo>
                <a:lnTo>
                  <a:pt x="1750847" y="2747658"/>
                </a:lnTo>
                <a:lnTo>
                  <a:pt x="1750847" y="2715425"/>
                </a:lnTo>
                <a:lnTo>
                  <a:pt x="1718615" y="2715425"/>
                </a:lnTo>
                <a:lnTo>
                  <a:pt x="1718615" y="2747658"/>
                </a:lnTo>
                <a:lnTo>
                  <a:pt x="1686382" y="2747658"/>
                </a:lnTo>
                <a:lnTo>
                  <a:pt x="1686382" y="2779890"/>
                </a:lnTo>
                <a:lnTo>
                  <a:pt x="1718615" y="2779890"/>
                </a:lnTo>
                <a:lnTo>
                  <a:pt x="1718615" y="2812123"/>
                </a:lnTo>
                <a:lnTo>
                  <a:pt x="1750847" y="2812123"/>
                </a:lnTo>
                <a:close/>
                <a:moveTo>
                  <a:pt x="1819427" y="2674963"/>
                </a:moveTo>
                <a:lnTo>
                  <a:pt x="1819427" y="2642730"/>
                </a:lnTo>
                <a:lnTo>
                  <a:pt x="1851660" y="2642730"/>
                </a:lnTo>
                <a:lnTo>
                  <a:pt x="1851660" y="2610498"/>
                </a:lnTo>
                <a:lnTo>
                  <a:pt x="1819427" y="2610498"/>
                </a:lnTo>
                <a:lnTo>
                  <a:pt x="1819427" y="2578265"/>
                </a:lnTo>
                <a:lnTo>
                  <a:pt x="1787195" y="2578265"/>
                </a:lnTo>
                <a:lnTo>
                  <a:pt x="1787195" y="2610498"/>
                </a:lnTo>
                <a:lnTo>
                  <a:pt x="1754962" y="2610498"/>
                </a:lnTo>
                <a:lnTo>
                  <a:pt x="1754962" y="2642730"/>
                </a:lnTo>
                <a:lnTo>
                  <a:pt x="1787195" y="2642730"/>
                </a:lnTo>
                <a:lnTo>
                  <a:pt x="1787195" y="2674963"/>
                </a:lnTo>
                <a:lnTo>
                  <a:pt x="1819427" y="2674963"/>
                </a:lnTo>
                <a:close/>
                <a:moveTo>
                  <a:pt x="691972" y="1761134"/>
                </a:moveTo>
                <a:lnTo>
                  <a:pt x="691972" y="1789595"/>
                </a:lnTo>
                <a:lnTo>
                  <a:pt x="663511" y="1789595"/>
                </a:lnTo>
                <a:lnTo>
                  <a:pt x="663511" y="1817713"/>
                </a:lnTo>
                <a:lnTo>
                  <a:pt x="691972" y="1817713"/>
                </a:lnTo>
                <a:lnTo>
                  <a:pt x="691972" y="1846174"/>
                </a:lnTo>
                <a:lnTo>
                  <a:pt x="720090" y="1846174"/>
                </a:lnTo>
                <a:lnTo>
                  <a:pt x="720090" y="1817713"/>
                </a:lnTo>
                <a:lnTo>
                  <a:pt x="748551" y="1817713"/>
                </a:lnTo>
                <a:lnTo>
                  <a:pt x="748551" y="1789595"/>
                </a:lnTo>
                <a:lnTo>
                  <a:pt x="720090" y="1789595"/>
                </a:lnTo>
                <a:lnTo>
                  <a:pt x="720090" y="1761134"/>
                </a:lnTo>
                <a:lnTo>
                  <a:pt x="691972" y="1761134"/>
                </a:lnTo>
                <a:close/>
                <a:moveTo>
                  <a:pt x="1682267" y="2674963"/>
                </a:moveTo>
                <a:lnTo>
                  <a:pt x="1682267" y="2642730"/>
                </a:lnTo>
                <a:lnTo>
                  <a:pt x="1714500" y="2642730"/>
                </a:lnTo>
                <a:lnTo>
                  <a:pt x="1714500" y="2610498"/>
                </a:lnTo>
                <a:lnTo>
                  <a:pt x="1682267" y="2610498"/>
                </a:lnTo>
                <a:lnTo>
                  <a:pt x="1682267" y="2578265"/>
                </a:lnTo>
                <a:lnTo>
                  <a:pt x="1650035" y="2578265"/>
                </a:lnTo>
                <a:lnTo>
                  <a:pt x="1650035" y="2610498"/>
                </a:lnTo>
                <a:lnTo>
                  <a:pt x="1617802" y="2610498"/>
                </a:lnTo>
                <a:lnTo>
                  <a:pt x="1617802" y="2642730"/>
                </a:lnTo>
                <a:lnTo>
                  <a:pt x="1650035" y="2642730"/>
                </a:lnTo>
                <a:lnTo>
                  <a:pt x="1650035" y="2674963"/>
                </a:lnTo>
                <a:lnTo>
                  <a:pt x="1682267" y="2674963"/>
                </a:lnTo>
                <a:close/>
                <a:moveTo>
                  <a:pt x="1476527" y="2537803"/>
                </a:moveTo>
                <a:lnTo>
                  <a:pt x="1476527" y="2505570"/>
                </a:lnTo>
                <a:lnTo>
                  <a:pt x="1508760" y="2505570"/>
                </a:lnTo>
                <a:lnTo>
                  <a:pt x="1508760" y="2473338"/>
                </a:lnTo>
                <a:lnTo>
                  <a:pt x="1476527" y="2473338"/>
                </a:lnTo>
                <a:lnTo>
                  <a:pt x="1476527" y="2441105"/>
                </a:lnTo>
                <a:lnTo>
                  <a:pt x="1444295" y="2441105"/>
                </a:lnTo>
                <a:lnTo>
                  <a:pt x="1444295" y="2473338"/>
                </a:lnTo>
                <a:lnTo>
                  <a:pt x="1412062" y="2473338"/>
                </a:lnTo>
                <a:lnTo>
                  <a:pt x="1412062" y="2505570"/>
                </a:lnTo>
                <a:lnTo>
                  <a:pt x="1444295" y="2505570"/>
                </a:lnTo>
                <a:lnTo>
                  <a:pt x="1444295" y="2537803"/>
                </a:lnTo>
                <a:lnTo>
                  <a:pt x="1476527" y="2537803"/>
                </a:lnTo>
                <a:close/>
                <a:moveTo>
                  <a:pt x="1407947" y="2674963"/>
                </a:moveTo>
                <a:lnTo>
                  <a:pt x="1407947" y="2642730"/>
                </a:lnTo>
                <a:lnTo>
                  <a:pt x="1440180" y="2642730"/>
                </a:lnTo>
                <a:lnTo>
                  <a:pt x="1440180" y="2610498"/>
                </a:lnTo>
                <a:lnTo>
                  <a:pt x="1407947" y="2610498"/>
                </a:lnTo>
                <a:lnTo>
                  <a:pt x="1407947" y="2578265"/>
                </a:lnTo>
                <a:lnTo>
                  <a:pt x="1375715" y="2578265"/>
                </a:lnTo>
                <a:lnTo>
                  <a:pt x="1375715" y="2610498"/>
                </a:lnTo>
                <a:lnTo>
                  <a:pt x="1343482" y="2610498"/>
                </a:lnTo>
                <a:lnTo>
                  <a:pt x="1343482" y="2642730"/>
                </a:lnTo>
                <a:lnTo>
                  <a:pt x="1375715" y="2642730"/>
                </a:lnTo>
                <a:lnTo>
                  <a:pt x="1375715" y="2674963"/>
                </a:lnTo>
                <a:lnTo>
                  <a:pt x="1407947" y="2674963"/>
                </a:lnTo>
                <a:close/>
                <a:moveTo>
                  <a:pt x="1339367" y="2537803"/>
                </a:moveTo>
                <a:lnTo>
                  <a:pt x="1339367" y="2505570"/>
                </a:lnTo>
                <a:lnTo>
                  <a:pt x="1371600" y="2505570"/>
                </a:lnTo>
                <a:lnTo>
                  <a:pt x="1371600" y="2473338"/>
                </a:lnTo>
                <a:lnTo>
                  <a:pt x="1339367" y="2473338"/>
                </a:lnTo>
                <a:lnTo>
                  <a:pt x="1339367" y="2441105"/>
                </a:lnTo>
                <a:lnTo>
                  <a:pt x="1307135" y="2441105"/>
                </a:lnTo>
                <a:lnTo>
                  <a:pt x="1307135" y="2473338"/>
                </a:lnTo>
                <a:lnTo>
                  <a:pt x="1274902" y="2473338"/>
                </a:lnTo>
                <a:lnTo>
                  <a:pt x="1274902" y="2505570"/>
                </a:lnTo>
                <a:lnTo>
                  <a:pt x="1307135" y="2505570"/>
                </a:lnTo>
                <a:lnTo>
                  <a:pt x="1307135" y="2537803"/>
                </a:lnTo>
                <a:lnTo>
                  <a:pt x="1339367" y="2537803"/>
                </a:lnTo>
                <a:close/>
                <a:moveTo>
                  <a:pt x="1613687" y="2812123"/>
                </a:moveTo>
                <a:lnTo>
                  <a:pt x="1613687" y="2779890"/>
                </a:lnTo>
                <a:lnTo>
                  <a:pt x="1645920" y="2779890"/>
                </a:lnTo>
                <a:lnTo>
                  <a:pt x="1645920" y="2747658"/>
                </a:lnTo>
                <a:lnTo>
                  <a:pt x="1613687" y="2747658"/>
                </a:lnTo>
                <a:lnTo>
                  <a:pt x="1613687" y="2715425"/>
                </a:lnTo>
                <a:lnTo>
                  <a:pt x="1581455" y="2715425"/>
                </a:lnTo>
                <a:lnTo>
                  <a:pt x="1581455" y="2747658"/>
                </a:lnTo>
                <a:lnTo>
                  <a:pt x="1549222" y="2747658"/>
                </a:lnTo>
                <a:lnTo>
                  <a:pt x="1549222" y="2779890"/>
                </a:lnTo>
                <a:lnTo>
                  <a:pt x="1581455" y="2779890"/>
                </a:lnTo>
                <a:lnTo>
                  <a:pt x="1581455" y="2812123"/>
                </a:lnTo>
                <a:lnTo>
                  <a:pt x="1613687" y="2812123"/>
                </a:lnTo>
                <a:close/>
                <a:moveTo>
                  <a:pt x="1956587" y="2674963"/>
                </a:moveTo>
                <a:lnTo>
                  <a:pt x="1956587" y="2642730"/>
                </a:lnTo>
                <a:lnTo>
                  <a:pt x="1988820" y="2642730"/>
                </a:lnTo>
                <a:lnTo>
                  <a:pt x="1988820" y="2610498"/>
                </a:lnTo>
                <a:lnTo>
                  <a:pt x="1956587" y="2610498"/>
                </a:lnTo>
                <a:lnTo>
                  <a:pt x="1956587" y="2578265"/>
                </a:lnTo>
                <a:lnTo>
                  <a:pt x="1924355" y="2578265"/>
                </a:lnTo>
                <a:lnTo>
                  <a:pt x="1924355" y="2610498"/>
                </a:lnTo>
                <a:lnTo>
                  <a:pt x="1892122" y="2610498"/>
                </a:lnTo>
                <a:lnTo>
                  <a:pt x="1892122" y="2642730"/>
                </a:lnTo>
                <a:lnTo>
                  <a:pt x="1924355" y="2642730"/>
                </a:lnTo>
                <a:lnTo>
                  <a:pt x="1924355" y="2674963"/>
                </a:lnTo>
                <a:lnTo>
                  <a:pt x="1956587" y="2674963"/>
                </a:lnTo>
                <a:close/>
                <a:moveTo>
                  <a:pt x="2130095" y="1069505"/>
                </a:moveTo>
                <a:lnTo>
                  <a:pt x="2130095" y="1101738"/>
                </a:lnTo>
                <a:lnTo>
                  <a:pt x="2097862" y="1101738"/>
                </a:lnTo>
                <a:lnTo>
                  <a:pt x="2097862" y="1133970"/>
                </a:lnTo>
                <a:lnTo>
                  <a:pt x="2130095" y="1133970"/>
                </a:lnTo>
                <a:lnTo>
                  <a:pt x="2130095" y="1166203"/>
                </a:lnTo>
                <a:lnTo>
                  <a:pt x="2162327" y="1166203"/>
                </a:lnTo>
                <a:lnTo>
                  <a:pt x="2162327" y="1133970"/>
                </a:lnTo>
                <a:lnTo>
                  <a:pt x="2194560" y="1133970"/>
                </a:lnTo>
                <a:lnTo>
                  <a:pt x="2194560" y="1101738"/>
                </a:lnTo>
                <a:lnTo>
                  <a:pt x="2162327" y="1101738"/>
                </a:lnTo>
                <a:lnTo>
                  <a:pt x="2162327" y="1069505"/>
                </a:lnTo>
                <a:lnTo>
                  <a:pt x="2130095" y="1069505"/>
                </a:lnTo>
                <a:close/>
                <a:moveTo>
                  <a:pt x="1444295" y="1069505"/>
                </a:moveTo>
                <a:lnTo>
                  <a:pt x="1444295" y="1101738"/>
                </a:lnTo>
                <a:lnTo>
                  <a:pt x="1412062" y="1101738"/>
                </a:lnTo>
                <a:lnTo>
                  <a:pt x="1412062" y="1133970"/>
                </a:lnTo>
                <a:lnTo>
                  <a:pt x="1444295" y="1133970"/>
                </a:lnTo>
                <a:lnTo>
                  <a:pt x="1444295" y="1166203"/>
                </a:lnTo>
                <a:lnTo>
                  <a:pt x="1476527" y="1166203"/>
                </a:lnTo>
                <a:lnTo>
                  <a:pt x="1476527" y="1133970"/>
                </a:lnTo>
                <a:lnTo>
                  <a:pt x="1508760" y="1133970"/>
                </a:lnTo>
                <a:lnTo>
                  <a:pt x="1508760" y="1101738"/>
                </a:lnTo>
                <a:lnTo>
                  <a:pt x="1476527" y="1101738"/>
                </a:lnTo>
                <a:lnTo>
                  <a:pt x="1476527" y="1069505"/>
                </a:lnTo>
                <a:lnTo>
                  <a:pt x="1444295" y="1069505"/>
                </a:lnTo>
                <a:close/>
                <a:moveTo>
                  <a:pt x="1718615" y="1069505"/>
                </a:moveTo>
                <a:lnTo>
                  <a:pt x="1718615" y="1101738"/>
                </a:lnTo>
                <a:lnTo>
                  <a:pt x="1686382" y="1101738"/>
                </a:lnTo>
                <a:lnTo>
                  <a:pt x="1686382" y="1133970"/>
                </a:lnTo>
                <a:lnTo>
                  <a:pt x="1718615" y="1133970"/>
                </a:lnTo>
                <a:lnTo>
                  <a:pt x="1718615" y="1166203"/>
                </a:lnTo>
                <a:lnTo>
                  <a:pt x="1750847" y="1166203"/>
                </a:lnTo>
                <a:lnTo>
                  <a:pt x="1750847" y="1133970"/>
                </a:lnTo>
                <a:lnTo>
                  <a:pt x="1783080" y="1133970"/>
                </a:lnTo>
                <a:lnTo>
                  <a:pt x="1783080" y="1101738"/>
                </a:lnTo>
                <a:lnTo>
                  <a:pt x="1750847" y="1101738"/>
                </a:lnTo>
                <a:lnTo>
                  <a:pt x="1750847" y="1069505"/>
                </a:lnTo>
                <a:lnTo>
                  <a:pt x="1718615" y="1069505"/>
                </a:lnTo>
                <a:close/>
                <a:moveTo>
                  <a:pt x="1787195" y="1206665"/>
                </a:moveTo>
                <a:lnTo>
                  <a:pt x="1787195" y="1238898"/>
                </a:lnTo>
                <a:lnTo>
                  <a:pt x="1754962" y="1238898"/>
                </a:lnTo>
                <a:lnTo>
                  <a:pt x="1754962" y="1271130"/>
                </a:lnTo>
                <a:lnTo>
                  <a:pt x="1787195" y="1271130"/>
                </a:lnTo>
                <a:lnTo>
                  <a:pt x="1787195" y="1303363"/>
                </a:lnTo>
                <a:lnTo>
                  <a:pt x="1819427" y="1303363"/>
                </a:lnTo>
                <a:lnTo>
                  <a:pt x="1819427" y="1271130"/>
                </a:lnTo>
                <a:lnTo>
                  <a:pt x="1851660" y="1271130"/>
                </a:lnTo>
                <a:lnTo>
                  <a:pt x="1851660" y="1238898"/>
                </a:lnTo>
                <a:lnTo>
                  <a:pt x="1819427" y="1238898"/>
                </a:lnTo>
                <a:lnTo>
                  <a:pt x="1819427" y="1206665"/>
                </a:lnTo>
                <a:lnTo>
                  <a:pt x="1787195" y="1206665"/>
                </a:lnTo>
                <a:close/>
                <a:moveTo>
                  <a:pt x="1512875" y="1206665"/>
                </a:moveTo>
                <a:lnTo>
                  <a:pt x="1512875" y="1238898"/>
                </a:lnTo>
                <a:lnTo>
                  <a:pt x="1480642" y="1238898"/>
                </a:lnTo>
                <a:lnTo>
                  <a:pt x="1480642" y="1271130"/>
                </a:lnTo>
                <a:lnTo>
                  <a:pt x="1512875" y="1271130"/>
                </a:lnTo>
                <a:lnTo>
                  <a:pt x="1512875" y="1303363"/>
                </a:lnTo>
                <a:lnTo>
                  <a:pt x="1545107" y="1303363"/>
                </a:lnTo>
                <a:lnTo>
                  <a:pt x="1545107" y="1271130"/>
                </a:lnTo>
                <a:lnTo>
                  <a:pt x="1577340" y="1271130"/>
                </a:lnTo>
                <a:lnTo>
                  <a:pt x="1577340" y="1238898"/>
                </a:lnTo>
                <a:lnTo>
                  <a:pt x="1545107" y="1238898"/>
                </a:lnTo>
                <a:lnTo>
                  <a:pt x="1545107" y="1206665"/>
                </a:lnTo>
                <a:lnTo>
                  <a:pt x="1512875" y="1206665"/>
                </a:lnTo>
                <a:close/>
                <a:moveTo>
                  <a:pt x="1650035" y="1206665"/>
                </a:moveTo>
                <a:lnTo>
                  <a:pt x="1650035" y="1238898"/>
                </a:lnTo>
                <a:lnTo>
                  <a:pt x="1617802" y="1238898"/>
                </a:lnTo>
                <a:lnTo>
                  <a:pt x="1617802" y="1271130"/>
                </a:lnTo>
                <a:lnTo>
                  <a:pt x="1650035" y="1271130"/>
                </a:lnTo>
                <a:lnTo>
                  <a:pt x="1650035" y="1303363"/>
                </a:lnTo>
                <a:lnTo>
                  <a:pt x="1682267" y="1303363"/>
                </a:lnTo>
                <a:lnTo>
                  <a:pt x="1682267" y="1271130"/>
                </a:lnTo>
                <a:lnTo>
                  <a:pt x="1714500" y="1271130"/>
                </a:lnTo>
                <a:lnTo>
                  <a:pt x="1714500" y="1238898"/>
                </a:lnTo>
                <a:lnTo>
                  <a:pt x="1682267" y="1238898"/>
                </a:lnTo>
                <a:lnTo>
                  <a:pt x="1682267" y="1206665"/>
                </a:lnTo>
                <a:lnTo>
                  <a:pt x="1650035" y="1206665"/>
                </a:lnTo>
                <a:close/>
                <a:moveTo>
                  <a:pt x="2061515" y="1206665"/>
                </a:moveTo>
                <a:lnTo>
                  <a:pt x="2061515" y="1238898"/>
                </a:lnTo>
                <a:lnTo>
                  <a:pt x="2029282" y="1238898"/>
                </a:lnTo>
                <a:lnTo>
                  <a:pt x="2029282" y="1271130"/>
                </a:lnTo>
                <a:lnTo>
                  <a:pt x="2061515" y="1271130"/>
                </a:lnTo>
                <a:lnTo>
                  <a:pt x="2061515" y="1303363"/>
                </a:lnTo>
                <a:lnTo>
                  <a:pt x="2093747" y="1303363"/>
                </a:lnTo>
                <a:lnTo>
                  <a:pt x="2093747" y="1271130"/>
                </a:lnTo>
                <a:lnTo>
                  <a:pt x="2125980" y="1271130"/>
                </a:lnTo>
                <a:lnTo>
                  <a:pt x="2125980" y="1238898"/>
                </a:lnTo>
                <a:lnTo>
                  <a:pt x="2093747" y="1238898"/>
                </a:lnTo>
                <a:lnTo>
                  <a:pt x="2093747" y="1206665"/>
                </a:lnTo>
                <a:lnTo>
                  <a:pt x="2061515" y="1206665"/>
                </a:lnTo>
                <a:close/>
                <a:moveTo>
                  <a:pt x="1855775" y="1069505"/>
                </a:moveTo>
                <a:lnTo>
                  <a:pt x="1855775" y="1101738"/>
                </a:lnTo>
                <a:lnTo>
                  <a:pt x="1823542" y="1101738"/>
                </a:lnTo>
                <a:lnTo>
                  <a:pt x="1823542" y="1133970"/>
                </a:lnTo>
                <a:lnTo>
                  <a:pt x="1855775" y="1133970"/>
                </a:lnTo>
                <a:lnTo>
                  <a:pt x="1855775" y="1166203"/>
                </a:lnTo>
                <a:lnTo>
                  <a:pt x="1888007" y="1166203"/>
                </a:lnTo>
                <a:lnTo>
                  <a:pt x="1888007" y="1133970"/>
                </a:lnTo>
                <a:lnTo>
                  <a:pt x="1920240" y="1133970"/>
                </a:lnTo>
                <a:lnTo>
                  <a:pt x="1920240" y="1101738"/>
                </a:lnTo>
                <a:lnTo>
                  <a:pt x="1888007" y="1101738"/>
                </a:lnTo>
                <a:lnTo>
                  <a:pt x="1888007" y="1069505"/>
                </a:lnTo>
                <a:lnTo>
                  <a:pt x="1855775" y="1069505"/>
                </a:lnTo>
                <a:close/>
                <a:moveTo>
                  <a:pt x="1992935" y="1069505"/>
                </a:moveTo>
                <a:lnTo>
                  <a:pt x="1992935" y="1101738"/>
                </a:lnTo>
                <a:lnTo>
                  <a:pt x="1960702" y="1101738"/>
                </a:lnTo>
                <a:lnTo>
                  <a:pt x="1960702" y="1133970"/>
                </a:lnTo>
                <a:lnTo>
                  <a:pt x="1992935" y="1133970"/>
                </a:lnTo>
                <a:lnTo>
                  <a:pt x="1992935" y="1166203"/>
                </a:lnTo>
                <a:lnTo>
                  <a:pt x="2025167" y="1166203"/>
                </a:lnTo>
                <a:lnTo>
                  <a:pt x="2025167" y="1133970"/>
                </a:lnTo>
                <a:lnTo>
                  <a:pt x="2057400" y="1133970"/>
                </a:lnTo>
                <a:lnTo>
                  <a:pt x="2057400" y="1101738"/>
                </a:lnTo>
                <a:lnTo>
                  <a:pt x="2025167" y="1101738"/>
                </a:lnTo>
                <a:lnTo>
                  <a:pt x="2025167" y="1069505"/>
                </a:lnTo>
                <a:lnTo>
                  <a:pt x="1992935" y="1069505"/>
                </a:lnTo>
                <a:close/>
                <a:moveTo>
                  <a:pt x="1924355" y="1206665"/>
                </a:moveTo>
                <a:lnTo>
                  <a:pt x="1924355" y="1238898"/>
                </a:lnTo>
                <a:lnTo>
                  <a:pt x="1892122" y="1238898"/>
                </a:lnTo>
                <a:lnTo>
                  <a:pt x="1892122" y="1271130"/>
                </a:lnTo>
                <a:lnTo>
                  <a:pt x="1924355" y="1271130"/>
                </a:lnTo>
                <a:lnTo>
                  <a:pt x="1924355" y="1303363"/>
                </a:lnTo>
                <a:lnTo>
                  <a:pt x="1956587" y="1303363"/>
                </a:lnTo>
                <a:lnTo>
                  <a:pt x="1956587" y="1271130"/>
                </a:lnTo>
                <a:lnTo>
                  <a:pt x="1988820" y="1271130"/>
                </a:lnTo>
                <a:lnTo>
                  <a:pt x="1988820" y="1238898"/>
                </a:lnTo>
                <a:lnTo>
                  <a:pt x="1956587" y="1238898"/>
                </a:lnTo>
                <a:lnTo>
                  <a:pt x="1956587" y="1206665"/>
                </a:lnTo>
                <a:lnTo>
                  <a:pt x="1924355" y="1206665"/>
                </a:lnTo>
                <a:close/>
                <a:moveTo>
                  <a:pt x="1169975" y="1343825"/>
                </a:moveTo>
                <a:lnTo>
                  <a:pt x="1169975" y="1376058"/>
                </a:lnTo>
                <a:lnTo>
                  <a:pt x="1137742" y="1376058"/>
                </a:lnTo>
                <a:lnTo>
                  <a:pt x="1137742" y="1408290"/>
                </a:lnTo>
                <a:lnTo>
                  <a:pt x="1169975" y="1408290"/>
                </a:lnTo>
                <a:lnTo>
                  <a:pt x="1169975" y="1440523"/>
                </a:lnTo>
                <a:lnTo>
                  <a:pt x="1202207" y="1440523"/>
                </a:lnTo>
                <a:lnTo>
                  <a:pt x="1202207" y="1408290"/>
                </a:lnTo>
                <a:lnTo>
                  <a:pt x="1234440" y="1408290"/>
                </a:lnTo>
                <a:lnTo>
                  <a:pt x="1234440" y="1376058"/>
                </a:lnTo>
                <a:lnTo>
                  <a:pt x="1202207" y="1376058"/>
                </a:lnTo>
                <a:lnTo>
                  <a:pt x="1202207" y="1343825"/>
                </a:lnTo>
                <a:lnTo>
                  <a:pt x="1169975" y="1343825"/>
                </a:lnTo>
                <a:close/>
                <a:moveTo>
                  <a:pt x="964578" y="1482357"/>
                </a:moveTo>
                <a:lnTo>
                  <a:pt x="964578" y="1513561"/>
                </a:lnTo>
                <a:lnTo>
                  <a:pt x="933374" y="1513561"/>
                </a:lnTo>
                <a:lnTo>
                  <a:pt x="933374" y="1545107"/>
                </a:lnTo>
                <a:lnTo>
                  <a:pt x="964578" y="1545107"/>
                </a:lnTo>
                <a:lnTo>
                  <a:pt x="964578" y="1576311"/>
                </a:lnTo>
                <a:lnTo>
                  <a:pt x="996124" y="1576311"/>
                </a:lnTo>
                <a:lnTo>
                  <a:pt x="996124" y="1545107"/>
                </a:lnTo>
                <a:lnTo>
                  <a:pt x="1027328" y="1545107"/>
                </a:lnTo>
                <a:lnTo>
                  <a:pt x="1027328" y="1513561"/>
                </a:lnTo>
                <a:lnTo>
                  <a:pt x="996124" y="1513561"/>
                </a:lnTo>
                <a:lnTo>
                  <a:pt x="996124" y="1482357"/>
                </a:lnTo>
                <a:lnTo>
                  <a:pt x="964578" y="1482357"/>
                </a:lnTo>
                <a:close/>
                <a:moveTo>
                  <a:pt x="896341" y="1619860"/>
                </a:moveTo>
                <a:lnTo>
                  <a:pt x="896341" y="1651064"/>
                </a:lnTo>
                <a:lnTo>
                  <a:pt x="865137" y="1651064"/>
                </a:lnTo>
                <a:lnTo>
                  <a:pt x="865137" y="1681925"/>
                </a:lnTo>
                <a:lnTo>
                  <a:pt x="896341" y="1681925"/>
                </a:lnTo>
                <a:lnTo>
                  <a:pt x="896341" y="1713128"/>
                </a:lnTo>
                <a:lnTo>
                  <a:pt x="927202" y="1713128"/>
                </a:lnTo>
                <a:lnTo>
                  <a:pt x="927202" y="1681925"/>
                </a:lnTo>
                <a:lnTo>
                  <a:pt x="958405" y="1681925"/>
                </a:lnTo>
                <a:lnTo>
                  <a:pt x="958405" y="1651064"/>
                </a:lnTo>
                <a:lnTo>
                  <a:pt x="927202" y="1651064"/>
                </a:lnTo>
                <a:lnTo>
                  <a:pt x="927202" y="1619860"/>
                </a:lnTo>
                <a:lnTo>
                  <a:pt x="896341" y="1619860"/>
                </a:lnTo>
                <a:close/>
                <a:moveTo>
                  <a:pt x="1033158" y="1345197"/>
                </a:moveTo>
                <a:lnTo>
                  <a:pt x="1033158" y="1376401"/>
                </a:lnTo>
                <a:lnTo>
                  <a:pt x="1001954" y="1376401"/>
                </a:lnTo>
                <a:lnTo>
                  <a:pt x="1001954" y="1407947"/>
                </a:lnTo>
                <a:lnTo>
                  <a:pt x="1033158" y="1407947"/>
                </a:lnTo>
                <a:lnTo>
                  <a:pt x="1033158" y="1439151"/>
                </a:lnTo>
                <a:lnTo>
                  <a:pt x="1064704" y="1439151"/>
                </a:lnTo>
                <a:lnTo>
                  <a:pt x="1064704" y="1407947"/>
                </a:lnTo>
                <a:lnTo>
                  <a:pt x="1095908" y="1407947"/>
                </a:lnTo>
                <a:lnTo>
                  <a:pt x="1095908" y="1376401"/>
                </a:lnTo>
                <a:lnTo>
                  <a:pt x="1064704" y="1376401"/>
                </a:lnTo>
                <a:lnTo>
                  <a:pt x="1064704" y="1345197"/>
                </a:lnTo>
                <a:lnTo>
                  <a:pt x="1033158" y="1345197"/>
                </a:lnTo>
                <a:close/>
                <a:moveTo>
                  <a:pt x="1375715" y="1206665"/>
                </a:moveTo>
                <a:lnTo>
                  <a:pt x="1375715" y="1238898"/>
                </a:lnTo>
                <a:lnTo>
                  <a:pt x="1343482" y="1238898"/>
                </a:lnTo>
                <a:lnTo>
                  <a:pt x="1343482" y="1271130"/>
                </a:lnTo>
                <a:lnTo>
                  <a:pt x="1375715" y="1271130"/>
                </a:lnTo>
                <a:lnTo>
                  <a:pt x="1375715" y="1303363"/>
                </a:lnTo>
                <a:lnTo>
                  <a:pt x="1407947" y="1303363"/>
                </a:lnTo>
                <a:lnTo>
                  <a:pt x="1407947" y="1271130"/>
                </a:lnTo>
                <a:lnTo>
                  <a:pt x="1440180" y="1271130"/>
                </a:lnTo>
                <a:lnTo>
                  <a:pt x="1440180" y="1238898"/>
                </a:lnTo>
                <a:lnTo>
                  <a:pt x="1407947" y="1238898"/>
                </a:lnTo>
                <a:lnTo>
                  <a:pt x="1407947" y="1206665"/>
                </a:lnTo>
                <a:lnTo>
                  <a:pt x="1375715" y="1206665"/>
                </a:lnTo>
                <a:close/>
                <a:moveTo>
                  <a:pt x="828446" y="1485100"/>
                </a:moveTo>
                <a:lnTo>
                  <a:pt x="828446" y="1514589"/>
                </a:lnTo>
                <a:lnTo>
                  <a:pt x="798957" y="1514589"/>
                </a:lnTo>
                <a:lnTo>
                  <a:pt x="798957" y="1544079"/>
                </a:lnTo>
                <a:lnTo>
                  <a:pt x="828446" y="1544079"/>
                </a:lnTo>
                <a:lnTo>
                  <a:pt x="828446" y="1573568"/>
                </a:lnTo>
                <a:lnTo>
                  <a:pt x="857936" y="1573568"/>
                </a:lnTo>
                <a:lnTo>
                  <a:pt x="857936" y="1544079"/>
                </a:lnTo>
                <a:lnTo>
                  <a:pt x="887425" y="1544079"/>
                </a:lnTo>
                <a:lnTo>
                  <a:pt x="887425" y="1514589"/>
                </a:lnTo>
                <a:lnTo>
                  <a:pt x="857936" y="1514589"/>
                </a:lnTo>
                <a:lnTo>
                  <a:pt x="857936" y="1485100"/>
                </a:lnTo>
                <a:lnTo>
                  <a:pt x="828446" y="1485100"/>
                </a:lnTo>
                <a:close/>
                <a:moveTo>
                  <a:pt x="1238555" y="1206665"/>
                </a:moveTo>
                <a:lnTo>
                  <a:pt x="1238555" y="1238898"/>
                </a:lnTo>
                <a:lnTo>
                  <a:pt x="1206322" y="1238898"/>
                </a:lnTo>
                <a:lnTo>
                  <a:pt x="1206322" y="1271130"/>
                </a:lnTo>
                <a:lnTo>
                  <a:pt x="1238555" y="1271130"/>
                </a:lnTo>
                <a:lnTo>
                  <a:pt x="1238555" y="1303363"/>
                </a:lnTo>
                <a:lnTo>
                  <a:pt x="1270787" y="1303363"/>
                </a:lnTo>
                <a:lnTo>
                  <a:pt x="1270787" y="1271130"/>
                </a:lnTo>
                <a:lnTo>
                  <a:pt x="1303020" y="1271130"/>
                </a:lnTo>
                <a:lnTo>
                  <a:pt x="1303020" y="1238898"/>
                </a:lnTo>
                <a:lnTo>
                  <a:pt x="1270787" y="1238898"/>
                </a:lnTo>
                <a:lnTo>
                  <a:pt x="1270787" y="1206665"/>
                </a:lnTo>
                <a:lnTo>
                  <a:pt x="1238555" y="1206665"/>
                </a:lnTo>
                <a:close/>
                <a:moveTo>
                  <a:pt x="1307135" y="1343825"/>
                </a:moveTo>
                <a:lnTo>
                  <a:pt x="1307135" y="1376058"/>
                </a:lnTo>
                <a:lnTo>
                  <a:pt x="1274902" y="1376058"/>
                </a:lnTo>
                <a:lnTo>
                  <a:pt x="1274902" y="1408290"/>
                </a:lnTo>
                <a:lnTo>
                  <a:pt x="1307135" y="1408290"/>
                </a:lnTo>
                <a:lnTo>
                  <a:pt x="1307135" y="1440523"/>
                </a:lnTo>
                <a:lnTo>
                  <a:pt x="1339367" y="1440523"/>
                </a:lnTo>
                <a:lnTo>
                  <a:pt x="1339367" y="1408290"/>
                </a:lnTo>
                <a:lnTo>
                  <a:pt x="1371600" y="1408290"/>
                </a:lnTo>
                <a:lnTo>
                  <a:pt x="1371600" y="1376058"/>
                </a:lnTo>
                <a:lnTo>
                  <a:pt x="1339367" y="1376058"/>
                </a:lnTo>
                <a:lnTo>
                  <a:pt x="1339367" y="1343825"/>
                </a:lnTo>
                <a:lnTo>
                  <a:pt x="1307135" y="1343825"/>
                </a:lnTo>
                <a:close/>
                <a:moveTo>
                  <a:pt x="1101395" y="1480985"/>
                </a:moveTo>
                <a:lnTo>
                  <a:pt x="1101395" y="1513218"/>
                </a:lnTo>
                <a:lnTo>
                  <a:pt x="1069162" y="1513218"/>
                </a:lnTo>
                <a:lnTo>
                  <a:pt x="1069162" y="1545450"/>
                </a:lnTo>
                <a:lnTo>
                  <a:pt x="1101395" y="1545450"/>
                </a:lnTo>
                <a:lnTo>
                  <a:pt x="1101395" y="1577683"/>
                </a:lnTo>
                <a:lnTo>
                  <a:pt x="1133627" y="1577683"/>
                </a:lnTo>
                <a:lnTo>
                  <a:pt x="1133627" y="1545450"/>
                </a:lnTo>
                <a:lnTo>
                  <a:pt x="1165860" y="1545450"/>
                </a:lnTo>
                <a:lnTo>
                  <a:pt x="1165860" y="1513218"/>
                </a:lnTo>
                <a:lnTo>
                  <a:pt x="1133627" y="1513218"/>
                </a:lnTo>
                <a:lnTo>
                  <a:pt x="1133627" y="1480985"/>
                </a:lnTo>
                <a:lnTo>
                  <a:pt x="1101395" y="1480985"/>
                </a:lnTo>
                <a:close/>
                <a:moveTo>
                  <a:pt x="759866" y="1622603"/>
                </a:moveTo>
                <a:lnTo>
                  <a:pt x="759866" y="1651749"/>
                </a:lnTo>
                <a:lnTo>
                  <a:pt x="730720" y="1651749"/>
                </a:lnTo>
                <a:lnTo>
                  <a:pt x="730720" y="1681239"/>
                </a:lnTo>
                <a:lnTo>
                  <a:pt x="759866" y="1681239"/>
                </a:lnTo>
                <a:lnTo>
                  <a:pt x="759866" y="1710385"/>
                </a:lnTo>
                <a:lnTo>
                  <a:pt x="789356" y="1710385"/>
                </a:lnTo>
                <a:lnTo>
                  <a:pt x="789356" y="1681239"/>
                </a:lnTo>
                <a:lnTo>
                  <a:pt x="818502" y="1681239"/>
                </a:lnTo>
                <a:lnTo>
                  <a:pt x="818502" y="1651749"/>
                </a:lnTo>
                <a:lnTo>
                  <a:pt x="789356" y="1651749"/>
                </a:lnTo>
                <a:lnTo>
                  <a:pt x="789356" y="1622603"/>
                </a:lnTo>
                <a:lnTo>
                  <a:pt x="759866" y="1622603"/>
                </a:lnTo>
                <a:close/>
                <a:moveTo>
                  <a:pt x="1545107" y="2674963"/>
                </a:moveTo>
                <a:lnTo>
                  <a:pt x="1545107" y="2642730"/>
                </a:lnTo>
                <a:lnTo>
                  <a:pt x="1577340" y="2642730"/>
                </a:lnTo>
                <a:lnTo>
                  <a:pt x="1577340" y="2610498"/>
                </a:lnTo>
                <a:lnTo>
                  <a:pt x="1545107" y="2610498"/>
                </a:lnTo>
                <a:lnTo>
                  <a:pt x="1545107" y="2578265"/>
                </a:lnTo>
                <a:lnTo>
                  <a:pt x="1512875" y="2578265"/>
                </a:lnTo>
                <a:lnTo>
                  <a:pt x="1512875" y="2610498"/>
                </a:lnTo>
                <a:lnTo>
                  <a:pt x="1480642" y="2610498"/>
                </a:lnTo>
                <a:lnTo>
                  <a:pt x="1480642" y="2642730"/>
                </a:lnTo>
                <a:lnTo>
                  <a:pt x="1512875" y="2642730"/>
                </a:lnTo>
                <a:lnTo>
                  <a:pt x="1512875" y="2674963"/>
                </a:lnTo>
                <a:lnTo>
                  <a:pt x="1545107" y="2674963"/>
                </a:lnTo>
                <a:close/>
                <a:moveTo>
                  <a:pt x="2679764" y="1072248"/>
                </a:moveTo>
                <a:lnTo>
                  <a:pt x="2679764" y="1102766"/>
                </a:lnTo>
                <a:lnTo>
                  <a:pt x="2649245" y="1102766"/>
                </a:lnTo>
                <a:lnTo>
                  <a:pt x="2649245" y="1132942"/>
                </a:lnTo>
                <a:lnTo>
                  <a:pt x="2679764" y="1132942"/>
                </a:lnTo>
                <a:lnTo>
                  <a:pt x="2679764" y="1163460"/>
                </a:lnTo>
                <a:lnTo>
                  <a:pt x="2709939" y="1163460"/>
                </a:lnTo>
                <a:lnTo>
                  <a:pt x="2709939" y="1132942"/>
                </a:lnTo>
                <a:lnTo>
                  <a:pt x="2740457" y="1132942"/>
                </a:lnTo>
                <a:lnTo>
                  <a:pt x="2740457" y="1102766"/>
                </a:lnTo>
                <a:lnTo>
                  <a:pt x="2709939" y="1102766"/>
                </a:lnTo>
                <a:lnTo>
                  <a:pt x="2709939" y="1072248"/>
                </a:lnTo>
                <a:lnTo>
                  <a:pt x="2679764" y="1072248"/>
                </a:lnTo>
                <a:close/>
                <a:moveTo>
                  <a:pt x="2748001" y="1208380"/>
                </a:moveTo>
                <a:lnTo>
                  <a:pt x="2748001" y="1239584"/>
                </a:lnTo>
                <a:lnTo>
                  <a:pt x="2716797" y="1239584"/>
                </a:lnTo>
                <a:lnTo>
                  <a:pt x="2716797" y="1270445"/>
                </a:lnTo>
                <a:lnTo>
                  <a:pt x="2748001" y="1270445"/>
                </a:lnTo>
                <a:lnTo>
                  <a:pt x="2748001" y="1301648"/>
                </a:lnTo>
                <a:lnTo>
                  <a:pt x="2778862" y="1301648"/>
                </a:lnTo>
                <a:lnTo>
                  <a:pt x="2778862" y="1270445"/>
                </a:lnTo>
                <a:lnTo>
                  <a:pt x="2810066" y="1270445"/>
                </a:lnTo>
                <a:lnTo>
                  <a:pt x="2810066" y="1239584"/>
                </a:lnTo>
                <a:lnTo>
                  <a:pt x="2778862" y="1239584"/>
                </a:lnTo>
                <a:lnTo>
                  <a:pt x="2778862" y="1208380"/>
                </a:lnTo>
                <a:lnTo>
                  <a:pt x="2748001" y="1208380"/>
                </a:lnTo>
                <a:close/>
                <a:moveTo>
                  <a:pt x="2611526" y="936803"/>
                </a:moveTo>
                <a:lnTo>
                  <a:pt x="2611526" y="965949"/>
                </a:lnTo>
                <a:lnTo>
                  <a:pt x="2582380" y="965949"/>
                </a:lnTo>
                <a:lnTo>
                  <a:pt x="2582380" y="995439"/>
                </a:lnTo>
                <a:lnTo>
                  <a:pt x="2611526" y="995439"/>
                </a:lnTo>
                <a:lnTo>
                  <a:pt x="2611526" y="1024585"/>
                </a:lnTo>
                <a:lnTo>
                  <a:pt x="2641016" y="1024585"/>
                </a:lnTo>
                <a:lnTo>
                  <a:pt x="2641016" y="995439"/>
                </a:lnTo>
                <a:lnTo>
                  <a:pt x="2670163" y="995439"/>
                </a:lnTo>
                <a:lnTo>
                  <a:pt x="2670163" y="965949"/>
                </a:lnTo>
                <a:lnTo>
                  <a:pt x="2641016" y="965949"/>
                </a:lnTo>
                <a:lnTo>
                  <a:pt x="2641016" y="936803"/>
                </a:lnTo>
                <a:lnTo>
                  <a:pt x="2611526" y="936803"/>
                </a:lnTo>
                <a:close/>
                <a:moveTo>
                  <a:pt x="2473681" y="934745"/>
                </a:moveTo>
                <a:lnTo>
                  <a:pt x="2473681" y="965264"/>
                </a:lnTo>
                <a:lnTo>
                  <a:pt x="2443163" y="965264"/>
                </a:lnTo>
                <a:lnTo>
                  <a:pt x="2443163" y="996125"/>
                </a:lnTo>
                <a:lnTo>
                  <a:pt x="2473681" y="996125"/>
                </a:lnTo>
                <a:lnTo>
                  <a:pt x="2473681" y="1026643"/>
                </a:lnTo>
                <a:lnTo>
                  <a:pt x="2504542" y="1026643"/>
                </a:lnTo>
                <a:lnTo>
                  <a:pt x="2504542" y="996125"/>
                </a:lnTo>
                <a:lnTo>
                  <a:pt x="2535060" y="996125"/>
                </a:lnTo>
                <a:lnTo>
                  <a:pt x="2535060" y="965264"/>
                </a:lnTo>
                <a:lnTo>
                  <a:pt x="2504542" y="965264"/>
                </a:lnTo>
                <a:lnTo>
                  <a:pt x="2504542" y="934745"/>
                </a:lnTo>
                <a:lnTo>
                  <a:pt x="2473681" y="934745"/>
                </a:lnTo>
                <a:close/>
                <a:moveTo>
                  <a:pt x="2404415" y="1069505"/>
                </a:moveTo>
                <a:lnTo>
                  <a:pt x="2404415" y="1101738"/>
                </a:lnTo>
                <a:lnTo>
                  <a:pt x="2372182" y="1101738"/>
                </a:lnTo>
                <a:lnTo>
                  <a:pt x="2372182" y="1133970"/>
                </a:lnTo>
                <a:lnTo>
                  <a:pt x="2404415" y="1133970"/>
                </a:lnTo>
                <a:lnTo>
                  <a:pt x="2404415" y="1166203"/>
                </a:lnTo>
                <a:lnTo>
                  <a:pt x="2436647" y="1166203"/>
                </a:lnTo>
                <a:lnTo>
                  <a:pt x="2436647" y="1133970"/>
                </a:lnTo>
                <a:lnTo>
                  <a:pt x="2468880" y="1133970"/>
                </a:lnTo>
                <a:lnTo>
                  <a:pt x="2468880" y="1101738"/>
                </a:lnTo>
                <a:lnTo>
                  <a:pt x="2436647" y="1101738"/>
                </a:lnTo>
                <a:lnTo>
                  <a:pt x="2436647" y="1069505"/>
                </a:lnTo>
                <a:lnTo>
                  <a:pt x="2404415" y="1069505"/>
                </a:lnTo>
                <a:close/>
                <a:moveTo>
                  <a:pt x="2541918" y="1070534"/>
                </a:moveTo>
                <a:lnTo>
                  <a:pt x="2541918" y="1102081"/>
                </a:lnTo>
                <a:lnTo>
                  <a:pt x="2510371" y="1102081"/>
                </a:lnTo>
                <a:lnTo>
                  <a:pt x="2510371" y="1133627"/>
                </a:lnTo>
                <a:lnTo>
                  <a:pt x="2541918" y="1133627"/>
                </a:lnTo>
                <a:lnTo>
                  <a:pt x="2541918" y="1165174"/>
                </a:lnTo>
                <a:lnTo>
                  <a:pt x="2573465" y="1165174"/>
                </a:lnTo>
                <a:lnTo>
                  <a:pt x="2573465" y="1133627"/>
                </a:lnTo>
                <a:lnTo>
                  <a:pt x="2605012" y="1133627"/>
                </a:lnTo>
                <a:lnTo>
                  <a:pt x="2605012" y="1102081"/>
                </a:lnTo>
                <a:lnTo>
                  <a:pt x="2573465" y="1102081"/>
                </a:lnTo>
                <a:lnTo>
                  <a:pt x="2573465" y="1070534"/>
                </a:lnTo>
                <a:lnTo>
                  <a:pt x="2541918" y="1070534"/>
                </a:lnTo>
                <a:close/>
                <a:moveTo>
                  <a:pt x="2954426" y="1347597"/>
                </a:moveTo>
                <a:lnTo>
                  <a:pt x="2954426" y="1377429"/>
                </a:lnTo>
                <a:lnTo>
                  <a:pt x="2924594" y="1377429"/>
                </a:lnTo>
                <a:lnTo>
                  <a:pt x="2924594" y="1406919"/>
                </a:lnTo>
                <a:lnTo>
                  <a:pt x="2954426" y="1406919"/>
                </a:lnTo>
                <a:lnTo>
                  <a:pt x="2954426" y="1436751"/>
                </a:lnTo>
                <a:lnTo>
                  <a:pt x="2983916" y="1436751"/>
                </a:lnTo>
                <a:lnTo>
                  <a:pt x="2983916" y="1406919"/>
                </a:lnTo>
                <a:lnTo>
                  <a:pt x="3013748" y="1406919"/>
                </a:lnTo>
                <a:lnTo>
                  <a:pt x="3013748" y="1377429"/>
                </a:lnTo>
                <a:lnTo>
                  <a:pt x="2983916" y="1377429"/>
                </a:lnTo>
                <a:lnTo>
                  <a:pt x="2983916" y="1347597"/>
                </a:lnTo>
                <a:lnTo>
                  <a:pt x="2954426" y="1347597"/>
                </a:lnTo>
                <a:close/>
                <a:moveTo>
                  <a:pt x="3023006" y="1485100"/>
                </a:moveTo>
                <a:lnTo>
                  <a:pt x="3023006" y="1514589"/>
                </a:lnTo>
                <a:lnTo>
                  <a:pt x="2993517" y="1514589"/>
                </a:lnTo>
                <a:lnTo>
                  <a:pt x="2993517" y="1544079"/>
                </a:lnTo>
                <a:lnTo>
                  <a:pt x="3023006" y="1544079"/>
                </a:lnTo>
                <a:lnTo>
                  <a:pt x="3023006" y="1573568"/>
                </a:lnTo>
                <a:lnTo>
                  <a:pt x="3052496" y="1573568"/>
                </a:lnTo>
                <a:lnTo>
                  <a:pt x="3052496" y="1544079"/>
                </a:lnTo>
                <a:lnTo>
                  <a:pt x="3081985" y="1544079"/>
                </a:lnTo>
                <a:lnTo>
                  <a:pt x="3081985" y="1514589"/>
                </a:lnTo>
                <a:lnTo>
                  <a:pt x="3052496" y="1514589"/>
                </a:lnTo>
                <a:lnTo>
                  <a:pt x="3052496" y="1485100"/>
                </a:lnTo>
                <a:lnTo>
                  <a:pt x="3023006" y="1485100"/>
                </a:lnTo>
                <a:close/>
                <a:moveTo>
                  <a:pt x="2817610" y="1074649"/>
                </a:moveTo>
                <a:lnTo>
                  <a:pt x="2817610" y="1103452"/>
                </a:lnTo>
                <a:lnTo>
                  <a:pt x="2788806" y="1103452"/>
                </a:lnTo>
                <a:lnTo>
                  <a:pt x="2788806" y="1132256"/>
                </a:lnTo>
                <a:lnTo>
                  <a:pt x="2817610" y="1132256"/>
                </a:lnTo>
                <a:lnTo>
                  <a:pt x="2817610" y="1161059"/>
                </a:lnTo>
                <a:lnTo>
                  <a:pt x="2846413" y="1161059"/>
                </a:lnTo>
                <a:lnTo>
                  <a:pt x="2846413" y="1132256"/>
                </a:lnTo>
                <a:lnTo>
                  <a:pt x="2875217" y="1132256"/>
                </a:lnTo>
                <a:lnTo>
                  <a:pt x="2875217" y="1103452"/>
                </a:lnTo>
                <a:lnTo>
                  <a:pt x="2846413" y="1103452"/>
                </a:lnTo>
                <a:lnTo>
                  <a:pt x="2846413" y="1074649"/>
                </a:lnTo>
                <a:lnTo>
                  <a:pt x="2817610" y="1074649"/>
                </a:lnTo>
                <a:close/>
                <a:moveTo>
                  <a:pt x="2885846" y="1211123"/>
                </a:moveTo>
                <a:lnTo>
                  <a:pt x="2885846" y="1240269"/>
                </a:lnTo>
                <a:lnTo>
                  <a:pt x="2856700" y="1240269"/>
                </a:lnTo>
                <a:lnTo>
                  <a:pt x="2856700" y="1269759"/>
                </a:lnTo>
                <a:lnTo>
                  <a:pt x="2885846" y="1269759"/>
                </a:lnTo>
                <a:lnTo>
                  <a:pt x="2885846" y="1298905"/>
                </a:lnTo>
                <a:lnTo>
                  <a:pt x="2915336" y="1298905"/>
                </a:lnTo>
                <a:lnTo>
                  <a:pt x="2915336" y="1269759"/>
                </a:lnTo>
                <a:lnTo>
                  <a:pt x="2944483" y="1269759"/>
                </a:lnTo>
                <a:lnTo>
                  <a:pt x="2944483" y="1240269"/>
                </a:lnTo>
                <a:lnTo>
                  <a:pt x="2915336" y="1240269"/>
                </a:lnTo>
                <a:lnTo>
                  <a:pt x="2915336" y="1211123"/>
                </a:lnTo>
                <a:lnTo>
                  <a:pt x="2885846" y="1211123"/>
                </a:lnTo>
                <a:close/>
                <a:moveTo>
                  <a:pt x="1856461" y="797585"/>
                </a:moveTo>
                <a:lnTo>
                  <a:pt x="1856461" y="828104"/>
                </a:lnTo>
                <a:lnTo>
                  <a:pt x="1825942" y="828104"/>
                </a:lnTo>
                <a:lnTo>
                  <a:pt x="1825942" y="858965"/>
                </a:lnTo>
                <a:lnTo>
                  <a:pt x="1856461" y="858965"/>
                </a:lnTo>
                <a:lnTo>
                  <a:pt x="1856461" y="889483"/>
                </a:lnTo>
                <a:lnTo>
                  <a:pt x="1887322" y="889483"/>
                </a:lnTo>
                <a:lnTo>
                  <a:pt x="1887322" y="858965"/>
                </a:lnTo>
                <a:lnTo>
                  <a:pt x="1917840" y="858965"/>
                </a:lnTo>
                <a:lnTo>
                  <a:pt x="1917840" y="828104"/>
                </a:lnTo>
                <a:lnTo>
                  <a:pt x="1887322" y="828104"/>
                </a:lnTo>
                <a:lnTo>
                  <a:pt x="1887322" y="797585"/>
                </a:lnTo>
                <a:lnTo>
                  <a:pt x="1856461" y="797585"/>
                </a:lnTo>
                <a:close/>
                <a:moveTo>
                  <a:pt x="1993621" y="797585"/>
                </a:moveTo>
                <a:lnTo>
                  <a:pt x="1993621" y="828104"/>
                </a:lnTo>
                <a:lnTo>
                  <a:pt x="1963102" y="828104"/>
                </a:lnTo>
                <a:lnTo>
                  <a:pt x="1963102" y="858965"/>
                </a:lnTo>
                <a:lnTo>
                  <a:pt x="1993621" y="858965"/>
                </a:lnTo>
                <a:lnTo>
                  <a:pt x="1993621" y="889483"/>
                </a:lnTo>
                <a:lnTo>
                  <a:pt x="2024482" y="889483"/>
                </a:lnTo>
                <a:lnTo>
                  <a:pt x="2024482" y="858965"/>
                </a:lnTo>
                <a:lnTo>
                  <a:pt x="2055000" y="858965"/>
                </a:lnTo>
                <a:lnTo>
                  <a:pt x="2055000" y="828104"/>
                </a:lnTo>
                <a:lnTo>
                  <a:pt x="2024482" y="828104"/>
                </a:lnTo>
                <a:lnTo>
                  <a:pt x="2024482" y="797585"/>
                </a:lnTo>
                <a:lnTo>
                  <a:pt x="1993621" y="797585"/>
                </a:lnTo>
                <a:close/>
                <a:moveTo>
                  <a:pt x="1924355" y="932345"/>
                </a:moveTo>
                <a:lnTo>
                  <a:pt x="1924355" y="964578"/>
                </a:lnTo>
                <a:lnTo>
                  <a:pt x="1892122" y="964578"/>
                </a:lnTo>
                <a:lnTo>
                  <a:pt x="1892122" y="996810"/>
                </a:lnTo>
                <a:lnTo>
                  <a:pt x="1924355" y="996810"/>
                </a:lnTo>
                <a:lnTo>
                  <a:pt x="1924355" y="1029043"/>
                </a:lnTo>
                <a:lnTo>
                  <a:pt x="1956587" y="1029043"/>
                </a:lnTo>
                <a:lnTo>
                  <a:pt x="1956587" y="996810"/>
                </a:lnTo>
                <a:lnTo>
                  <a:pt x="1988820" y="996810"/>
                </a:lnTo>
                <a:lnTo>
                  <a:pt x="1988820" y="964578"/>
                </a:lnTo>
                <a:lnTo>
                  <a:pt x="1956587" y="964578"/>
                </a:lnTo>
                <a:lnTo>
                  <a:pt x="1956587" y="932345"/>
                </a:lnTo>
                <a:lnTo>
                  <a:pt x="1924355" y="932345"/>
                </a:lnTo>
                <a:close/>
                <a:moveTo>
                  <a:pt x="2336178" y="933717"/>
                </a:moveTo>
                <a:lnTo>
                  <a:pt x="2336178" y="964921"/>
                </a:lnTo>
                <a:lnTo>
                  <a:pt x="2304974" y="964921"/>
                </a:lnTo>
                <a:lnTo>
                  <a:pt x="2304974" y="996467"/>
                </a:lnTo>
                <a:lnTo>
                  <a:pt x="2336178" y="996467"/>
                </a:lnTo>
                <a:lnTo>
                  <a:pt x="2336178" y="1027671"/>
                </a:lnTo>
                <a:lnTo>
                  <a:pt x="2367725" y="1027671"/>
                </a:lnTo>
                <a:lnTo>
                  <a:pt x="2367725" y="996467"/>
                </a:lnTo>
                <a:lnTo>
                  <a:pt x="2398928" y="996467"/>
                </a:lnTo>
                <a:lnTo>
                  <a:pt x="2398928" y="964921"/>
                </a:lnTo>
                <a:lnTo>
                  <a:pt x="2367725" y="964921"/>
                </a:lnTo>
                <a:lnTo>
                  <a:pt x="2367725" y="933717"/>
                </a:lnTo>
                <a:lnTo>
                  <a:pt x="2336178" y="933717"/>
                </a:lnTo>
                <a:close/>
                <a:moveTo>
                  <a:pt x="1787195" y="932345"/>
                </a:moveTo>
                <a:lnTo>
                  <a:pt x="1787195" y="964578"/>
                </a:lnTo>
                <a:lnTo>
                  <a:pt x="1754962" y="964578"/>
                </a:lnTo>
                <a:lnTo>
                  <a:pt x="1754962" y="996810"/>
                </a:lnTo>
                <a:lnTo>
                  <a:pt x="1787195" y="996810"/>
                </a:lnTo>
                <a:lnTo>
                  <a:pt x="1787195" y="1029043"/>
                </a:lnTo>
                <a:lnTo>
                  <a:pt x="1819427" y="1029043"/>
                </a:lnTo>
                <a:lnTo>
                  <a:pt x="1819427" y="996810"/>
                </a:lnTo>
                <a:lnTo>
                  <a:pt x="1851660" y="996810"/>
                </a:lnTo>
                <a:lnTo>
                  <a:pt x="1851660" y="964578"/>
                </a:lnTo>
                <a:lnTo>
                  <a:pt x="1819427" y="964578"/>
                </a:lnTo>
                <a:lnTo>
                  <a:pt x="1819427" y="932345"/>
                </a:lnTo>
                <a:lnTo>
                  <a:pt x="1787195" y="932345"/>
                </a:lnTo>
                <a:close/>
                <a:moveTo>
                  <a:pt x="3092615" y="1350683"/>
                </a:moveTo>
                <a:lnTo>
                  <a:pt x="3092615" y="1378458"/>
                </a:lnTo>
                <a:lnTo>
                  <a:pt x="3064840" y="1378458"/>
                </a:lnTo>
                <a:lnTo>
                  <a:pt x="3064840" y="1405890"/>
                </a:lnTo>
                <a:lnTo>
                  <a:pt x="3092615" y="1405890"/>
                </a:lnTo>
                <a:lnTo>
                  <a:pt x="3092615" y="1433665"/>
                </a:lnTo>
                <a:lnTo>
                  <a:pt x="3120047" y="1433665"/>
                </a:lnTo>
                <a:lnTo>
                  <a:pt x="3120047" y="1405890"/>
                </a:lnTo>
                <a:lnTo>
                  <a:pt x="3147822" y="1405890"/>
                </a:lnTo>
                <a:lnTo>
                  <a:pt x="3147822" y="1378458"/>
                </a:lnTo>
                <a:lnTo>
                  <a:pt x="3120047" y="1378458"/>
                </a:lnTo>
                <a:lnTo>
                  <a:pt x="3120047" y="1350683"/>
                </a:lnTo>
                <a:lnTo>
                  <a:pt x="3092615" y="1350683"/>
                </a:lnTo>
                <a:close/>
                <a:moveTo>
                  <a:pt x="2061515" y="932345"/>
                </a:moveTo>
                <a:lnTo>
                  <a:pt x="2061515" y="964578"/>
                </a:lnTo>
                <a:lnTo>
                  <a:pt x="2029282" y="964578"/>
                </a:lnTo>
                <a:lnTo>
                  <a:pt x="2029282" y="996810"/>
                </a:lnTo>
                <a:lnTo>
                  <a:pt x="2061515" y="996810"/>
                </a:lnTo>
                <a:lnTo>
                  <a:pt x="2061515" y="1029043"/>
                </a:lnTo>
                <a:lnTo>
                  <a:pt x="2093747" y="1029043"/>
                </a:lnTo>
                <a:lnTo>
                  <a:pt x="2093747" y="996810"/>
                </a:lnTo>
                <a:lnTo>
                  <a:pt x="2125980" y="996810"/>
                </a:lnTo>
                <a:lnTo>
                  <a:pt x="2125980" y="964578"/>
                </a:lnTo>
                <a:lnTo>
                  <a:pt x="2093747" y="964578"/>
                </a:lnTo>
                <a:lnTo>
                  <a:pt x="2093747" y="932345"/>
                </a:lnTo>
                <a:lnTo>
                  <a:pt x="2061515" y="932345"/>
                </a:lnTo>
                <a:close/>
                <a:moveTo>
                  <a:pt x="2268284" y="798614"/>
                </a:moveTo>
                <a:lnTo>
                  <a:pt x="2268284" y="828446"/>
                </a:lnTo>
                <a:lnTo>
                  <a:pt x="2238451" y="828446"/>
                </a:lnTo>
                <a:lnTo>
                  <a:pt x="2238451" y="858622"/>
                </a:lnTo>
                <a:lnTo>
                  <a:pt x="2268284" y="858622"/>
                </a:lnTo>
                <a:lnTo>
                  <a:pt x="2268284" y="888454"/>
                </a:lnTo>
                <a:lnTo>
                  <a:pt x="2298459" y="888454"/>
                </a:lnTo>
                <a:lnTo>
                  <a:pt x="2298459" y="858622"/>
                </a:lnTo>
                <a:lnTo>
                  <a:pt x="2328291" y="858622"/>
                </a:lnTo>
                <a:lnTo>
                  <a:pt x="2328291" y="828446"/>
                </a:lnTo>
                <a:lnTo>
                  <a:pt x="2298459" y="828446"/>
                </a:lnTo>
                <a:lnTo>
                  <a:pt x="2298459" y="798614"/>
                </a:lnTo>
                <a:lnTo>
                  <a:pt x="2268284" y="798614"/>
                </a:lnTo>
                <a:close/>
                <a:moveTo>
                  <a:pt x="2198675" y="932688"/>
                </a:moveTo>
                <a:lnTo>
                  <a:pt x="2198675" y="964578"/>
                </a:lnTo>
                <a:lnTo>
                  <a:pt x="2166785" y="964578"/>
                </a:lnTo>
                <a:lnTo>
                  <a:pt x="2166785" y="996810"/>
                </a:lnTo>
                <a:lnTo>
                  <a:pt x="2198675" y="996810"/>
                </a:lnTo>
                <a:lnTo>
                  <a:pt x="2198675" y="1028700"/>
                </a:lnTo>
                <a:lnTo>
                  <a:pt x="2230907" y="1028700"/>
                </a:lnTo>
                <a:lnTo>
                  <a:pt x="2230907" y="996810"/>
                </a:lnTo>
                <a:lnTo>
                  <a:pt x="2262797" y="996810"/>
                </a:lnTo>
                <a:lnTo>
                  <a:pt x="2262797" y="964578"/>
                </a:lnTo>
                <a:lnTo>
                  <a:pt x="2230907" y="964578"/>
                </a:lnTo>
                <a:lnTo>
                  <a:pt x="2230907" y="932688"/>
                </a:lnTo>
                <a:lnTo>
                  <a:pt x="2198675" y="932688"/>
                </a:lnTo>
                <a:close/>
                <a:moveTo>
                  <a:pt x="2131124" y="797928"/>
                </a:moveTo>
                <a:lnTo>
                  <a:pt x="2131124" y="828446"/>
                </a:lnTo>
                <a:lnTo>
                  <a:pt x="2100605" y="828446"/>
                </a:lnTo>
                <a:lnTo>
                  <a:pt x="2100605" y="858622"/>
                </a:lnTo>
                <a:lnTo>
                  <a:pt x="2131124" y="858622"/>
                </a:lnTo>
                <a:lnTo>
                  <a:pt x="2131124" y="889140"/>
                </a:lnTo>
                <a:lnTo>
                  <a:pt x="2161299" y="889140"/>
                </a:lnTo>
                <a:lnTo>
                  <a:pt x="2161299" y="858622"/>
                </a:lnTo>
                <a:lnTo>
                  <a:pt x="2191817" y="858622"/>
                </a:lnTo>
                <a:lnTo>
                  <a:pt x="2191817" y="828446"/>
                </a:lnTo>
                <a:lnTo>
                  <a:pt x="2161299" y="828446"/>
                </a:lnTo>
                <a:lnTo>
                  <a:pt x="2161299" y="797928"/>
                </a:lnTo>
                <a:lnTo>
                  <a:pt x="2131124" y="797928"/>
                </a:lnTo>
                <a:close/>
                <a:moveTo>
                  <a:pt x="2847785" y="2536431"/>
                </a:moveTo>
                <a:lnTo>
                  <a:pt x="2847785" y="2505227"/>
                </a:lnTo>
                <a:lnTo>
                  <a:pt x="2878988" y="2505227"/>
                </a:lnTo>
                <a:lnTo>
                  <a:pt x="2878988" y="2473681"/>
                </a:lnTo>
                <a:lnTo>
                  <a:pt x="2847785" y="2473681"/>
                </a:lnTo>
                <a:lnTo>
                  <a:pt x="2847785" y="2442477"/>
                </a:lnTo>
                <a:lnTo>
                  <a:pt x="2816238" y="2442477"/>
                </a:lnTo>
                <a:lnTo>
                  <a:pt x="2816238" y="2473681"/>
                </a:lnTo>
                <a:lnTo>
                  <a:pt x="2785034" y="2473681"/>
                </a:lnTo>
                <a:lnTo>
                  <a:pt x="2785034" y="2505227"/>
                </a:lnTo>
                <a:lnTo>
                  <a:pt x="2816238" y="2505227"/>
                </a:lnTo>
                <a:lnTo>
                  <a:pt x="2816238" y="2536431"/>
                </a:lnTo>
                <a:lnTo>
                  <a:pt x="2847785" y="2536431"/>
                </a:lnTo>
                <a:close/>
                <a:moveTo>
                  <a:pt x="2710967" y="2537803"/>
                </a:moveTo>
                <a:lnTo>
                  <a:pt x="2710967" y="2505570"/>
                </a:lnTo>
                <a:lnTo>
                  <a:pt x="2743200" y="2505570"/>
                </a:lnTo>
                <a:lnTo>
                  <a:pt x="2743200" y="2473338"/>
                </a:lnTo>
                <a:lnTo>
                  <a:pt x="2710967" y="2473338"/>
                </a:lnTo>
                <a:lnTo>
                  <a:pt x="2710967" y="2441105"/>
                </a:lnTo>
                <a:lnTo>
                  <a:pt x="2678735" y="2441105"/>
                </a:lnTo>
                <a:lnTo>
                  <a:pt x="2678735" y="2473338"/>
                </a:lnTo>
                <a:lnTo>
                  <a:pt x="2646502" y="2473338"/>
                </a:lnTo>
                <a:lnTo>
                  <a:pt x="2646502" y="2505570"/>
                </a:lnTo>
                <a:lnTo>
                  <a:pt x="2678735" y="2505570"/>
                </a:lnTo>
                <a:lnTo>
                  <a:pt x="2678735" y="2537803"/>
                </a:lnTo>
                <a:lnTo>
                  <a:pt x="2710967" y="2537803"/>
                </a:lnTo>
                <a:close/>
                <a:moveTo>
                  <a:pt x="2368067" y="2674963"/>
                </a:moveTo>
                <a:lnTo>
                  <a:pt x="2368067" y="2642730"/>
                </a:lnTo>
                <a:lnTo>
                  <a:pt x="2400300" y="2642730"/>
                </a:lnTo>
                <a:lnTo>
                  <a:pt x="2400300" y="2610498"/>
                </a:lnTo>
                <a:lnTo>
                  <a:pt x="2368067" y="2610498"/>
                </a:lnTo>
                <a:lnTo>
                  <a:pt x="2368067" y="2578265"/>
                </a:lnTo>
                <a:lnTo>
                  <a:pt x="2335835" y="2578265"/>
                </a:lnTo>
                <a:lnTo>
                  <a:pt x="2335835" y="2610498"/>
                </a:lnTo>
                <a:lnTo>
                  <a:pt x="2303602" y="2610498"/>
                </a:lnTo>
                <a:lnTo>
                  <a:pt x="2303602" y="2642730"/>
                </a:lnTo>
                <a:lnTo>
                  <a:pt x="2335835" y="2642730"/>
                </a:lnTo>
                <a:lnTo>
                  <a:pt x="2335835" y="2674963"/>
                </a:lnTo>
                <a:lnTo>
                  <a:pt x="2368067" y="2674963"/>
                </a:lnTo>
                <a:close/>
                <a:moveTo>
                  <a:pt x="2505227" y="2674963"/>
                </a:moveTo>
                <a:lnTo>
                  <a:pt x="2505227" y="2642730"/>
                </a:lnTo>
                <a:lnTo>
                  <a:pt x="2537460" y="2642730"/>
                </a:lnTo>
                <a:lnTo>
                  <a:pt x="2537460" y="2610498"/>
                </a:lnTo>
                <a:lnTo>
                  <a:pt x="2505227" y="2610498"/>
                </a:lnTo>
                <a:lnTo>
                  <a:pt x="2505227" y="2578265"/>
                </a:lnTo>
                <a:lnTo>
                  <a:pt x="2472995" y="2578265"/>
                </a:lnTo>
                <a:lnTo>
                  <a:pt x="2472995" y="2610498"/>
                </a:lnTo>
                <a:lnTo>
                  <a:pt x="2440762" y="2610498"/>
                </a:lnTo>
                <a:lnTo>
                  <a:pt x="2440762" y="2642730"/>
                </a:lnTo>
                <a:lnTo>
                  <a:pt x="2472995" y="2642730"/>
                </a:lnTo>
                <a:lnTo>
                  <a:pt x="2472995" y="2674963"/>
                </a:lnTo>
                <a:lnTo>
                  <a:pt x="2505227" y="2674963"/>
                </a:lnTo>
                <a:close/>
                <a:moveTo>
                  <a:pt x="2642387" y="2674963"/>
                </a:moveTo>
                <a:lnTo>
                  <a:pt x="2642387" y="2642730"/>
                </a:lnTo>
                <a:lnTo>
                  <a:pt x="2674620" y="2642730"/>
                </a:lnTo>
                <a:lnTo>
                  <a:pt x="2674620" y="2610498"/>
                </a:lnTo>
                <a:lnTo>
                  <a:pt x="2642387" y="2610498"/>
                </a:lnTo>
                <a:lnTo>
                  <a:pt x="2642387" y="2578265"/>
                </a:lnTo>
                <a:lnTo>
                  <a:pt x="2610155" y="2578265"/>
                </a:lnTo>
                <a:lnTo>
                  <a:pt x="2610155" y="2610498"/>
                </a:lnTo>
                <a:lnTo>
                  <a:pt x="2577922" y="2610498"/>
                </a:lnTo>
                <a:lnTo>
                  <a:pt x="2577922" y="2642730"/>
                </a:lnTo>
                <a:lnTo>
                  <a:pt x="2610155" y="2642730"/>
                </a:lnTo>
                <a:lnTo>
                  <a:pt x="2610155" y="2674963"/>
                </a:lnTo>
                <a:lnTo>
                  <a:pt x="2642387" y="2674963"/>
                </a:lnTo>
                <a:close/>
                <a:moveTo>
                  <a:pt x="2573807" y="2537803"/>
                </a:moveTo>
                <a:lnTo>
                  <a:pt x="2573807" y="2505570"/>
                </a:lnTo>
                <a:lnTo>
                  <a:pt x="2606040" y="2505570"/>
                </a:lnTo>
                <a:lnTo>
                  <a:pt x="2606040" y="2473338"/>
                </a:lnTo>
                <a:lnTo>
                  <a:pt x="2573807" y="2473338"/>
                </a:lnTo>
                <a:lnTo>
                  <a:pt x="2573807" y="2441105"/>
                </a:lnTo>
                <a:lnTo>
                  <a:pt x="2541575" y="2441105"/>
                </a:lnTo>
                <a:lnTo>
                  <a:pt x="2541575" y="2473338"/>
                </a:lnTo>
                <a:lnTo>
                  <a:pt x="2509342" y="2473338"/>
                </a:lnTo>
                <a:lnTo>
                  <a:pt x="2509342" y="2505570"/>
                </a:lnTo>
                <a:lnTo>
                  <a:pt x="2541575" y="2505570"/>
                </a:lnTo>
                <a:lnTo>
                  <a:pt x="2541575" y="2537803"/>
                </a:lnTo>
                <a:lnTo>
                  <a:pt x="2573807" y="2537803"/>
                </a:lnTo>
                <a:close/>
                <a:moveTo>
                  <a:pt x="2436647" y="2812123"/>
                </a:moveTo>
                <a:lnTo>
                  <a:pt x="2436647" y="2779890"/>
                </a:lnTo>
                <a:lnTo>
                  <a:pt x="2468880" y="2779890"/>
                </a:lnTo>
                <a:lnTo>
                  <a:pt x="2468880" y="2747658"/>
                </a:lnTo>
                <a:lnTo>
                  <a:pt x="2436647" y="2747658"/>
                </a:lnTo>
                <a:lnTo>
                  <a:pt x="2436647" y="2715425"/>
                </a:lnTo>
                <a:lnTo>
                  <a:pt x="2404415" y="2715425"/>
                </a:lnTo>
                <a:lnTo>
                  <a:pt x="2404415" y="2747658"/>
                </a:lnTo>
                <a:lnTo>
                  <a:pt x="2372182" y="2747658"/>
                </a:lnTo>
                <a:lnTo>
                  <a:pt x="2372182" y="2779890"/>
                </a:lnTo>
                <a:lnTo>
                  <a:pt x="2404415" y="2779890"/>
                </a:lnTo>
                <a:lnTo>
                  <a:pt x="2404415" y="2812123"/>
                </a:lnTo>
                <a:lnTo>
                  <a:pt x="2436647" y="2812123"/>
                </a:lnTo>
                <a:close/>
                <a:moveTo>
                  <a:pt x="2162327" y="2812123"/>
                </a:moveTo>
                <a:lnTo>
                  <a:pt x="2162327" y="2779890"/>
                </a:lnTo>
                <a:lnTo>
                  <a:pt x="2194560" y="2779890"/>
                </a:lnTo>
                <a:lnTo>
                  <a:pt x="2194560" y="2747658"/>
                </a:lnTo>
                <a:lnTo>
                  <a:pt x="2162327" y="2747658"/>
                </a:lnTo>
                <a:lnTo>
                  <a:pt x="2162327" y="2715425"/>
                </a:lnTo>
                <a:lnTo>
                  <a:pt x="2130095" y="2715425"/>
                </a:lnTo>
                <a:lnTo>
                  <a:pt x="2130095" y="2747658"/>
                </a:lnTo>
                <a:lnTo>
                  <a:pt x="2097862" y="2747658"/>
                </a:lnTo>
                <a:lnTo>
                  <a:pt x="2097862" y="2779890"/>
                </a:lnTo>
                <a:lnTo>
                  <a:pt x="2130095" y="2779890"/>
                </a:lnTo>
                <a:lnTo>
                  <a:pt x="2130095" y="2812123"/>
                </a:lnTo>
                <a:lnTo>
                  <a:pt x="2162327" y="2812123"/>
                </a:lnTo>
                <a:close/>
                <a:moveTo>
                  <a:pt x="3161195" y="1488186"/>
                </a:moveTo>
                <a:lnTo>
                  <a:pt x="3161195" y="1515618"/>
                </a:lnTo>
                <a:lnTo>
                  <a:pt x="3133763" y="1515618"/>
                </a:lnTo>
                <a:lnTo>
                  <a:pt x="3133763" y="1543050"/>
                </a:lnTo>
                <a:lnTo>
                  <a:pt x="3161195" y="1543050"/>
                </a:lnTo>
                <a:lnTo>
                  <a:pt x="3161195" y="1570482"/>
                </a:lnTo>
                <a:lnTo>
                  <a:pt x="3188627" y="1570482"/>
                </a:lnTo>
                <a:lnTo>
                  <a:pt x="3188627" y="1543050"/>
                </a:lnTo>
                <a:lnTo>
                  <a:pt x="3216059" y="1543050"/>
                </a:lnTo>
                <a:lnTo>
                  <a:pt x="3216059" y="1515618"/>
                </a:lnTo>
                <a:lnTo>
                  <a:pt x="3188627" y="1515618"/>
                </a:lnTo>
                <a:lnTo>
                  <a:pt x="3188627" y="1488186"/>
                </a:lnTo>
                <a:lnTo>
                  <a:pt x="3161195" y="1488186"/>
                </a:lnTo>
                <a:close/>
                <a:moveTo>
                  <a:pt x="2093747" y="2674963"/>
                </a:moveTo>
                <a:lnTo>
                  <a:pt x="2093747" y="2642730"/>
                </a:lnTo>
                <a:lnTo>
                  <a:pt x="2125980" y="2642730"/>
                </a:lnTo>
                <a:lnTo>
                  <a:pt x="2125980" y="2610498"/>
                </a:lnTo>
                <a:lnTo>
                  <a:pt x="2093747" y="2610498"/>
                </a:lnTo>
                <a:lnTo>
                  <a:pt x="2093747" y="2578265"/>
                </a:lnTo>
                <a:lnTo>
                  <a:pt x="2061515" y="2578265"/>
                </a:lnTo>
                <a:lnTo>
                  <a:pt x="2061515" y="2610498"/>
                </a:lnTo>
                <a:lnTo>
                  <a:pt x="2029282" y="2610498"/>
                </a:lnTo>
                <a:lnTo>
                  <a:pt x="2029282" y="2642730"/>
                </a:lnTo>
                <a:lnTo>
                  <a:pt x="2061515" y="2642730"/>
                </a:lnTo>
                <a:lnTo>
                  <a:pt x="2061515" y="2674963"/>
                </a:lnTo>
                <a:lnTo>
                  <a:pt x="2093747" y="2674963"/>
                </a:lnTo>
                <a:close/>
                <a:moveTo>
                  <a:pt x="2230907" y="2674963"/>
                </a:moveTo>
                <a:lnTo>
                  <a:pt x="2230907" y="2642730"/>
                </a:lnTo>
                <a:lnTo>
                  <a:pt x="2263140" y="2642730"/>
                </a:lnTo>
                <a:lnTo>
                  <a:pt x="2263140" y="2610498"/>
                </a:lnTo>
                <a:lnTo>
                  <a:pt x="2230907" y="2610498"/>
                </a:lnTo>
                <a:lnTo>
                  <a:pt x="2230907" y="2578265"/>
                </a:lnTo>
                <a:lnTo>
                  <a:pt x="2198675" y="2578265"/>
                </a:lnTo>
                <a:lnTo>
                  <a:pt x="2198675" y="2610498"/>
                </a:lnTo>
                <a:lnTo>
                  <a:pt x="2166442" y="2610498"/>
                </a:lnTo>
                <a:lnTo>
                  <a:pt x="2166442" y="2642730"/>
                </a:lnTo>
                <a:lnTo>
                  <a:pt x="2198675" y="2642730"/>
                </a:lnTo>
                <a:lnTo>
                  <a:pt x="2198675" y="2674963"/>
                </a:lnTo>
                <a:lnTo>
                  <a:pt x="2230907" y="2674963"/>
                </a:lnTo>
                <a:close/>
                <a:moveTo>
                  <a:pt x="2299487" y="2812123"/>
                </a:moveTo>
                <a:lnTo>
                  <a:pt x="2299487" y="2779890"/>
                </a:lnTo>
                <a:lnTo>
                  <a:pt x="2331720" y="2779890"/>
                </a:lnTo>
                <a:lnTo>
                  <a:pt x="2331720" y="2747658"/>
                </a:lnTo>
                <a:lnTo>
                  <a:pt x="2299487" y="2747658"/>
                </a:lnTo>
                <a:lnTo>
                  <a:pt x="2299487" y="2715425"/>
                </a:lnTo>
                <a:lnTo>
                  <a:pt x="2267255" y="2715425"/>
                </a:lnTo>
                <a:lnTo>
                  <a:pt x="2267255" y="2747658"/>
                </a:lnTo>
                <a:lnTo>
                  <a:pt x="2235022" y="2747658"/>
                </a:lnTo>
                <a:lnTo>
                  <a:pt x="2235022" y="2779890"/>
                </a:lnTo>
                <a:lnTo>
                  <a:pt x="2267255" y="2779890"/>
                </a:lnTo>
                <a:lnTo>
                  <a:pt x="2267255" y="2812123"/>
                </a:lnTo>
                <a:lnTo>
                  <a:pt x="2299487" y="2812123"/>
                </a:lnTo>
                <a:close/>
                <a:moveTo>
                  <a:pt x="3189313" y="2120837"/>
                </a:moveTo>
                <a:lnTo>
                  <a:pt x="3189313" y="2092376"/>
                </a:lnTo>
                <a:lnTo>
                  <a:pt x="3217774" y="2092376"/>
                </a:lnTo>
                <a:lnTo>
                  <a:pt x="3217774" y="2063572"/>
                </a:lnTo>
                <a:lnTo>
                  <a:pt x="3189313" y="2063572"/>
                </a:lnTo>
                <a:lnTo>
                  <a:pt x="3189313" y="2035112"/>
                </a:lnTo>
                <a:lnTo>
                  <a:pt x="3160510" y="2035112"/>
                </a:lnTo>
                <a:lnTo>
                  <a:pt x="3160510" y="2063572"/>
                </a:lnTo>
                <a:lnTo>
                  <a:pt x="3132049" y="2063572"/>
                </a:lnTo>
                <a:lnTo>
                  <a:pt x="3132049" y="2092376"/>
                </a:lnTo>
                <a:lnTo>
                  <a:pt x="3160510" y="2092376"/>
                </a:lnTo>
                <a:lnTo>
                  <a:pt x="3160510" y="2120837"/>
                </a:lnTo>
                <a:lnTo>
                  <a:pt x="3189313" y="2120837"/>
                </a:lnTo>
                <a:close/>
                <a:moveTo>
                  <a:pt x="3229775" y="1899666"/>
                </a:moveTo>
                <a:lnTo>
                  <a:pt x="3229775" y="1927098"/>
                </a:lnTo>
                <a:lnTo>
                  <a:pt x="3202343" y="1927098"/>
                </a:lnTo>
                <a:lnTo>
                  <a:pt x="3202343" y="1954530"/>
                </a:lnTo>
                <a:lnTo>
                  <a:pt x="3229775" y="1954530"/>
                </a:lnTo>
                <a:lnTo>
                  <a:pt x="3229775" y="1981962"/>
                </a:lnTo>
                <a:lnTo>
                  <a:pt x="3257207" y="1981962"/>
                </a:lnTo>
                <a:lnTo>
                  <a:pt x="3257207" y="1954530"/>
                </a:lnTo>
                <a:lnTo>
                  <a:pt x="3284639" y="1954530"/>
                </a:lnTo>
                <a:lnTo>
                  <a:pt x="3284639" y="1927098"/>
                </a:lnTo>
                <a:lnTo>
                  <a:pt x="3257207" y="1927098"/>
                </a:lnTo>
                <a:lnTo>
                  <a:pt x="3257207" y="1899666"/>
                </a:lnTo>
                <a:lnTo>
                  <a:pt x="3229775" y="1899666"/>
                </a:lnTo>
                <a:close/>
                <a:moveTo>
                  <a:pt x="3120733" y="2258682"/>
                </a:moveTo>
                <a:lnTo>
                  <a:pt x="3120733" y="2229536"/>
                </a:lnTo>
                <a:lnTo>
                  <a:pt x="3149879" y="2229536"/>
                </a:lnTo>
                <a:lnTo>
                  <a:pt x="3149879" y="2200732"/>
                </a:lnTo>
                <a:lnTo>
                  <a:pt x="3120733" y="2200732"/>
                </a:lnTo>
                <a:lnTo>
                  <a:pt x="3120733" y="2171586"/>
                </a:lnTo>
                <a:lnTo>
                  <a:pt x="3091930" y="2171586"/>
                </a:lnTo>
                <a:lnTo>
                  <a:pt x="3091930" y="2200732"/>
                </a:lnTo>
                <a:lnTo>
                  <a:pt x="3062783" y="2200732"/>
                </a:lnTo>
                <a:lnTo>
                  <a:pt x="3062783" y="2229536"/>
                </a:lnTo>
                <a:lnTo>
                  <a:pt x="3091930" y="2229536"/>
                </a:lnTo>
                <a:lnTo>
                  <a:pt x="3091930" y="2258682"/>
                </a:lnTo>
                <a:lnTo>
                  <a:pt x="3120733" y="2258682"/>
                </a:lnTo>
                <a:close/>
                <a:moveTo>
                  <a:pt x="3230118" y="1626375"/>
                </a:moveTo>
                <a:lnTo>
                  <a:pt x="3230118" y="1653121"/>
                </a:lnTo>
                <a:lnTo>
                  <a:pt x="3203372" y="1653121"/>
                </a:lnTo>
                <a:lnTo>
                  <a:pt x="3203372" y="1679867"/>
                </a:lnTo>
                <a:lnTo>
                  <a:pt x="3230118" y="1679867"/>
                </a:lnTo>
                <a:lnTo>
                  <a:pt x="3230118" y="1706613"/>
                </a:lnTo>
                <a:lnTo>
                  <a:pt x="3256864" y="1706613"/>
                </a:lnTo>
                <a:lnTo>
                  <a:pt x="3256864" y="1679867"/>
                </a:lnTo>
                <a:lnTo>
                  <a:pt x="3283610" y="1679867"/>
                </a:lnTo>
                <a:lnTo>
                  <a:pt x="3283610" y="1653121"/>
                </a:lnTo>
                <a:lnTo>
                  <a:pt x="3256864" y="1653121"/>
                </a:lnTo>
                <a:lnTo>
                  <a:pt x="3256864" y="1626375"/>
                </a:lnTo>
                <a:lnTo>
                  <a:pt x="3230118" y="1626375"/>
                </a:lnTo>
                <a:close/>
                <a:moveTo>
                  <a:pt x="2025167" y="2812123"/>
                </a:moveTo>
                <a:lnTo>
                  <a:pt x="2025167" y="2779890"/>
                </a:lnTo>
                <a:lnTo>
                  <a:pt x="2057400" y="2779890"/>
                </a:lnTo>
                <a:lnTo>
                  <a:pt x="2057400" y="2747658"/>
                </a:lnTo>
                <a:lnTo>
                  <a:pt x="2025167" y="2747658"/>
                </a:lnTo>
                <a:lnTo>
                  <a:pt x="2025167" y="2715425"/>
                </a:lnTo>
                <a:lnTo>
                  <a:pt x="1992935" y="2715425"/>
                </a:lnTo>
                <a:lnTo>
                  <a:pt x="1992935" y="2747658"/>
                </a:lnTo>
                <a:lnTo>
                  <a:pt x="1960702" y="2747658"/>
                </a:lnTo>
                <a:lnTo>
                  <a:pt x="1960702" y="2779890"/>
                </a:lnTo>
                <a:lnTo>
                  <a:pt x="1992935" y="2779890"/>
                </a:lnTo>
                <a:lnTo>
                  <a:pt x="1992935" y="2812123"/>
                </a:lnTo>
                <a:lnTo>
                  <a:pt x="2025167" y="2812123"/>
                </a:lnTo>
                <a:close/>
                <a:moveTo>
                  <a:pt x="2779547" y="2400643"/>
                </a:moveTo>
                <a:lnTo>
                  <a:pt x="2779547" y="2368410"/>
                </a:lnTo>
                <a:lnTo>
                  <a:pt x="2811780" y="2368410"/>
                </a:lnTo>
                <a:lnTo>
                  <a:pt x="2811780" y="2336178"/>
                </a:lnTo>
                <a:lnTo>
                  <a:pt x="2779547" y="2336178"/>
                </a:lnTo>
                <a:lnTo>
                  <a:pt x="2779547" y="2303945"/>
                </a:lnTo>
                <a:lnTo>
                  <a:pt x="2747315" y="2303945"/>
                </a:lnTo>
                <a:lnTo>
                  <a:pt x="2747315" y="2336178"/>
                </a:lnTo>
                <a:lnTo>
                  <a:pt x="2715082" y="2336178"/>
                </a:lnTo>
                <a:lnTo>
                  <a:pt x="2715082" y="2368410"/>
                </a:lnTo>
                <a:lnTo>
                  <a:pt x="2747315" y="2368410"/>
                </a:lnTo>
                <a:lnTo>
                  <a:pt x="2747315" y="2400643"/>
                </a:lnTo>
                <a:lnTo>
                  <a:pt x="2779547" y="2400643"/>
                </a:lnTo>
                <a:close/>
                <a:moveTo>
                  <a:pt x="2916365" y="2399271"/>
                </a:moveTo>
                <a:lnTo>
                  <a:pt x="2916365" y="2368067"/>
                </a:lnTo>
                <a:lnTo>
                  <a:pt x="2947568" y="2368067"/>
                </a:lnTo>
                <a:lnTo>
                  <a:pt x="2947568" y="2336521"/>
                </a:lnTo>
                <a:lnTo>
                  <a:pt x="2916365" y="2336521"/>
                </a:lnTo>
                <a:lnTo>
                  <a:pt x="2916365" y="2305317"/>
                </a:lnTo>
                <a:lnTo>
                  <a:pt x="2884818" y="2305317"/>
                </a:lnTo>
                <a:lnTo>
                  <a:pt x="2884818" y="2336521"/>
                </a:lnTo>
                <a:lnTo>
                  <a:pt x="2853614" y="2336521"/>
                </a:lnTo>
                <a:lnTo>
                  <a:pt x="2853614" y="2368067"/>
                </a:lnTo>
                <a:lnTo>
                  <a:pt x="2884818" y="2368067"/>
                </a:lnTo>
                <a:lnTo>
                  <a:pt x="2884818" y="2399271"/>
                </a:lnTo>
                <a:lnTo>
                  <a:pt x="2916365" y="2399271"/>
                </a:lnTo>
                <a:close/>
                <a:moveTo>
                  <a:pt x="2984602" y="2261768"/>
                </a:moveTo>
                <a:lnTo>
                  <a:pt x="2984602" y="2230565"/>
                </a:lnTo>
                <a:lnTo>
                  <a:pt x="3015806" y="2230565"/>
                </a:lnTo>
                <a:lnTo>
                  <a:pt x="3015806" y="2199704"/>
                </a:lnTo>
                <a:lnTo>
                  <a:pt x="2984602" y="2199704"/>
                </a:lnTo>
                <a:lnTo>
                  <a:pt x="2984602" y="2168500"/>
                </a:lnTo>
                <a:lnTo>
                  <a:pt x="2953741" y="2168500"/>
                </a:lnTo>
                <a:lnTo>
                  <a:pt x="2953741" y="2199704"/>
                </a:lnTo>
                <a:lnTo>
                  <a:pt x="2922537" y="2199704"/>
                </a:lnTo>
                <a:lnTo>
                  <a:pt x="2922537" y="2230565"/>
                </a:lnTo>
                <a:lnTo>
                  <a:pt x="2953741" y="2230565"/>
                </a:lnTo>
                <a:lnTo>
                  <a:pt x="2953741" y="2261768"/>
                </a:lnTo>
                <a:lnTo>
                  <a:pt x="2984602" y="2261768"/>
                </a:lnTo>
                <a:close/>
                <a:moveTo>
                  <a:pt x="3052496" y="2396871"/>
                </a:moveTo>
                <a:lnTo>
                  <a:pt x="3052496" y="2367039"/>
                </a:lnTo>
                <a:lnTo>
                  <a:pt x="3082328" y="2367039"/>
                </a:lnTo>
                <a:lnTo>
                  <a:pt x="3082328" y="2337549"/>
                </a:lnTo>
                <a:lnTo>
                  <a:pt x="3052496" y="2337549"/>
                </a:lnTo>
                <a:lnTo>
                  <a:pt x="3052496" y="2307717"/>
                </a:lnTo>
                <a:lnTo>
                  <a:pt x="3023006" y="2307717"/>
                </a:lnTo>
                <a:lnTo>
                  <a:pt x="3023006" y="2337549"/>
                </a:lnTo>
                <a:lnTo>
                  <a:pt x="2993174" y="2337549"/>
                </a:lnTo>
                <a:lnTo>
                  <a:pt x="2993174" y="2367039"/>
                </a:lnTo>
                <a:lnTo>
                  <a:pt x="3023006" y="2367039"/>
                </a:lnTo>
                <a:lnTo>
                  <a:pt x="3023006" y="2396871"/>
                </a:lnTo>
                <a:lnTo>
                  <a:pt x="3052496" y="2396871"/>
                </a:lnTo>
                <a:close/>
                <a:moveTo>
                  <a:pt x="1855775" y="1343825"/>
                </a:moveTo>
                <a:lnTo>
                  <a:pt x="1855775" y="1376058"/>
                </a:lnTo>
                <a:lnTo>
                  <a:pt x="1823542" y="1376058"/>
                </a:lnTo>
                <a:lnTo>
                  <a:pt x="1823542" y="1408290"/>
                </a:lnTo>
                <a:lnTo>
                  <a:pt x="1855775" y="1408290"/>
                </a:lnTo>
                <a:lnTo>
                  <a:pt x="1855775" y="1440523"/>
                </a:lnTo>
                <a:lnTo>
                  <a:pt x="1888007" y="1440523"/>
                </a:lnTo>
                <a:lnTo>
                  <a:pt x="1888007" y="1408290"/>
                </a:lnTo>
                <a:lnTo>
                  <a:pt x="1920240" y="1408290"/>
                </a:lnTo>
                <a:lnTo>
                  <a:pt x="1920240" y="1376058"/>
                </a:lnTo>
                <a:lnTo>
                  <a:pt x="1888007" y="1376058"/>
                </a:lnTo>
                <a:lnTo>
                  <a:pt x="1888007" y="1343825"/>
                </a:lnTo>
                <a:lnTo>
                  <a:pt x="1855775" y="1343825"/>
                </a:lnTo>
                <a:close/>
                <a:moveTo>
                  <a:pt x="1238555" y="1480985"/>
                </a:moveTo>
                <a:lnTo>
                  <a:pt x="1238555" y="1513218"/>
                </a:lnTo>
                <a:lnTo>
                  <a:pt x="1206322" y="1513218"/>
                </a:lnTo>
                <a:lnTo>
                  <a:pt x="1206322" y="1545450"/>
                </a:lnTo>
                <a:lnTo>
                  <a:pt x="1238555" y="1545450"/>
                </a:lnTo>
                <a:lnTo>
                  <a:pt x="1238555" y="1577683"/>
                </a:lnTo>
                <a:lnTo>
                  <a:pt x="1270787" y="1577683"/>
                </a:lnTo>
                <a:lnTo>
                  <a:pt x="1270787" y="1545450"/>
                </a:lnTo>
                <a:lnTo>
                  <a:pt x="1303020" y="1545450"/>
                </a:lnTo>
                <a:lnTo>
                  <a:pt x="1303020" y="1513218"/>
                </a:lnTo>
                <a:lnTo>
                  <a:pt x="1270787" y="1513218"/>
                </a:lnTo>
                <a:lnTo>
                  <a:pt x="1270787" y="1480985"/>
                </a:lnTo>
                <a:lnTo>
                  <a:pt x="1238555" y="1480985"/>
                </a:lnTo>
                <a:close/>
                <a:moveTo>
                  <a:pt x="1307135" y="1618145"/>
                </a:moveTo>
                <a:lnTo>
                  <a:pt x="1307135" y="1650378"/>
                </a:lnTo>
                <a:lnTo>
                  <a:pt x="1274902" y="1650378"/>
                </a:lnTo>
                <a:lnTo>
                  <a:pt x="1274902" y="1682610"/>
                </a:lnTo>
                <a:lnTo>
                  <a:pt x="1307135" y="1682610"/>
                </a:lnTo>
                <a:lnTo>
                  <a:pt x="1307135" y="1714843"/>
                </a:lnTo>
                <a:lnTo>
                  <a:pt x="1339367" y="1714843"/>
                </a:lnTo>
                <a:lnTo>
                  <a:pt x="1339367" y="1682610"/>
                </a:lnTo>
                <a:lnTo>
                  <a:pt x="1371600" y="1682610"/>
                </a:lnTo>
                <a:lnTo>
                  <a:pt x="1371600" y="1650378"/>
                </a:lnTo>
                <a:lnTo>
                  <a:pt x="1339367" y="1650378"/>
                </a:lnTo>
                <a:lnTo>
                  <a:pt x="1339367" y="1618145"/>
                </a:lnTo>
                <a:lnTo>
                  <a:pt x="1307135" y="1618145"/>
                </a:lnTo>
                <a:close/>
                <a:moveTo>
                  <a:pt x="1032815" y="1618145"/>
                </a:moveTo>
                <a:lnTo>
                  <a:pt x="1032815" y="1650378"/>
                </a:lnTo>
                <a:lnTo>
                  <a:pt x="1000582" y="1650378"/>
                </a:lnTo>
                <a:lnTo>
                  <a:pt x="1000582" y="1682610"/>
                </a:lnTo>
                <a:lnTo>
                  <a:pt x="1032815" y="1682610"/>
                </a:lnTo>
                <a:lnTo>
                  <a:pt x="1032815" y="1714843"/>
                </a:lnTo>
                <a:lnTo>
                  <a:pt x="1065047" y="1714843"/>
                </a:lnTo>
                <a:lnTo>
                  <a:pt x="1065047" y="1682610"/>
                </a:lnTo>
                <a:lnTo>
                  <a:pt x="1097280" y="1682610"/>
                </a:lnTo>
                <a:lnTo>
                  <a:pt x="1097280" y="1650378"/>
                </a:lnTo>
                <a:lnTo>
                  <a:pt x="1065047" y="1650378"/>
                </a:lnTo>
                <a:lnTo>
                  <a:pt x="1065047" y="1618145"/>
                </a:lnTo>
                <a:lnTo>
                  <a:pt x="1032815" y="1618145"/>
                </a:lnTo>
                <a:close/>
                <a:moveTo>
                  <a:pt x="1169975" y="1618145"/>
                </a:moveTo>
                <a:lnTo>
                  <a:pt x="1169975" y="1650378"/>
                </a:lnTo>
                <a:lnTo>
                  <a:pt x="1137742" y="1650378"/>
                </a:lnTo>
                <a:lnTo>
                  <a:pt x="1137742" y="1682610"/>
                </a:lnTo>
                <a:lnTo>
                  <a:pt x="1169975" y="1682610"/>
                </a:lnTo>
                <a:lnTo>
                  <a:pt x="1169975" y="1714843"/>
                </a:lnTo>
                <a:lnTo>
                  <a:pt x="1202207" y="1714843"/>
                </a:lnTo>
                <a:lnTo>
                  <a:pt x="1202207" y="1682610"/>
                </a:lnTo>
                <a:lnTo>
                  <a:pt x="1234440" y="1682610"/>
                </a:lnTo>
                <a:lnTo>
                  <a:pt x="1234440" y="1650378"/>
                </a:lnTo>
                <a:lnTo>
                  <a:pt x="1202207" y="1650378"/>
                </a:lnTo>
                <a:lnTo>
                  <a:pt x="1202207" y="1618145"/>
                </a:lnTo>
                <a:lnTo>
                  <a:pt x="1169975" y="1618145"/>
                </a:lnTo>
                <a:close/>
                <a:moveTo>
                  <a:pt x="1375715" y="1480985"/>
                </a:moveTo>
                <a:lnTo>
                  <a:pt x="1375715" y="1513218"/>
                </a:lnTo>
                <a:lnTo>
                  <a:pt x="1343482" y="1513218"/>
                </a:lnTo>
                <a:lnTo>
                  <a:pt x="1343482" y="1545450"/>
                </a:lnTo>
                <a:lnTo>
                  <a:pt x="1375715" y="1545450"/>
                </a:lnTo>
                <a:lnTo>
                  <a:pt x="1375715" y="1577683"/>
                </a:lnTo>
                <a:lnTo>
                  <a:pt x="1407947" y="1577683"/>
                </a:lnTo>
                <a:lnTo>
                  <a:pt x="1407947" y="1545450"/>
                </a:lnTo>
                <a:lnTo>
                  <a:pt x="1440180" y="1545450"/>
                </a:lnTo>
                <a:lnTo>
                  <a:pt x="1440180" y="1513218"/>
                </a:lnTo>
                <a:lnTo>
                  <a:pt x="1407947" y="1513218"/>
                </a:lnTo>
                <a:lnTo>
                  <a:pt x="1407947" y="1480985"/>
                </a:lnTo>
                <a:lnTo>
                  <a:pt x="1375715" y="1480985"/>
                </a:lnTo>
                <a:close/>
                <a:moveTo>
                  <a:pt x="1101395" y="1755305"/>
                </a:moveTo>
                <a:lnTo>
                  <a:pt x="1101395" y="1787538"/>
                </a:lnTo>
                <a:lnTo>
                  <a:pt x="1069162" y="1787538"/>
                </a:lnTo>
                <a:lnTo>
                  <a:pt x="1069162" y="1819770"/>
                </a:lnTo>
                <a:lnTo>
                  <a:pt x="1101395" y="1819770"/>
                </a:lnTo>
                <a:lnTo>
                  <a:pt x="1101395" y="1852003"/>
                </a:lnTo>
                <a:lnTo>
                  <a:pt x="1133627" y="1852003"/>
                </a:lnTo>
                <a:lnTo>
                  <a:pt x="1133627" y="1819770"/>
                </a:lnTo>
                <a:lnTo>
                  <a:pt x="1165860" y="1819770"/>
                </a:lnTo>
                <a:lnTo>
                  <a:pt x="1165860" y="1787538"/>
                </a:lnTo>
                <a:lnTo>
                  <a:pt x="1133627" y="1787538"/>
                </a:lnTo>
                <a:lnTo>
                  <a:pt x="1133627" y="1755305"/>
                </a:lnTo>
                <a:lnTo>
                  <a:pt x="1101395" y="1755305"/>
                </a:lnTo>
                <a:close/>
                <a:moveTo>
                  <a:pt x="1444295" y="1343825"/>
                </a:moveTo>
                <a:lnTo>
                  <a:pt x="1444295" y="1376058"/>
                </a:lnTo>
                <a:lnTo>
                  <a:pt x="1412062" y="1376058"/>
                </a:lnTo>
                <a:lnTo>
                  <a:pt x="1412062" y="1408290"/>
                </a:lnTo>
                <a:lnTo>
                  <a:pt x="1444295" y="1408290"/>
                </a:lnTo>
                <a:lnTo>
                  <a:pt x="1444295" y="1440523"/>
                </a:lnTo>
                <a:lnTo>
                  <a:pt x="1476527" y="1440523"/>
                </a:lnTo>
                <a:lnTo>
                  <a:pt x="1476527" y="1408290"/>
                </a:lnTo>
                <a:lnTo>
                  <a:pt x="1508760" y="1408290"/>
                </a:lnTo>
                <a:lnTo>
                  <a:pt x="1508760" y="1376058"/>
                </a:lnTo>
                <a:lnTo>
                  <a:pt x="1476527" y="1376058"/>
                </a:lnTo>
                <a:lnTo>
                  <a:pt x="1476527" y="1343825"/>
                </a:lnTo>
                <a:lnTo>
                  <a:pt x="1444295" y="1343825"/>
                </a:lnTo>
                <a:close/>
                <a:moveTo>
                  <a:pt x="1650035" y="1480985"/>
                </a:moveTo>
                <a:lnTo>
                  <a:pt x="1650035" y="1513218"/>
                </a:lnTo>
                <a:lnTo>
                  <a:pt x="1617802" y="1513218"/>
                </a:lnTo>
                <a:lnTo>
                  <a:pt x="1617802" y="1545450"/>
                </a:lnTo>
                <a:lnTo>
                  <a:pt x="1650035" y="1545450"/>
                </a:lnTo>
                <a:lnTo>
                  <a:pt x="1650035" y="1577683"/>
                </a:lnTo>
                <a:lnTo>
                  <a:pt x="1682267" y="1577683"/>
                </a:lnTo>
                <a:lnTo>
                  <a:pt x="1682267" y="1545450"/>
                </a:lnTo>
                <a:lnTo>
                  <a:pt x="1714500" y="1545450"/>
                </a:lnTo>
                <a:lnTo>
                  <a:pt x="1714500" y="1513218"/>
                </a:lnTo>
                <a:lnTo>
                  <a:pt x="1682267" y="1513218"/>
                </a:lnTo>
                <a:lnTo>
                  <a:pt x="1682267" y="1480985"/>
                </a:lnTo>
                <a:lnTo>
                  <a:pt x="1650035" y="1480985"/>
                </a:lnTo>
                <a:close/>
                <a:moveTo>
                  <a:pt x="1581455" y="1343825"/>
                </a:moveTo>
                <a:lnTo>
                  <a:pt x="1581455" y="1376058"/>
                </a:lnTo>
                <a:lnTo>
                  <a:pt x="1549222" y="1376058"/>
                </a:lnTo>
                <a:lnTo>
                  <a:pt x="1549222" y="1408290"/>
                </a:lnTo>
                <a:lnTo>
                  <a:pt x="1581455" y="1408290"/>
                </a:lnTo>
                <a:lnTo>
                  <a:pt x="1581455" y="1440523"/>
                </a:lnTo>
                <a:lnTo>
                  <a:pt x="1613687" y="1440523"/>
                </a:lnTo>
                <a:lnTo>
                  <a:pt x="1613687" y="1408290"/>
                </a:lnTo>
                <a:lnTo>
                  <a:pt x="1645920" y="1408290"/>
                </a:lnTo>
                <a:lnTo>
                  <a:pt x="1645920" y="1376058"/>
                </a:lnTo>
                <a:lnTo>
                  <a:pt x="1613687" y="1376058"/>
                </a:lnTo>
                <a:lnTo>
                  <a:pt x="1613687" y="1343825"/>
                </a:lnTo>
                <a:lnTo>
                  <a:pt x="1581455" y="1343825"/>
                </a:lnTo>
                <a:close/>
                <a:moveTo>
                  <a:pt x="1512875" y="1480985"/>
                </a:moveTo>
                <a:lnTo>
                  <a:pt x="1512875" y="1513218"/>
                </a:lnTo>
                <a:lnTo>
                  <a:pt x="1480642" y="1513218"/>
                </a:lnTo>
                <a:lnTo>
                  <a:pt x="1480642" y="1545450"/>
                </a:lnTo>
                <a:lnTo>
                  <a:pt x="1512875" y="1545450"/>
                </a:lnTo>
                <a:lnTo>
                  <a:pt x="1512875" y="1577683"/>
                </a:lnTo>
                <a:lnTo>
                  <a:pt x="1545107" y="1577683"/>
                </a:lnTo>
                <a:lnTo>
                  <a:pt x="1545107" y="1545450"/>
                </a:lnTo>
                <a:lnTo>
                  <a:pt x="1577340" y="1545450"/>
                </a:lnTo>
                <a:lnTo>
                  <a:pt x="1577340" y="1513218"/>
                </a:lnTo>
                <a:lnTo>
                  <a:pt x="1545107" y="1513218"/>
                </a:lnTo>
                <a:lnTo>
                  <a:pt x="1545107" y="1480985"/>
                </a:lnTo>
                <a:lnTo>
                  <a:pt x="1512875" y="1480985"/>
                </a:lnTo>
                <a:close/>
                <a:moveTo>
                  <a:pt x="1133627" y="2126323"/>
                </a:moveTo>
                <a:lnTo>
                  <a:pt x="1133627" y="2094090"/>
                </a:lnTo>
                <a:lnTo>
                  <a:pt x="1165860" y="2094090"/>
                </a:lnTo>
                <a:lnTo>
                  <a:pt x="1165860" y="2061858"/>
                </a:lnTo>
                <a:lnTo>
                  <a:pt x="1133627" y="2061858"/>
                </a:lnTo>
                <a:lnTo>
                  <a:pt x="1133627" y="2029625"/>
                </a:lnTo>
                <a:lnTo>
                  <a:pt x="1101395" y="2029625"/>
                </a:lnTo>
                <a:lnTo>
                  <a:pt x="1101395" y="2061858"/>
                </a:lnTo>
                <a:lnTo>
                  <a:pt x="1069162" y="2061858"/>
                </a:lnTo>
                <a:lnTo>
                  <a:pt x="1069162" y="2094090"/>
                </a:lnTo>
                <a:lnTo>
                  <a:pt x="1101395" y="2094090"/>
                </a:lnTo>
                <a:lnTo>
                  <a:pt x="1101395" y="2126323"/>
                </a:lnTo>
                <a:lnTo>
                  <a:pt x="1133627" y="2126323"/>
                </a:lnTo>
                <a:close/>
                <a:moveTo>
                  <a:pt x="1202207" y="2263483"/>
                </a:moveTo>
                <a:lnTo>
                  <a:pt x="1202207" y="2231250"/>
                </a:lnTo>
                <a:lnTo>
                  <a:pt x="1234440" y="2231250"/>
                </a:lnTo>
                <a:lnTo>
                  <a:pt x="1234440" y="2199018"/>
                </a:lnTo>
                <a:lnTo>
                  <a:pt x="1202207" y="2199018"/>
                </a:lnTo>
                <a:lnTo>
                  <a:pt x="1202207" y="2166785"/>
                </a:lnTo>
                <a:lnTo>
                  <a:pt x="1169975" y="2166785"/>
                </a:lnTo>
                <a:lnTo>
                  <a:pt x="1169975" y="2199018"/>
                </a:lnTo>
                <a:lnTo>
                  <a:pt x="1137742" y="2199018"/>
                </a:lnTo>
                <a:lnTo>
                  <a:pt x="1137742" y="2231250"/>
                </a:lnTo>
                <a:lnTo>
                  <a:pt x="1169975" y="2231250"/>
                </a:lnTo>
                <a:lnTo>
                  <a:pt x="1169975" y="2263483"/>
                </a:lnTo>
                <a:lnTo>
                  <a:pt x="1202207" y="2263483"/>
                </a:lnTo>
                <a:close/>
                <a:moveTo>
                  <a:pt x="1718615" y="1343825"/>
                </a:moveTo>
                <a:lnTo>
                  <a:pt x="1718615" y="1376058"/>
                </a:lnTo>
                <a:lnTo>
                  <a:pt x="1686382" y="1376058"/>
                </a:lnTo>
                <a:lnTo>
                  <a:pt x="1686382" y="1408290"/>
                </a:lnTo>
                <a:lnTo>
                  <a:pt x="1718615" y="1408290"/>
                </a:lnTo>
                <a:lnTo>
                  <a:pt x="1718615" y="1440523"/>
                </a:lnTo>
                <a:lnTo>
                  <a:pt x="1750847" y="1440523"/>
                </a:lnTo>
                <a:lnTo>
                  <a:pt x="1750847" y="1408290"/>
                </a:lnTo>
                <a:lnTo>
                  <a:pt x="1783080" y="1408290"/>
                </a:lnTo>
                <a:lnTo>
                  <a:pt x="1783080" y="1376058"/>
                </a:lnTo>
                <a:lnTo>
                  <a:pt x="1750847" y="1376058"/>
                </a:lnTo>
                <a:lnTo>
                  <a:pt x="1750847" y="1343825"/>
                </a:lnTo>
                <a:lnTo>
                  <a:pt x="1718615" y="1343825"/>
                </a:lnTo>
                <a:close/>
                <a:moveTo>
                  <a:pt x="1270787" y="2400643"/>
                </a:moveTo>
                <a:lnTo>
                  <a:pt x="1270787" y="2368410"/>
                </a:lnTo>
                <a:lnTo>
                  <a:pt x="1303020" y="2368410"/>
                </a:lnTo>
                <a:lnTo>
                  <a:pt x="1303020" y="2336178"/>
                </a:lnTo>
                <a:lnTo>
                  <a:pt x="1270787" y="2336178"/>
                </a:lnTo>
                <a:lnTo>
                  <a:pt x="1270787" y="2303945"/>
                </a:lnTo>
                <a:lnTo>
                  <a:pt x="1238555" y="2303945"/>
                </a:lnTo>
                <a:lnTo>
                  <a:pt x="1238555" y="2336178"/>
                </a:lnTo>
                <a:lnTo>
                  <a:pt x="1206322" y="2336178"/>
                </a:lnTo>
                <a:lnTo>
                  <a:pt x="1206322" y="2368410"/>
                </a:lnTo>
                <a:lnTo>
                  <a:pt x="1238555" y="2368410"/>
                </a:lnTo>
                <a:lnTo>
                  <a:pt x="1238555" y="2400643"/>
                </a:lnTo>
                <a:lnTo>
                  <a:pt x="1270787" y="2400643"/>
                </a:lnTo>
                <a:close/>
                <a:moveTo>
                  <a:pt x="1065047" y="2263483"/>
                </a:moveTo>
                <a:lnTo>
                  <a:pt x="1065047" y="2231250"/>
                </a:lnTo>
                <a:lnTo>
                  <a:pt x="1097280" y="2231250"/>
                </a:lnTo>
                <a:lnTo>
                  <a:pt x="1097280" y="2199018"/>
                </a:lnTo>
                <a:lnTo>
                  <a:pt x="1065047" y="2199018"/>
                </a:lnTo>
                <a:lnTo>
                  <a:pt x="1065047" y="2166785"/>
                </a:lnTo>
                <a:lnTo>
                  <a:pt x="1032815" y="2166785"/>
                </a:lnTo>
                <a:lnTo>
                  <a:pt x="1032815" y="2199018"/>
                </a:lnTo>
                <a:lnTo>
                  <a:pt x="1000582" y="2199018"/>
                </a:lnTo>
                <a:lnTo>
                  <a:pt x="1000582" y="2231250"/>
                </a:lnTo>
                <a:lnTo>
                  <a:pt x="1032815" y="2231250"/>
                </a:lnTo>
                <a:lnTo>
                  <a:pt x="1032815" y="2263483"/>
                </a:lnTo>
                <a:lnTo>
                  <a:pt x="1065047" y="2263483"/>
                </a:lnTo>
                <a:close/>
                <a:moveTo>
                  <a:pt x="1339367" y="2263483"/>
                </a:moveTo>
                <a:lnTo>
                  <a:pt x="1339367" y="2231250"/>
                </a:lnTo>
                <a:lnTo>
                  <a:pt x="1371600" y="2231250"/>
                </a:lnTo>
                <a:lnTo>
                  <a:pt x="1371600" y="2199018"/>
                </a:lnTo>
                <a:lnTo>
                  <a:pt x="1339367" y="2199018"/>
                </a:lnTo>
                <a:lnTo>
                  <a:pt x="1339367" y="2166785"/>
                </a:lnTo>
                <a:lnTo>
                  <a:pt x="1307135" y="2166785"/>
                </a:lnTo>
                <a:lnTo>
                  <a:pt x="1307135" y="2199018"/>
                </a:lnTo>
                <a:lnTo>
                  <a:pt x="1274902" y="2199018"/>
                </a:lnTo>
                <a:lnTo>
                  <a:pt x="1274902" y="2231250"/>
                </a:lnTo>
                <a:lnTo>
                  <a:pt x="1307135" y="2231250"/>
                </a:lnTo>
                <a:lnTo>
                  <a:pt x="1307135" y="2263483"/>
                </a:lnTo>
                <a:lnTo>
                  <a:pt x="1339367" y="2263483"/>
                </a:lnTo>
                <a:close/>
                <a:moveTo>
                  <a:pt x="858622" y="1849603"/>
                </a:moveTo>
                <a:lnTo>
                  <a:pt x="858622" y="1819085"/>
                </a:lnTo>
                <a:lnTo>
                  <a:pt x="889140" y="1819085"/>
                </a:lnTo>
                <a:lnTo>
                  <a:pt x="889140" y="1788224"/>
                </a:lnTo>
                <a:lnTo>
                  <a:pt x="858622" y="1788224"/>
                </a:lnTo>
                <a:lnTo>
                  <a:pt x="858622" y="1757705"/>
                </a:lnTo>
                <a:lnTo>
                  <a:pt x="827761" y="1757705"/>
                </a:lnTo>
                <a:lnTo>
                  <a:pt x="827761" y="1788224"/>
                </a:lnTo>
                <a:lnTo>
                  <a:pt x="797242" y="1788224"/>
                </a:lnTo>
                <a:lnTo>
                  <a:pt x="797242" y="1819085"/>
                </a:lnTo>
                <a:lnTo>
                  <a:pt x="827761" y="1819085"/>
                </a:lnTo>
                <a:lnTo>
                  <a:pt x="827761" y="1849603"/>
                </a:lnTo>
                <a:lnTo>
                  <a:pt x="858622" y="1849603"/>
                </a:lnTo>
                <a:close/>
                <a:moveTo>
                  <a:pt x="996467" y="2126323"/>
                </a:moveTo>
                <a:lnTo>
                  <a:pt x="996467" y="2094090"/>
                </a:lnTo>
                <a:lnTo>
                  <a:pt x="1028700" y="2094090"/>
                </a:lnTo>
                <a:lnTo>
                  <a:pt x="1028700" y="2061858"/>
                </a:lnTo>
                <a:lnTo>
                  <a:pt x="996467" y="2061858"/>
                </a:lnTo>
                <a:lnTo>
                  <a:pt x="996467" y="2029625"/>
                </a:lnTo>
                <a:lnTo>
                  <a:pt x="964235" y="2029625"/>
                </a:lnTo>
                <a:lnTo>
                  <a:pt x="964235" y="2061858"/>
                </a:lnTo>
                <a:lnTo>
                  <a:pt x="932002" y="2061858"/>
                </a:lnTo>
                <a:lnTo>
                  <a:pt x="932002" y="2094090"/>
                </a:lnTo>
                <a:lnTo>
                  <a:pt x="964235" y="2094090"/>
                </a:lnTo>
                <a:lnTo>
                  <a:pt x="964235" y="2126323"/>
                </a:lnTo>
                <a:lnTo>
                  <a:pt x="996467" y="2126323"/>
                </a:lnTo>
                <a:close/>
                <a:moveTo>
                  <a:pt x="964235" y="1755648"/>
                </a:moveTo>
                <a:lnTo>
                  <a:pt x="964235" y="1787538"/>
                </a:lnTo>
                <a:lnTo>
                  <a:pt x="932345" y="1787538"/>
                </a:lnTo>
                <a:lnTo>
                  <a:pt x="932345" y="1819770"/>
                </a:lnTo>
                <a:lnTo>
                  <a:pt x="964235" y="1819770"/>
                </a:lnTo>
                <a:lnTo>
                  <a:pt x="964235" y="1851660"/>
                </a:lnTo>
                <a:lnTo>
                  <a:pt x="996467" y="1851660"/>
                </a:lnTo>
                <a:lnTo>
                  <a:pt x="996467" y="1819770"/>
                </a:lnTo>
                <a:lnTo>
                  <a:pt x="1028357" y="1819770"/>
                </a:lnTo>
                <a:lnTo>
                  <a:pt x="1028357" y="1787538"/>
                </a:lnTo>
                <a:lnTo>
                  <a:pt x="996467" y="1787538"/>
                </a:lnTo>
                <a:lnTo>
                  <a:pt x="996467" y="1755648"/>
                </a:lnTo>
                <a:lnTo>
                  <a:pt x="964235" y="1755648"/>
                </a:lnTo>
                <a:close/>
                <a:moveTo>
                  <a:pt x="927544" y="1988134"/>
                </a:moveTo>
                <a:lnTo>
                  <a:pt x="927544" y="1956587"/>
                </a:lnTo>
                <a:lnTo>
                  <a:pt x="959091" y="1956587"/>
                </a:lnTo>
                <a:lnTo>
                  <a:pt x="959091" y="1925041"/>
                </a:lnTo>
                <a:lnTo>
                  <a:pt x="927544" y="1925041"/>
                </a:lnTo>
                <a:lnTo>
                  <a:pt x="927544" y="1893494"/>
                </a:lnTo>
                <a:lnTo>
                  <a:pt x="895998" y="1893494"/>
                </a:lnTo>
                <a:lnTo>
                  <a:pt x="895998" y="1925041"/>
                </a:lnTo>
                <a:lnTo>
                  <a:pt x="864451" y="1925041"/>
                </a:lnTo>
                <a:lnTo>
                  <a:pt x="864451" y="1956587"/>
                </a:lnTo>
                <a:lnTo>
                  <a:pt x="895998" y="1956587"/>
                </a:lnTo>
                <a:lnTo>
                  <a:pt x="895998" y="1988134"/>
                </a:lnTo>
                <a:lnTo>
                  <a:pt x="927544" y="1988134"/>
                </a:lnTo>
                <a:close/>
                <a:moveTo>
                  <a:pt x="789356" y="1985391"/>
                </a:moveTo>
                <a:lnTo>
                  <a:pt x="789356" y="1955559"/>
                </a:lnTo>
                <a:lnTo>
                  <a:pt x="819188" y="1955559"/>
                </a:lnTo>
                <a:lnTo>
                  <a:pt x="819188" y="1926069"/>
                </a:lnTo>
                <a:lnTo>
                  <a:pt x="789356" y="1926069"/>
                </a:lnTo>
                <a:lnTo>
                  <a:pt x="789356" y="1896237"/>
                </a:lnTo>
                <a:lnTo>
                  <a:pt x="759866" y="1896237"/>
                </a:lnTo>
                <a:lnTo>
                  <a:pt x="759866" y="1926069"/>
                </a:lnTo>
                <a:lnTo>
                  <a:pt x="730034" y="1926069"/>
                </a:lnTo>
                <a:lnTo>
                  <a:pt x="730034" y="1955559"/>
                </a:lnTo>
                <a:lnTo>
                  <a:pt x="759866" y="1955559"/>
                </a:lnTo>
                <a:lnTo>
                  <a:pt x="759866" y="1985391"/>
                </a:lnTo>
                <a:lnTo>
                  <a:pt x="789356" y="1985391"/>
                </a:lnTo>
                <a:close/>
                <a:moveTo>
                  <a:pt x="2747315" y="1755305"/>
                </a:moveTo>
                <a:lnTo>
                  <a:pt x="2747315" y="1787538"/>
                </a:lnTo>
                <a:lnTo>
                  <a:pt x="2715082" y="1787538"/>
                </a:lnTo>
                <a:lnTo>
                  <a:pt x="2715082" y="1819770"/>
                </a:lnTo>
                <a:lnTo>
                  <a:pt x="2747315" y="1819770"/>
                </a:lnTo>
                <a:lnTo>
                  <a:pt x="2747315" y="1852003"/>
                </a:lnTo>
                <a:lnTo>
                  <a:pt x="2779547" y="1852003"/>
                </a:lnTo>
                <a:lnTo>
                  <a:pt x="2779547" y="1819770"/>
                </a:lnTo>
                <a:lnTo>
                  <a:pt x="2811780" y="1819770"/>
                </a:lnTo>
                <a:lnTo>
                  <a:pt x="2811780" y="1787538"/>
                </a:lnTo>
                <a:lnTo>
                  <a:pt x="2779547" y="1787538"/>
                </a:lnTo>
                <a:lnTo>
                  <a:pt x="2779547" y="1755305"/>
                </a:lnTo>
                <a:lnTo>
                  <a:pt x="2747315" y="1755305"/>
                </a:lnTo>
                <a:close/>
                <a:moveTo>
                  <a:pt x="2815895" y="1618145"/>
                </a:moveTo>
                <a:lnTo>
                  <a:pt x="2815895" y="1650378"/>
                </a:lnTo>
                <a:lnTo>
                  <a:pt x="2783662" y="1650378"/>
                </a:lnTo>
                <a:lnTo>
                  <a:pt x="2783662" y="1682610"/>
                </a:lnTo>
                <a:lnTo>
                  <a:pt x="2815895" y="1682610"/>
                </a:lnTo>
                <a:lnTo>
                  <a:pt x="2815895" y="1714843"/>
                </a:lnTo>
                <a:lnTo>
                  <a:pt x="2848127" y="1714843"/>
                </a:lnTo>
                <a:lnTo>
                  <a:pt x="2848127" y="1682610"/>
                </a:lnTo>
                <a:lnTo>
                  <a:pt x="2880360" y="1682610"/>
                </a:lnTo>
                <a:lnTo>
                  <a:pt x="2880360" y="1650378"/>
                </a:lnTo>
                <a:lnTo>
                  <a:pt x="2848127" y="1650378"/>
                </a:lnTo>
                <a:lnTo>
                  <a:pt x="2848127" y="1618145"/>
                </a:lnTo>
                <a:lnTo>
                  <a:pt x="2815895" y="1618145"/>
                </a:lnTo>
                <a:close/>
                <a:moveTo>
                  <a:pt x="2472995" y="1480985"/>
                </a:moveTo>
                <a:lnTo>
                  <a:pt x="2472995" y="1513218"/>
                </a:lnTo>
                <a:lnTo>
                  <a:pt x="2440762" y="1513218"/>
                </a:lnTo>
                <a:lnTo>
                  <a:pt x="2440762" y="1545450"/>
                </a:lnTo>
                <a:lnTo>
                  <a:pt x="2472995" y="1545450"/>
                </a:lnTo>
                <a:lnTo>
                  <a:pt x="2472995" y="1577683"/>
                </a:lnTo>
                <a:lnTo>
                  <a:pt x="2505227" y="1577683"/>
                </a:lnTo>
                <a:lnTo>
                  <a:pt x="2505227" y="1545450"/>
                </a:lnTo>
                <a:lnTo>
                  <a:pt x="2537460" y="1545450"/>
                </a:lnTo>
                <a:lnTo>
                  <a:pt x="2537460" y="1513218"/>
                </a:lnTo>
                <a:lnTo>
                  <a:pt x="2505227" y="1513218"/>
                </a:lnTo>
                <a:lnTo>
                  <a:pt x="2505227" y="1480985"/>
                </a:lnTo>
                <a:lnTo>
                  <a:pt x="2472995" y="1480985"/>
                </a:lnTo>
                <a:close/>
                <a:moveTo>
                  <a:pt x="2610155" y="1480985"/>
                </a:moveTo>
                <a:lnTo>
                  <a:pt x="2610155" y="1513218"/>
                </a:lnTo>
                <a:lnTo>
                  <a:pt x="2577922" y="1513218"/>
                </a:lnTo>
                <a:lnTo>
                  <a:pt x="2577922" y="1545450"/>
                </a:lnTo>
                <a:lnTo>
                  <a:pt x="2610155" y="1545450"/>
                </a:lnTo>
                <a:lnTo>
                  <a:pt x="2610155" y="1577683"/>
                </a:lnTo>
                <a:lnTo>
                  <a:pt x="2642387" y="1577683"/>
                </a:lnTo>
                <a:lnTo>
                  <a:pt x="2642387" y="1545450"/>
                </a:lnTo>
                <a:lnTo>
                  <a:pt x="2674620" y="1545450"/>
                </a:lnTo>
                <a:lnTo>
                  <a:pt x="2674620" y="1513218"/>
                </a:lnTo>
                <a:lnTo>
                  <a:pt x="2642387" y="1513218"/>
                </a:lnTo>
                <a:lnTo>
                  <a:pt x="2642387" y="1480985"/>
                </a:lnTo>
                <a:lnTo>
                  <a:pt x="2610155" y="1480985"/>
                </a:lnTo>
                <a:close/>
                <a:moveTo>
                  <a:pt x="1787195" y="1480985"/>
                </a:moveTo>
                <a:lnTo>
                  <a:pt x="1787195" y="1513218"/>
                </a:lnTo>
                <a:lnTo>
                  <a:pt x="1754962" y="1513218"/>
                </a:lnTo>
                <a:lnTo>
                  <a:pt x="1754962" y="1545450"/>
                </a:lnTo>
                <a:lnTo>
                  <a:pt x="1787195" y="1545450"/>
                </a:lnTo>
                <a:lnTo>
                  <a:pt x="1787195" y="1577683"/>
                </a:lnTo>
                <a:lnTo>
                  <a:pt x="1819427" y="1577683"/>
                </a:lnTo>
                <a:lnTo>
                  <a:pt x="1819427" y="1545450"/>
                </a:lnTo>
                <a:lnTo>
                  <a:pt x="1851660" y="1545450"/>
                </a:lnTo>
                <a:lnTo>
                  <a:pt x="1851660" y="1513218"/>
                </a:lnTo>
                <a:lnTo>
                  <a:pt x="1819427" y="1513218"/>
                </a:lnTo>
                <a:lnTo>
                  <a:pt x="1819427" y="1480985"/>
                </a:lnTo>
                <a:lnTo>
                  <a:pt x="1787195" y="1480985"/>
                </a:lnTo>
                <a:close/>
                <a:moveTo>
                  <a:pt x="2198675" y="1206665"/>
                </a:moveTo>
                <a:lnTo>
                  <a:pt x="2198675" y="1238898"/>
                </a:lnTo>
                <a:lnTo>
                  <a:pt x="2166442" y="1238898"/>
                </a:lnTo>
                <a:lnTo>
                  <a:pt x="2166442" y="1271130"/>
                </a:lnTo>
                <a:lnTo>
                  <a:pt x="2198675" y="1271130"/>
                </a:lnTo>
                <a:lnTo>
                  <a:pt x="2198675" y="1303363"/>
                </a:lnTo>
                <a:lnTo>
                  <a:pt x="2230907" y="1303363"/>
                </a:lnTo>
                <a:lnTo>
                  <a:pt x="2230907" y="1271130"/>
                </a:lnTo>
                <a:lnTo>
                  <a:pt x="2263140" y="1271130"/>
                </a:lnTo>
                <a:lnTo>
                  <a:pt x="2263140" y="1238898"/>
                </a:lnTo>
                <a:lnTo>
                  <a:pt x="2230907" y="1238898"/>
                </a:lnTo>
                <a:lnTo>
                  <a:pt x="2230907" y="1206665"/>
                </a:lnTo>
                <a:lnTo>
                  <a:pt x="2198675" y="1206665"/>
                </a:lnTo>
                <a:close/>
                <a:moveTo>
                  <a:pt x="2884475" y="1755305"/>
                </a:moveTo>
                <a:lnTo>
                  <a:pt x="2884475" y="1787538"/>
                </a:lnTo>
                <a:lnTo>
                  <a:pt x="2852242" y="1787538"/>
                </a:lnTo>
                <a:lnTo>
                  <a:pt x="2852242" y="1819770"/>
                </a:lnTo>
                <a:lnTo>
                  <a:pt x="2884475" y="1819770"/>
                </a:lnTo>
                <a:lnTo>
                  <a:pt x="2884475" y="1852003"/>
                </a:lnTo>
                <a:lnTo>
                  <a:pt x="2916707" y="1852003"/>
                </a:lnTo>
                <a:lnTo>
                  <a:pt x="2916707" y="1819770"/>
                </a:lnTo>
                <a:lnTo>
                  <a:pt x="2948940" y="1819770"/>
                </a:lnTo>
                <a:lnTo>
                  <a:pt x="2948940" y="1787538"/>
                </a:lnTo>
                <a:lnTo>
                  <a:pt x="2916707" y="1787538"/>
                </a:lnTo>
                <a:lnTo>
                  <a:pt x="2916707" y="1755305"/>
                </a:lnTo>
                <a:lnTo>
                  <a:pt x="2884475" y="1755305"/>
                </a:lnTo>
                <a:close/>
                <a:moveTo>
                  <a:pt x="2642387" y="2126323"/>
                </a:moveTo>
                <a:lnTo>
                  <a:pt x="2642387" y="2094090"/>
                </a:lnTo>
                <a:lnTo>
                  <a:pt x="2674620" y="2094090"/>
                </a:lnTo>
                <a:lnTo>
                  <a:pt x="2674620" y="2061858"/>
                </a:lnTo>
                <a:lnTo>
                  <a:pt x="2642387" y="2061858"/>
                </a:lnTo>
                <a:lnTo>
                  <a:pt x="2642387" y="2029625"/>
                </a:lnTo>
                <a:lnTo>
                  <a:pt x="2610155" y="2029625"/>
                </a:lnTo>
                <a:lnTo>
                  <a:pt x="2610155" y="2061858"/>
                </a:lnTo>
                <a:lnTo>
                  <a:pt x="2577922" y="2061858"/>
                </a:lnTo>
                <a:lnTo>
                  <a:pt x="2577922" y="2094090"/>
                </a:lnTo>
                <a:lnTo>
                  <a:pt x="2610155" y="2094090"/>
                </a:lnTo>
                <a:lnTo>
                  <a:pt x="2610155" y="2126323"/>
                </a:lnTo>
                <a:lnTo>
                  <a:pt x="2642387" y="2126323"/>
                </a:lnTo>
                <a:close/>
                <a:moveTo>
                  <a:pt x="2710967" y="1989163"/>
                </a:moveTo>
                <a:lnTo>
                  <a:pt x="2710967" y="1956930"/>
                </a:lnTo>
                <a:lnTo>
                  <a:pt x="2743200" y="1956930"/>
                </a:lnTo>
                <a:lnTo>
                  <a:pt x="2743200" y="1924698"/>
                </a:lnTo>
                <a:lnTo>
                  <a:pt x="2710967" y="1924698"/>
                </a:lnTo>
                <a:lnTo>
                  <a:pt x="2710967" y="1892465"/>
                </a:lnTo>
                <a:lnTo>
                  <a:pt x="2678735" y="1892465"/>
                </a:lnTo>
                <a:lnTo>
                  <a:pt x="2678735" y="1924698"/>
                </a:lnTo>
                <a:lnTo>
                  <a:pt x="2646502" y="1924698"/>
                </a:lnTo>
                <a:lnTo>
                  <a:pt x="2646502" y="1956930"/>
                </a:lnTo>
                <a:lnTo>
                  <a:pt x="2678735" y="1956930"/>
                </a:lnTo>
                <a:lnTo>
                  <a:pt x="2678735" y="1989163"/>
                </a:lnTo>
                <a:lnTo>
                  <a:pt x="2710967" y="1989163"/>
                </a:lnTo>
                <a:close/>
                <a:moveTo>
                  <a:pt x="2848127" y="1989163"/>
                </a:moveTo>
                <a:lnTo>
                  <a:pt x="2848127" y="1956930"/>
                </a:lnTo>
                <a:lnTo>
                  <a:pt x="2880360" y="1956930"/>
                </a:lnTo>
                <a:lnTo>
                  <a:pt x="2880360" y="1924698"/>
                </a:lnTo>
                <a:lnTo>
                  <a:pt x="2848127" y="1924698"/>
                </a:lnTo>
                <a:lnTo>
                  <a:pt x="2848127" y="1892465"/>
                </a:lnTo>
                <a:lnTo>
                  <a:pt x="2815895" y="1892465"/>
                </a:lnTo>
                <a:lnTo>
                  <a:pt x="2815895" y="1924698"/>
                </a:lnTo>
                <a:lnTo>
                  <a:pt x="2783662" y="1924698"/>
                </a:lnTo>
                <a:lnTo>
                  <a:pt x="2783662" y="1956930"/>
                </a:lnTo>
                <a:lnTo>
                  <a:pt x="2815895" y="1956930"/>
                </a:lnTo>
                <a:lnTo>
                  <a:pt x="2815895" y="1989163"/>
                </a:lnTo>
                <a:lnTo>
                  <a:pt x="2848127" y="1989163"/>
                </a:lnTo>
                <a:close/>
                <a:moveTo>
                  <a:pt x="2541575" y="1618145"/>
                </a:moveTo>
                <a:lnTo>
                  <a:pt x="2541575" y="1650378"/>
                </a:lnTo>
                <a:lnTo>
                  <a:pt x="2509342" y="1650378"/>
                </a:lnTo>
                <a:lnTo>
                  <a:pt x="2509342" y="1682610"/>
                </a:lnTo>
                <a:lnTo>
                  <a:pt x="2541575" y="1682610"/>
                </a:lnTo>
                <a:lnTo>
                  <a:pt x="2541575" y="1714843"/>
                </a:lnTo>
                <a:lnTo>
                  <a:pt x="2573807" y="1714843"/>
                </a:lnTo>
                <a:lnTo>
                  <a:pt x="2573807" y="1682610"/>
                </a:lnTo>
                <a:lnTo>
                  <a:pt x="2606040" y="1682610"/>
                </a:lnTo>
                <a:lnTo>
                  <a:pt x="2606040" y="1650378"/>
                </a:lnTo>
                <a:lnTo>
                  <a:pt x="2573807" y="1650378"/>
                </a:lnTo>
                <a:lnTo>
                  <a:pt x="2573807" y="1618145"/>
                </a:lnTo>
                <a:lnTo>
                  <a:pt x="2541575" y="1618145"/>
                </a:lnTo>
                <a:close/>
                <a:moveTo>
                  <a:pt x="1924355" y="1480985"/>
                </a:moveTo>
                <a:lnTo>
                  <a:pt x="1924355" y="1513218"/>
                </a:lnTo>
                <a:lnTo>
                  <a:pt x="1892122" y="1513218"/>
                </a:lnTo>
                <a:lnTo>
                  <a:pt x="1892122" y="1545450"/>
                </a:lnTo>
                <a:lnTo>
                  <a:pt x="1924355" y="1545450"/>
                </a:lnTo>
                <a:lnTo>
                  <a:pt x="1924355" y="1577683"/>
                </a:lnTo>
                <a:lnTo>
                  <a:pt x="1956587" y="1577683"/>
                </a:lnTo>
                <a:lnTo>
                  <a:pt x="1956587" y="1545450"/>
                </a:lnTo>
                <a:lnTo>
                  <a:pt x="1988820" y="1545450"/>
                </a:lnTo>
                <a:lnTo>
                  <a:pt x="1988820" y="1513218"/>
                </a:lnTo>
                <a:lnTo>
                  <a:pt x="1956587" y="1513218"/>
                </a:lnTo>
                <a:lnTo>
                  <a:pt x="1956587" y="1480985"/>
                </a:lnTo>
                <a:lnTo>
                  <a:pt x="1924355" y="1480985"/>
                </a:lnTo>
                <a:close/>
                <a:moveTo>
                  <a:pt x="1992935" y="1343825"/>
                </a:moveTo>
                <a:lnTo>
                  <a:pt x="1992935" y="1376058"/>
                </a:lnTo>
                <a:lnTo>
                  <a:pt x="1960702" y="1376058"/>
                </a:lnTo>
                <a:lnTo>
                  <a:pt x="1960702" y="1408290"/>
                </a:lnTo>
                <a:lnTo>
                  <a:pt x="1992935" y="1408290"/>
                </a:lnTo>
                <a:lnTo>
                  <a:pt x="1992935" y="1440523"/>
                </a:lnTo>
                <a:lnTo>
                  <a:pt x="2025167" y="1440523"/>
                </a:lnTo>
                <a:lnTo>
                  <a:pt x="2025167" y="1408290"/>
                </a:lnTo>
                <a:lnTo>
                  <a:pt x="2057400" y="1408290"/>
                </a:lnTo>
                <a:lnTo>
                  <a:pt x="2057400" y="1376058"/>
                </a:lnTo>
                <a:lnTo>
                  <a:pt x="2025167" y="1376058"/>
                </a:lnTo>
                <a:lnTo>
                  <a:pt x="2025167" y="1343825"/>
                </a:lnTo>
                <a:lnTo>
                  <a:pt x="1992935" y="1343825"/>
                </a:lnTo>
                <a:close/>
                <a:moveTo>
                  <a:pt x="2061515" y="1480985"/>
                </a:moveTo>
                <a:lnTo>
                  <a:pt x="2061515" y="1513218"/>
                </a:lnTo>
                <a:lnTo>
                  <a:pt x="2029282" y="1513218"/>
                </a:lnTo>
                <a:lnTo>
                  <a:pt x="2029282" y="1545450"/>
                </a:lnTo>
                <a:lnTo>
                  <a:pt x="2061515" y="1545450"/>
                </a:lnTo>
                <a:lnTo>
                  <a:pt x="2061515" y="1577683"/>
                </a:lnTo>
                <a:lnTo>
                  <a:pt x="2093747" y="1577683"/>
                </a:lnTo>
                <a:lnTo>
                  <a:pt x="2093747" y="1545450"/>
                </a:lnTo>
                <a:lnTo>
                  <a:pt x="2125980" y="1545450"/>
                </a:lnTo>
                <a:lnTo>
                  <a:pt x="2125980" y="1513218"/>
                </a:lnTo>
                <a:lnTo>
                  <a:pt x="2093747" y="1513218"/>
                </a:lnTo>
                <a:lnTo>
                  <a:pt x="2093747" y="1480985"/>
                </a:lnTo>
                <a:lnTo>
                  <a:pt x="2061515" y="1480985"/>
                </a:lnTo>
                <a:close/>
                <a:moveTo>
                  <a:pt x="1719643" y="797928"/>
                </a:moveTo>
                <a:lnTo>
                  <a:pt x="1719643" y="828446"/>
                </a:lnTo>
                <a:lnTo>
                  <a:pt x="1689125" y="828446"/>
                </a:lnTo>
                <a:lnTo>
                  <a:pt x="1689125" y="858622"/>
                </a:lnTo>
                <a:lnTo>
                  <a:pt x="1719643" y="858622"/>
                </a:lnTo>
                <a:lnTo>
                  <a:pt x="1719643" y="889140"/>
                </a:lnTo>
                <a:lnTo>
                  <a:pt x="1749819" y="889140"/>
                </a:lnTo>
                <a:lnTo>
                  <a:pt x="1749819" y="858622"/>
                </a:lnTo>
                <a:lnTo>
                  <a:pt x="1780337" y="858622"/>
                </a:lnTo>
                <a:lnTo>
                  <a:pt x="1780337" y="828446"/>
                </a:lnTo>
                <a:lnTo>
                  <a:pt x="1749819" y="828446"/>
                </a:lnTo>
                <a:lnTo>
                  <a:pt x="1749819" y="797928"/>
                </a:lnTo>
                <a:lnTo>
                  <a:pt x="1719643" y="797928"/>
                </a:lnTo>
                <a:close/>
                <a:moveTo>
                  <a:pt x="2404415" y="1618145"/>
                </a:moveTo>
                <a:lnTo>
                  <a:pt x="2404415" y="1650378"/>
                </a:lnTo>
                <a:lnTo>
                  <a:pt x="2372182" y="1650378"/>
                </a:lnTo>
                <a:lnTo>
                  <a:pt x="2372182" y="1682610"/>
                </a:lnTo>
                <a:lnTo>
                  <a:pt x="2404415" y="1682610"/>
                </a:lnTo>
                <a:lnTo>
                  <a:pt x="2404415" y="1714843"/>
                </a:lnTo>
                <a:lnTo>
                  <a:pt x="2436647" y="1714843"/>
                </a:lnTo>
                <a:lnTo>
                  <a:pt x="2436647" y="1682610"/>
                </a:lnTo>
                <a:lnTo>
                  <a:pt x="2468880" y="1682610"/>
                </a:lnTo>
                <a:lnTo>
                  <a:pt x="2468880" y="1650378"/>
                </a:lnTo>
                <a:lnTo>
                  <a:pt x="2436647" y="1650378"/>
                </a:lnTo>
                <a:lnTo>
                  <a:pt x="2436647" y="1618145"/>
                </a:lnTo>
                <a:lnTo>
                  <a:pt x="2404415" y="1618145"/>
                </a:lnTo>
                <a:close/>
                <a:moveTo>
                  <a:pt x="2130095" y="1343825"/>
                </a:moveTo>
                <a:lnTo>
                  <a:pt x="2130095" y="1376058"/>
                </a:lnTo>
                <a:lnTo>
                  <a:pt x="2097862" y="1376058"/>
                </a:lnTo>
                <a:lnTo>
                  <a:pt x="2097862" y="1408290"/>
                </a:lnTo>
                <a:lnTo>
                  <a:pt x="2130095" y="1408290"/>
                </a:lnTo>
                <a:lnTo>
                  <a:pt x="2130095" y="1440523"/>
                </a:lnTo>
                <a:lnTo>
                  <a:pt x="2162327" y="1440523"/>
                </a:lnTo>
                <a:lnTo>
                  <a:pt x="2162327" y="1408290"/>
                </a:lnTo>
                <a:lnTo>
                  <a:pt x="2194560" y="1408290"/>
                </a:lnTo>
                <a:lnTo>
                  <a:pt x="2194560" y="1376058"/>
                </a:lnTo>
                <a:lnTo>
                  <a:pt x="2162327" y="1376058"/>
                </a:lnTo>
                <a:lnTo>
                  <a:pt x="2162327" y="1343825"/>
                </a:lnTo>
                <a:lnTo>
                  <a:pt x="2130095" y="1343825"/>
                </a:lnTo>
                <a:close/>
                <a:moveTo>
                  <a:pt x="2335835" y="1480985"/>
                </a:moveTo>
                <a:lnTo>
                  <a:pt x="2335835" y="1513218"/>
                </a:lnTo>
                <a:lnTo>
                  <a:pt x="2303602" y="1513218"/>
                </a:lnTo>
                <a:lnTo>
                  <a:pt x="2303602" y="1545450"/>
                </a:lnTo>
                <a:lnTo>
                  <a:pt x="2335835" y="1545450"/>
                </a:lnTo>
                <a:lnTo>
                  <a:pt x="2335835" y="1577683"/>
                </a:lnTo>
                <a:lnTo>
                  <a:pt x="2368067" y="1577683"/>
                </a:lnTo>
                <a:lnTo>
                  <a:pt x="2368067" y="1545450"/>
                </a:lnTo>
                <a:lnTo>
                  <a:pt x="2400300" y="1545450"/>
                </a:lnTo>
                <a:lnTo>
                  <a:pt x="2400300" y="1513218"/>
                </a:lnTo>
                <a:lnTo>
                  <a:pt x="2368067" y="1513218"/>
                </a:lnTo>
                <a:lnTo>
                  <a:pt x="2368067" y="1480985"/>
                </a:lnTo>
                <a:lnTo>
                  <a:pt x="2335835" y="1480985"/>
                </a:lnTo>
                <a:close/>
                <a:moveTo>
                  <a:pt x="2267255" y="1343825"/>
                </a:moveTo>
                <a:lnTo>
                  <a:pt x="2267255" y="1376058"/>
                </a:lnTo>
                <a:lnTo>
                  <a:pt x="2235022" y="1376058"/>
                </a:lnTo>
                <a:lnTo>
                  <a:pt x="2235022" y="1408290"/>
                </a:lnTo>
                <a:lnTo>
                  <a:pt x="2267255" y="1408290"/>
                </a:lnTo>
                <a:lnTo>
                  <a:pt x="2267255" y="1440523"/>
                </a:lnTo>
                <a:lnTo>
                  <a:pt x="2299487" y="1440523"/>
                </a:lnTo>
                <a:lnTo>
                  <a:pt x="2299487" y="1408290"/>
                </a:lnTo>
                <a:lnTo>
                  <a:pt x="2331720" y="1408290"/>
                </a:lnTo>
                <a:lnTo>
                  <a:pt x="2331720" y="1376058"/>
                </a:lnTo>
                <a:lnTo>
                  <a:pt x="2299487" y="1376058"/>
                </a:lnTo>
                <a:lnTo>
                  <a:pt x="2299487" y="1343825"/>
                </a:lnTo>
                <a:lnTo>
                  <a:pt x="2267255" y="1343825"/>
                </a:lnTo>
                <a:close/>
                <a:moveTo>
                  <a:pt x="2198675" y="1480985"/>
                </a:moveTo>
                <a:lnTo>
                  <a:pt x="2198675" y="1513218"/>
                </a:lnTo>
                <a:lnTo>
                  <a:pt x="2166442" y="1513218"/>
                </a:lnTo>
                <a:lnTo>
                  <a:pt x="2166442" y="1545450"/>
                </a:lnTo>
                <a:lnTo>
                  <a:pt x="2198675" y="1545450"/>
                </a:lnTo>
                <a:lnTo>
                  <a:pt x="2198675" y="1577683"/>
                </a:lnTo>
                <a:lnTo>
                  <a:pt x="2230907" y="1577683"/>
                </a:lnTo>
                <a:lnTo>
                  <a:pt x="2230907" y="1545450"/>
                </a:lnTo>
                <a:lnTo>
                  <a:pt x="2263140" y="1545450"/>
                </a:lnTo>
                <a:lnTo>
                  <a:pt x="2263140" y="1513218"/>
                </a:lnTo>
                <a:lnTo>
                  <a:pt x="2230907" y="1513218"/>
                </a:lnTo>
                <a:lnTo>
                  <a:pt x="2230907" y="1480985"/>
                </a:lnTo>
                <a:lnTo>
                  <a:pt x="2198675" y="1480985"/>
                </a:lnTo>
                <a:close/>
                <a:moveTo>
                  <a:pt x="2678735" y="1618145"/>
                </a:moveTo>
                <a:lnTo>
                  <a:pt x="2678735" y="1650378"/>
                </a:lnTo>
                <a:lnTo>
                  <a:pt x="2646502" y="1650378"/>
                </a:lnTo>
                <a:lnTo>
                  <a:pt x="2646502" y="1682610"/>
                </a:lnTo>
                <a:lnTo>
                  <a:pt x="2678735" y="1682610"/>
                </a:lnTo>
                <a:lnTo>
                  <a:pt x="2678735" y="1714843"/>
                </a:lnTo>
                <a:lnTo>
                  <a:pt x="2710967" y="1714843"/>
                </a:lnTo>
                <a:lnTo>
                  <a:pt x="2710967" y="1682610"/>
                </a:lnTo>
                <a:lnTo>
                  <a:pt x="2743200" y="1682610"/>
                </a:lnTo>
                <a:lnTo>
                  <a:pt x="2743200" y="1650378"/>
                </a:lnTo>
                <a:lnTo>
                  <a:pt x="2710967" y="1650378"/>
                </a:lnTo>
                <a:lnTo>
                  <a:pt x="2710967" y="1618145"/>
                </a:lnTo>
                <a:lnTo>
                  <a:pt x="2678735" y="1618145"/>
                </a:lnTo>
                <a:close/>
                <a:moveTo>
                  <a:pt x="3121076" y="1985391"/>
                </a:moveTo>
                <a:lnTo>
                  <a:pt x="3121076" y="1955559"/>
                </a:lnTo>
                <a:lnTo>
                  <a:pt x="3150908" y="1955559"/>
                </a:lnTo>
                <a:lnTo>
                  <a:pt x="3150908" y="1926069"/>
                </a:lnTo>
                <a:lnTo>
                  <a:pt x="3121076" y="1926069"/>
                </a:lnTo>
                <a:lnTo>
                  <a:pt x="3121076" y="1896237"/>
                </a:lnTo>
                <a:lnTo>
                  <a:pt x="3091586" y="1896237"/>
                </a:lnTo>
                <a:lnTo>
                  <a:pt x="3091586" y="1926069"/>
                </a:lnTo>
                <a:lnTo>
                  <a:pt x="3061754" y="1926069"/>
                </a:lnTo>
                <a:lnTo>
                  <a:pt x="3061754" y="1955559"/>
                </a:lnTo>
                <a:lnTo>
                  <a:pt x="3091586" y="1955559"/>
                </a:lnTo>
                <a:lnTo>
                  <a:pt x="3091586" y="1985391"/>
                </a:lnTo>
                <a:lnTo>
                  <a:pt x="3121076" y="1985391"/>
                </a:lnTo>
                <a:close/>
                <a:moveTo>
                  <a:pt x="3160852" y="1761134"/>
                </a:moveTo>
                <a:lnTo>
                  <a:pt x="3160852" y="1789595"/>
                </a:lnTo>
                <a:lnTo>
                  <a:pt x="3132392" y="1789595"/>
                </a:lnTo>
                <a:lnTo>
                  <a:pt x="3132392" y="1817713"/>
                </a:lnTo>
                <a:lnTo>
                  <a:pt x="3160852" y="1817713"/>
                </a:lnTo>
                <a:lnTo>
                  <a:pt x="3160852" y="1846174"/>
                </a:lnTo>
                <a:lnTo>
                  <a:pt x="3188970" y="1846174"/>
                </a:lnTo>
                <a:lnTo>
                  <a:pt x="3188970" y="1817713"/>
                </a:lnTo>
                <a:lnTo>
                  <a:pt x="3217431" y="1817713"/>
                </a:lnTo>
                <a:lnTo>
                  <a:pt x="3217431" y="1789595"/>
                </a:lnTo>
                <a:lnTo>
                  <a:pt x="3188970" y="1789595"/>
                </a:lnTo>
                <a:lnTo>
                  <a:pt x="3188970" y="1761134"/>
                </a:lnTo>
                <a:lnTo>
                  <a:pt x="3160852" y="1761134"/>
                </a:lnTo>
                <a:close/>
                <a:moveTo>
                  <a:pt x="3091586" y="1622603"/>
                </a:moveTo>
                <a:lnTo>
                  <a:pt x="3091586" y="1651749"/>
                </a:lnTo>
                <a:lnTo>
                  <a:pt x="3062440" y="1651749"/>
                </a:lnTo>
                <a:lnTo>
                  <a:pt x="3062440" y="1681239"/>
                </a:lnTo>
                <a:lnTo>
                  <a:pt x="3091586" y="1681239"/>
                </a:lnTo>
                <a:lnTo>
                  <a:pt x="3091586" y="1710385"/>
                </a:lnTo>
                <a:lnTo>
                  <a:pt x="3121076" y="1710385"/>
                </a:lnTo>
                <a:lnTo>
                  <a:pt x="3121076" y="1681239"/>
                </a:lnTo>
                <a:lnTo>
                  <a:pt x="3150223" y="1681239"/>
                </a:lnTo>
                <a:lnTo>
                  <a:pt x="3150223" y="1651749"/>
                </a:lnTo>
                <a:lnTo>
                  <a:pt x="3121076" y="1651749"/>
                </a:lnTo>
                <a:lnTo>
                  <a:pt x="3121076" y="1622603"/>
                </a:lnTo>
                <a:lnTo>
                  <a:pt x="3091586" y="1622603"/>
                </a:lnTo>
                <a:close/>
                <a:moveTo>
                  <a:pt x="3022321" y="1757705"/>
                </a:moveTo>
                <a:lnTo>
                  <a:pt x="3022321" y="1788224"/>
                </a:lnTo>
                <a:lnTo>
                  <a:pt x="2991803" y="1788224"/>
                </a:lnTo>
                <a:lnTo>
                  <a:pt x="2991803" y="1819085"/>
                </a:lnTo>
                <a:lnTo>
                  <a:pt x="3022321" y="1819085"/>
                </a:lnTo>
                <a:lnTo>
                  <a:pt x="3022321" y="1849603"/>
                </a:lnTo>
                <a:lnTo>
                  <a:pt x="3053182" y="1849603"/>
                </a:lnTo>
                <a:lnTo>
                  <a:pt x="3053182" y="1819085"/>
                </a:lnTo>
                <a:lnTo>
                  <a:pt x="3083700" y="1819085"/>
                </a:lnTo>
                <a:lnTo>
                  <a:pt x="3083700" y="1788224"/>
                </a:lnTo>
                <a:lnTo>
                  <a:pt x="3053182" y="1788224"/>
                </a:lnTo>
                <a:lnTo>
                  <a:pt x="3053182" y="1757705"/>
                </a:lnTo>
                <a:lnTo>
                  <a:pt x="3022321" y="1757705"/>
                </a:lnTo>
                <a:close/>
                <a:moveTo>
                  <a:pt x="2953741" y="1619860"/>
                </a:moveTo>
                <a:lnTo>
                  <a:pt x="2953741" y="1651064"/>
                </a:lnTo>
                <a:lnTo>
                  <a:pt x="2922537" y="1651064"/>
                </a:lnTo>
                <a:lnTo>
                  <a:pt x="2922537" y="1681925"/>
                </a:lnTo>
                <a:lnTo>
                  <a:pt x="2953741" y="1681925"/>
                </a:lnTo>
                <a:lnTo>
                  <a:pt x="2953741" y="1713128"/>
                </a:lnTo>
                <a:lnTo>
                  <a:pt x="2984602" y="1713128"/>
                </a:lnTo>
                <a:lnTo>
                  <a:pt x="2984602" y="1681925"/>
                </a:lnTo>
                <a:lnTo>
                  <a:pt x="3015806" y="1681925"/>
                </a:lnTo>
                <a:lnTo>
                  <a:pt x="3015806" y="1651064"/>
                </a:lnTo>
                <a:lnTo>
                  <a:pt x="2984602" y="1651064"/>
                </a:lnTo>
                <a:lnTo>
                  <a:pt x="2984602" y="1619860"/>
                </a:lnTo>
                <a:lnTo>
                  <a:pt x="2953741" y="1619860"/>
                </a:lnTo>
                <a:close/>
                <a:moveTo>
                  <a:pt x="2884818" y="1482357"/>
                </a:moveTo>
                <a:lnTo>
                  <a:pt x="2884818" y="1513561"/>
                </a:lnTo>
                <a:lnTo>
                  <a:pt x="2853614" y="1513561"/>
                </a:lnTo>
                <a:lnTo>
                  <a:pt x="2853614" y="1545107"/>
                </a:lnTo>
                <a:lnTo>
                  <a:pt x="2884818" y="1545107"/>
                </a:lnTo>
                <a:lnTo>
                  <a:pt x="2884818" y="1576311"/>
                </a:lnTo>
                <a:lnTo>
                  <a:pt x="2916365" y="1576311"/>
                </a:lnTo>
                <a:lnTo>
                  <a:pt x="2916365" y="1545107"/>
                </a:lnTo>
                <a:lnTo>
                  <a:pt x="2947568" y="1545107"/>
                </a:lnTo>
                <a:lnTo>
                  <a:pt x="2947568" y="1513561"/>
                </a:lnTo>
                <a:lnTo>
                  <a:pt x="2916365" y="1513561"/>
                </a:lnTo>
                <a:lnTo>
                  <a:pt x="2916365" y="1482357"/>
                </a:lnTo>
                <a:lnTo>
                  <a:pt x="2884818" y="1482357"/>
                </a:lnTo>
                <a:close/>
                <a:moveTo>
                  <a:pt x="2848127" y="2263483"/>
                </a:moveTo>
                <a:lnTo>
                  <a:pt x="2848127" y="2231250"/>
                </a:lnTo>
                <a:lnTo>
                  <a:pt x="2880360" y="2231250"/>
                </a:lnTo>
                <a:lnTo>
                  <a:pt x="2880360" y="2199018"/>
                </a:lnTo>
                <a:lnTo>
                  <a:pt x="2848127" y="2199018"/>
                </a:lnTo>
                <a:lnTo>
                  <a:pt x="2848127" y="2166785"/>
                </a:lnTo>
                <a:lnTo>
                  <a:pt x="2815895" y="2166785"/>
                </a:lnTo>
                <a:lnTo>
                  <a:pt x="2815895" y="2199018"/>
                </a:lnTo>
                <a:lnTo>
                  <a:pt x="2783662" y="2199018"/>
                </a:lnTo>
                <a:lnTo>
                  <a:pt x="2783662" y="2231250"/>
                </a:lnTo>
                <a:lnTo>
                  <a:pt x="2815895" y="2231250"/>
                </a:lnTo>
                <a:lnTo>
                  <a:pt x="2815895" y="2263483"/>
                </a:lnTo>
                <a:lnTo>
                  <a:pt x="2848127" y="2263483"/>
                </a:lnTo>
                <a:close/>
                <a:moveTo>
                  <a:pt x="2779547" y="2126323"/>
                </a:moveTo>
                <a:lnTo>
                  <a:pt x="2779547" y="2094090"/>
                </a:lnTo>
                <a:lnTo>
                  <a:pt x="2811780" y="2094090"/>
                </a:lnTo>
                <a:lnTo>
                  <a:pt x="2811780" y="2061858"/>
                </a:lnTo>
                <a:lnTo>
                  <a:pt x="2779547" y="2061858"/>
                </a:lnTo>
                <a:lnTo>
                  <a:pt x="2779547" y="2029625"/>
                </a:lnTo>
                <a:lnTo>
                  <a:pt x="2747315" y="2029625"/>
                </a:lnTo>
                <a:lnTo>
                  <a:pt x="2747315" y="2061858"/>
                </a:lnTo>
                <a:lnTo>
                  <a:pt x="2715082" y="2061858"/>
                </a:lnTo>
                <a:lnTo>
                  <a:pt x="2715082" y="2094090"/>
                </a:lnTo>
                <a:lnTo>
                  <a:pt x="2747315" y="2094090"/>
                </a:lnTo>
                <a:lnTo>
                  <a:pt x="2747315" y="2126323"/>
                </a:lnTo>
                <a:lnTo>
                  <a:pt x="2779547" y="2126323"/>
                </a:lnTo>
                <a:close/>
                <a:moveTo>
                  <a:pt x="2984945" y="1988134"/>
                </a:moveTo>
                <a:lnTo>
                  <a:pt x="2984945" y="1956587"/>
                </a:lnTo>
                <a:lnTo>
                  <a:pt x="3016492" y="1956587"/>
                </a:lnTo>
                <a:lnTo>
                  <a:pt x="3016492" y="1925041"/>
                </a:lnTo>
                <a:lnTo>
                  <a:pt x="2984945" y="1925041"/>
                </a:lnTo>
                <a:lnTo>
                  <a:pt x="2984945" y="1893494"/>
                </a:lnTo>
                <a:lnTo>
                  <a:pt x="2953398" y="1893494"/>
                </a:lnTo>
                <a:lnTo>
                  <a:pt x="2953398" y="1925041"/>
                </a:lnTo>
                <a:lnTo>
                  <a:pt x="2921851" y="1925041"/>
                </a:lnTo>
                <a:lnTo>
                  <a:pt x="2921851" y="1956587"/>
                </a:lnTo>
                <a:lnTo>
                  <a:pt x="2953398" y="1956587"/>
                </a:lnTo>
                <a:lnTo>
                  <a:pt x="2953398" y="1988134"/>
                </a:lnTo>
                <a:lnTo>
                  <a:pt x="2984945" y="1988134"/>
                </a:lnTo>
                <a:close/>
                <a:moveTo>
                  <a:pt x="3053182" y="2123923"/>
                </a:moveTo>
                <a:lnTo>
                  <a:pt x="3053182" y="2093405"/>
                </a:lnTo>
                <a:lnTo>
                  <a:pt x="3083700" y="2093405"/>
                </a:lnTo>
                <a:lnTo>
                  <a:pt x="3083700" y="2062544"/>
                </a:lnTo>
                <a:lnTo>
                  <a:pt x="3053182" y="2062544"/>
                </a:lnTo>
                <a:lnTo>
                  <a:pt x="3053182" y="2032025"/>
                </a:lnTo>
                <a:lnTo>
                  <a:pt x="3022321" y="2032025"/>
                </a:lnTo>
                <a:lnTo>
                  <a:pt x="3022321" y="2062544"/>
                </a:lnTo>
                <a:lnTo>
                  <a:pt x="2991803" y="2062544"/>
                </a:lnTo>
                <a:lnTo>
                  <a:pt x="2991803" y="2093405"/>
                </a:lnTo>
                <a:lnTo>
                  <a:pt x="3022321" y="2093405"/>
                </a:lnTo>
                <a:lnTo>
                  <a:pt x="3022321" y="2123923"/>
                </a:lnTo>
                <a:lnTo>
                  <a:pt x="3053182" y="2123923"/>
                </a:lnTo>
                <a:close/>
                <a:moveTo>
                  <a:pt x="2916707" y="2126323"/>
                </a:moveTo>
                <a:lnTo>
                  <a:pt x="2916707" y="2094090"/>
                </a:lnTo>
                <a:lnTo>
                  <a:pt x="2948940" y="2094090"/>
                </a:lnTo>
                <a:lnTo>
                  <a:pt x="2948940" y="2061858"/>
                </a:lnTo>
                <a:lnTo>
                  <a:pt x="2916707" y="2061858"/>
                </a:lnTo>
                <a:lnTo>
                  <a:pt x="2916707" y="2029625"/>
                </a:lnTo>
                <a:lnTo>
                  <a:pt x="2884475" y="2029625"/>
                </a:lnTo>
                <a:lnTo>
                  <a:pt x="2884475" y="2061858"/>
                </a:lnTo>
                <a:lnTo>
                  <a:pt x="2852242" y="2061858"/>
                </a:lnTo>
                <a:lnTo>
                  <a:pt x="2852242" y="2094090"/>
                </a:lnTo>
                <a:lnTo>
                  <a:pt x="2884475" y="2094090"/>
                </a:lnTo>
                <a:lnTo>
                  <a:pt x="2884475" y="2126323"/>
                </a:lnTo>
                <a:lnTo>
                  <a:pt x="2916707" y="2126323"/>
                </a:lnTo>
                <a:close/>
                <a:moveTo>
                  <a:pt x="2404415" y="1343825"/>
                </a:moveTo>
                <a:lnTo>
                  <a:pt x="2404415" y="1376058"/>
                </a:lnTo>
                <a:lnTo>
                  <a:pt x="2372182" y="1376058"/>
                </a:lnTo>
                <a:lnTo>
                  <a:pt x="2372182" y="1408290"/>
                </a:lnTo>
                <a:lnTo>
                  <a:pt x="2404415" y="1408290"/>
                </a:lnTo>
                <a:lnTo>
                  <a:pt x="2404415" y="1440523"/>
                </a:lnTo>
                <a:lnTo>
                  <a:pt x="2436647" y="1440523"/>
                </a:lnTo>
                <a:lnTo>
                  <a:pt x="2436647" y="1408290"/>
                </a:lnTo>
                <a:lnTo>
                  <a:pt x="2468880" y="1408290"/>
                </a:lnTo>
                <a:lnTo>
                  <a:pt x="2468880" y="1376058"/>
                </a:lnTo>
                <a:lnTo>
                  <a:pt x="2436647" y="1376058"/>
                </a:lnTo>
                <a:lnTo>
                  <a:pt x="2436647" y="1343825"/>
                </a:lnTo>
                <a:lnTo>
                  <a:pt x="2404415" y="1343825"/>
                </a:lnTo>
                <a:close/>
                <a:moveTo>
                  <a:pt x="2335835" y="1206665"/>
                </a:moveTo>
                <a:lnTo>
                  <a:pt x="2335835" y="1238898"/>
                </a:lnTo>
                <a:lnTo>
                  <a:pt x="2303602" y="1238898"/>
                </a:lnTo>
                <a:lnTo>
                  <a:pt x="2303602" y="1271130"/>
                </a:lnTo>
                <a:lnTo>
                  <a:pt x="2335835" y="1271130"/>
                </a:lnTo>
                <a:lnTo>
                  <a:pt x="2335835" y="1303363"/>
                </a:lnTo>
                <a:lnTo>
                  <a:pt x="2368067" y="1303363"/>
                </a:lnTo>
                <a:lnTo>
                  <a:pt x="2368067" y="1271130"/>
                </a:lnTo>
                <a:lnTo>
                  <a:pt x="2400300" y="1271130"/>
                </a:lnTo>
                <a:lnTo>
                  <a:pt x="2400300" y="1238898"/>
                </a:lnTo>
                <a:lnTo>
                  <a:pt x="2368067" y="1238898"/>
                </a:lnTo>
                <a:lnTo>
                  <a:pt x="2368067" y="1206665"/>
                </a:lnTo>
                <a:lnTo>
                  <a:pt x="2335835" y="1206665"/>
                </a:lnTo>
                <a:close/>
                <a:moveTo>
                  <a:pt x="2472995" y="1206665"/>
                </a:moveTo>
                <a:lnTo>
                  <a:pt x="2472995" y="1238898"/>
                </a:lnTo>
                <a:lnTo>
                  <a:pt x="2440762" y="1238898"/>
                </a:lnTo>
                <a:lnTo>
                  <a:pt x="2440762" y="1271130"/>
                </a:lnTo>
                <a:lnTo>
                  <a:pt x="2472995" y="1271130"/>
                </a:lnTo>
                <a:lnTo>
                  <a:pt x="2472995" y="1303363"/>
                </a:lnTo>
                <a:lnTo>
                  <a:pt x="2505227" y="1303363"/>
                </a:lnTo>
                <a:lnTo>
                  <a:pt x="2505227" y="1271130"/>
                </a:lnTo>
                <a:lnTo>
                  <a:pt x="2537460" y="1271130"/>
                </a:lnTo>
                <a:lnTo>
                  <a:pt x="2537460" y="1238898"/>
                </a:lnTo>
                <a:lnTo>
                  <a:pt x="2505227" y="1238898"/>
                </a:lnTo>
                <a:lnTo>
                  <a:pt x="2505227" y="1206665"/>
                </a:lnTo>
                <a:lnTo>
                  <a:pt x="2472995" y="1206665"/>
                </a:lnTo>
                <a:close/>
                <a:moveTo>
                  <a:pt x="2816238" y="1345197"/>
                </a:moveTo>
                <a:lnTo>
                  <a:pt x="2816238" y="1376401"/>
                </a:lnTo>
                <a:lnTo>
                  <a:pt x="2785034" y="1376401"/>
                </a:lnTo>
                <a:lnTo>
                  <a:pt x="2785034" y="1407947"/>
                </a:lnTo>
                <a:lnTo>
                  <a:pt x="2816238" y="1407947"/>
                </a:lnTo>
                <a:lnTo>
                  <a:pt x="2816238" y="1439151"/>
                </a:lnTo>
                <a:lnTo>
                  <a:pt x="2847785" y="1439151"/>
                </a:lnTo>
                <a:lnTo>
                  <a:pt x="2847785" y="1407947"/>
                </a:lnTo>
                <a:lnTo>
                  <a:pt x="2878988" y="1407947"/>
                </a:lnTo>
                <a:lnTo>
                  <a:pt x="2878988" y="1376401"/>
                </a:lnTo>
                <a:lnTo>
                  <a:pt x="2847785" y="1376401"/>
                </a:lnTo>
                <a:lnTo>
                  <a:pt x="2847785" y="1345197"/>
                </a:lnTo>
                <a:lnTo>
                  <a:pt x="2816238" y="1345197"/>
                </a:lnTo>
                <a:close/>
                <a:moveTo>
                  <a:pt x="2267255" y="1069505"/>
                </a:moveTo>
                <a:lnTo>
                  <a:pt x="2267255" y="1101738"/>
                </a:lnTo>
                <a:lnTo>
                  <a:pt x="2235022" y="1101738"/>
                </a:lnTo>
                <a:lnTo>
                  <a:pt x="2235022" y="1133970"/>
                </a:lnTo>
                <a:lnTo>
                  <a:pt x="2267255" y="1133970"/>
                </a:lnTo>
                <a:lnTo>
                  <a:pt x="2267255" y="1166203"/>
                </a:lnTo>
                <a:lnTo>
                  <a:pt x="2299487" y="1166203"/>
                </a:lnTo>
                <a:lnTo>
                  <a:pt x="2299487" y="1133970"/>
                </a:lnTo>
                <a:lnTo>
                  <a:pt x="2331720" y="1133970"/>
                </a:lnTo>
                <a:lnTo>
                  <a:pt x="2331720" y="1101738"/>
                </a:lnTo>
                <a:lnTo>
                  <a:pt x="2299487" y="1101738"/>
                </a:lnTo>
                <a:lnTo>
                  <a:pt x="2299487" y="1069505"/>
                </a:lnTo>
                <a:lnTo>
                  <a:pt x="2267255" y="1069505"/>
                </a:lnTo>
                <a:close/>
                <a:moveTo>
                  <a:pt x="2541575" y="1343825"/>
                </a:moveTo>
                <a:lnTo>
                  <a:pt x="2541575" y="1376058"/>
                </a:lnTo>
                <a:lnTo>
                  <a:pt x="2509342" y="1376058"/>
                </a:lnTo>
                <a:lnTo>
                  <a:pt x="2509342" y="1408290"/>
                </a:lnTo>
                <a:lnTo>
                  <a:pt x="2541575" y="1408290"/>
                </a:lnTo>
                <a:lnTo>
                  <a:pt x="2541575" y="1440523"/>
                </a:lnTo>
                <a:lnTo>
                  <a:pt x="2573807" y="1440523"/>
                </a:lnTo>
                <a:lnTo>
                  <a:pt x="2573807" y="1408290"/>
                </a:lnTo>
                <a:lnTo>
                  <a:pt x="2606040" y="1408290"/>
                </a:lnTo>
                <a:lnTo>
                  <a:pt x="2606040" y="1376058"/>
                </a:lnTo>
                <a:lnTo>
                  <a:pt x="2573807" y="1376058"/>
                </a:lnTo>
                <a:lnTo>
                  <a:pt x="2573807" y="1343825"/>
                </a:lnTo>
                <a:lnTo>
                  <a:pt x="2541575" y="1343825"/>
                </a:lnTo>
                <a:close/>
                <a:moveTo>
                  <a:pt x="2678735" y="1343825"/>
                </a:moveTo>
                <a:lnTo>
                  <a:pt x="2678735" y="1376058"/>
                </a:lnTo>
                <a:lnTo>
                  <a:pt x="2646502" y="1376058"/>
                </a:lnTo>
                <a:lnTo>
                  <a:pt x="2646502" y="1408290"/>
                </a:lnTo>
                <a:lnTo>
                  <a:pt x="2678735" y="1408290"/>
                </a:lnTo>
                <a:lnTo>
                  <a:pt x="2678735" y="1440523"/>
                </a:lnTo>
                <a:lnTo>
                  <a:pt x="2710967" y="1440523"/>
                </a:lnTo>
                <a:lnTo>
                  <a:pt x="2710967" y="1408290"/>
                </a:lnTo>
                <a:lnTo>
                  <a:pt x="2743200" y="1408290"/>
                </a:lnTo>
                <a:lnTo>
                  <a:pt x="2743200" y="1376058"/>
                </a:lnTo>
                <a:lnTo>
                  <a:pt x="2710967" y="1376058"/>
                </a:lnTo>
                <a:lnTo>
                  <a:pt x="2710967" y="1343825"/>
                </a:lnTo>
                <a:lnTo>
                  <a:pt x="2678735" y="1343825"/>
                </a:lnTo>
                <a:close/>
                <a:moveTo>
                  <a:pt x="2747315" y="1480985"/>
                </a:moveTo>
                <a:lnTo>
                  <a:pt x="2747315" y="1513218"/>
                </a:lnTo>
                <a:lnTo>
                  <a:pt x="2715082" y="1513218"/>
                </a:lnTo>
                <a:lnTo>
                  <a:pt x="2715082" y="1545450"/>
                </a:lnTo>
                <a:lnTo>
                  <a:pt x="2747315" y="1545450"/>
                </a:lnTo>
                <a:lnTo>
                  <a:pt x="2747315" y="1577683"/>
                </a:lnTo>
                <a:lnTo>
                  <a:pt x="2779547" y="1577683"/>
                </a:lnTo>
                <a:lnTo>
                  <a:pt x="2779547" y="1545450"/>
                </a:lnTo>
                <a:lnTo>
                  <a:pt x="2811780" y="1545450"/>
                </a:lnTo>
                <a:lnTo>
                  <a:pt x="2811780" y="1513218"/>
                </a:lnTo>
                <a:lnTo>
                  <a:pt x="2779547" y="1513218"/>
                </a:lnTo>
                <a:lnTo>
                  <a:pt x="2779547" y="1480985"/>
                </a:lnTo>
                <a:lnTo>
                  <a:pt x="2747315" y="1480985"/>
                </a:lnTo>
                <a:close/>
                <a:moveTo>
                  <a:pt x="2610155" y="1206665"/>
                </a:moveTo>
                <a:lnTo>
                  <a:pt x="2610155" y="1238898"/>
                </a:lnTo>
                <a:lnTo>
                  <a:pt x="2577922" y="1238898"/>
                </a:lnTo>
                <a:lnTo>
                  <a:pt x="2577922" y="1271130"/>
                </a:lnTo>
                <a:lnTo>
                  <a:pt x="2610155" y="1271130"/>
                </a:lnTo>
                <a:lnTo>
                  <a:pt x="2610155" y="1303363"/>
                </a:lnTo>
                <a:lnTo>
                  <a:pt x="2642387" y="1303363"/>
                </a:lnTo>
                <a:lnTo>
                  <a:pt x="2642387" y="1271130"/>
                </a:lnTo>
                <a:lnTo>
                  <a:pt x="2674620" y="1271130"/>
                </a:lnTo>
                <a:lnTo>
                  <a:pt x="2674620" y="1238898"/>
                </a:lnTo>
                <a:lnTo>
                  <a:pt x="2642387" y="1238898"/>
                </a:lnTo>
                <a:lnTo>
                  <a:pt x="2642387" y="1206665"/>
                </a:lnTo>
                <a:lnTo>
                  <a:pt x="2610155" y="1206665"/>
                </a:lnTo>
                <a:close/>
                <a:moveTo>
                  <a:pt x="2025167" y="2537803"/>
                </a:moveTo>
                <a:lnTo>
                  <a:pt x="2025167" y="2505570"/>
                </a:lnTo>
                <a:lnTo>
                  <a:pt x="2057400" y="2505570"/>
                </a:lnTo>
                <a:lnTo>
                  <a:pt x="2057400" y="2473338"/>
                </a:lnTo>
                <a:lnTo>
                  <a:pt x="2025167" y="2473338"/>
                </a:lnTo>
                <a:lnTo>
                  <a:pt x="2025167" y="2441105"/>
                </a:lnTo>
                <a:lnTo>
                  <a:pt x="1992935" y="2441105"/>
                </a:lnTo>
                <a:lnTo>
                  <a:pt x="1992935" y="2473338"/>
                </a:lnTo>
                <a:lnTo>
                  <a:pt x="1960702" y="2473338"/>
                </a:lnTo>
                <a:lnTo>
                  <a:pt x="1960702" y="2505570"/>
                </a:lnTo>
                <a:lnTo>
                  <a:pt x="1992935" y="2505570"/>
                </a:lnTo>
                <a:lnTo>
                  <a:pt x="1992935" y="2537803"/>
                </a:lnTo>
                <a:lnTo>
                  <a:pt x="2025167" y="2537803"/>
                </a:lnTo>
                <a:close/>
                <a:moveTo>
                  <a:pt x="1819427" y="2400643"/>
                </a:moveTo>
                <a:lnTo>
                  <a:pt x="1819427" y="2368410"/>
                </a:lnTo>
                <a:lnTo>
                  <a:pt x="1851660" y="2368410"/>
                </a:lnTo>
                <a:lnTo>
                  <a:pt x="1851660" y="2336178"/>
                </a:lnTo>
                <a:lnTo>
                  <a:pt x="1819427" y="2336178"/>
                </a:lnTo>
                <a:lnTo>
                  <a:pt x="1819427" y="2303945"/>
                </a:lnTo>
                <a:lnTo>
                  <a:pt x="1787195" y="2303945"/>
                </a:lnTo>
                <a:lnTo>
                  <a:pt x="1787195" y="2336178"/>
                </a:lnTo>
                <a:lnTo>
                  <a:pt x="1754962" y="2336178"/>
                </a:lnTo>
                <a:lnTo>
                  <a:pt x="1754962" y="2368410"/>
                </a:lnTo>
                <a:lnTo>
                  <a:pt x="1787195" y="2368410"/>
                </a:lnTo>
                <a:lnTo>
                  <a:pt x="1787195" y="2400643"/>
                </a:lnTo>
                <a:lnTo>
                  <a:pt x="1819427" y="2400643"/>
                </a:lnTo>
                <a:close/>
                <a:moveTo>
                  <a:pt x="2710967" y="2263483"/>
                </a:moveTo>
                <a:lnTo>
                  <a:pt x="2710967" y="2231250"/>
                </a:lnTo>
                <a:lnTo>
                  <a:pt x="2743200" y="2231250"/>
                </a:lnTo>
                <a:lnTo>
                  <a:pt x="2743200" y="2199018"/>
                </a:lnTo>
                <a:lnTo>
                  <a:pt x="2710967" y="2199018"/>
                </a:lnTo>
                <a:lnTo>
                  <a:pt x="2710967" y="2166785"/>
                </a:lnTo>
                <a:lnTo>
                  <a:pt x="2678735" y="2166785"/>
                </a:lnTo>
                <a:lnTo>
                  <a:pt x="2678735" y="2199018"/>
                </a:lnTo>
                <a:lnTo>
                  <a:pt x="2646502" y="2199018"/>
                </a:lnTo>
                <a:lnTo>
                  <a:pt x="2646502" y="2231250"/>
                </a:lnTo>
                <a:lnTo>
                  <a:pt x="2678735" y="2231250"/>
                </a:lnTo>
                <a:lnTo>
                  <a:pt x="2678735" y="2263483"/>
                </a:lnTo>
                <a:lnTo>
                  <a:pt x="2710967" y="2263483"/>
                </a:lnTo>
                <a:close/>
                <a:moveTo>
                  <a:pt x="1956587" y="2400643"/>
                </a:moveTo>
                <a:lnTo>
                  <a:pt x="1956587" y="2368410"/>
                </a:lnTo>
                <a:lnTo>
                  <a:pt x="1988820" y="2368410"/>
                </a:lnTo>
                <a:lnTo>
                  <a:pt x="1988820" y="2336178"/>
                </a:lnTo>
                <a:lnTo>
                  <a:pt x="1956587" y="2336178"/>
                </a:lnTo>
                <a:lnTo>
                  <a:pt x="1956587" y="2303945"/>
                </a:lnTo>
                <a:lnTo>
                  <a:pt x="1924355" y="2303945"/>
                </a:lnTo>
                <a:lnTo>
                  <a:pt x="1924355" y="2336178"/>
                </a:lnTo>
                <a:lnTo>
                  <a:pt x="1892122" y="2336178"/>
                </a:lnTo>
                <a:lnTo>
                  <a:pt x="1892122" y="2368410"/>
                </a:lnTo>
                <a:lnTo>
                  <a:pt x="1924355" y="2368410"/>
                </a:lnTo>
                <a:lnTo>
                  <a:pt x="1924355" y="2400643"/>
                </a:lnTo>
                <a:lnTo>
                  <a:pt x="1956587" y="2400643"/>
                </a:lnTo>
                <a:close/>
                <a:moveTo>
                  <a:pt x="1750847" y="2537803"/>
                </a:moveTo>
                <a:lnTo>
                  <a:pt x="1750847" y="2505570"/>
                </a:lnTo>
                <a:lnTo>
                  <a:pt x="1783080" y="2505570"/>
                </a:lnTo>
                <a:lnTo>
                  <a:pt x="1783080" y="2473338"/>
                </a:lnTo>
                <a:lnTo>
                  <a:pt x="1750847" y="2473338"/>
                </a:lnTo>
                <a:lnTo>
                  <a:pt x="1750847" y="2441105"/>
                </a:lnTo>
                <a:lnTo>
                  <a:pt x="1718615" y="2441105"/>
                </a:lnTo>
                <a:lnTo>
                  <a:pt x="1718615" y="2473338"/>
                </a:lnTo>
                <a:lnTo>
                  <a:pt x="1686382" y="2473338"/>
                </a:lnTo>
                <a:lnTo>
                  <a:pt x="1686382" y="2505570"/>
                </a:lnTo>
                <a:lnTo>
                  <a:pt x="1718615" y="2505570"/>
                </a:lnTo>
                <a:lnTo>
                  <a:pt x="1718615" y="2537803"/>
                </a:lnTo>
                <a:lnTo>
                  <a:pt x="1750847" y="2537803"/>
                </a:lnTo>
                <a:close/>
                <a:moveTo>
                  <a:pt x="1476527" y="2263483"/>
                </a:moveTo>
                <a:lnTo>
                  <a:pt x="1476527" y="2231250"/>
                </a:lnTo>
                <a:lnTo>
                  <a:pt x="1508760" y="2231250"/>
                </a:lnTo>
                <a:lnTo>
                  <a:pt x="1508760" y="2199018"/>
                </a:lnTo>
                <a:lnTo>
                  <a:pt x="1476527" y="2199018"/>
                </a:lnTo>
                <a:lnTo>
                  <a:pt x="1476527" y="2166785"/>
                </a:lnTo>
                <a:lnTo>
                  <a:pt x="1444295" y="2166785"/>
                </a:lnTo>
                <a:lnTo>
                  <a:pt x="1444295" y="2199018"/>
                </a:lnTo>
                <a:lnTo>
                  <a:pt x="1412062" y="2199018"/>
                </a:lnTo>
                <a:lnTo>
                  <a:pt x="1412062" y="2231250"/>
                </a:lnTo>
                <a:lnTo>
                  <a:pt x="1444295" y="2231250"/>
                </a:lnTo>
                <a:lnTo>
                  <a:pt x="1444295" y="2263483"/>
                </a:lnTo>
                <a:lnTo>
                  <a:pt x="1476527" y="2263483"/>
                </a:lnTo>
                <a:close/>
                <a:moveTo>
                  <a:pt x="1545107" y="2400643"/>
                </a:moveTo>
                <a:lnTo>
                  <a:pt x="1545107" y="2368410"/>
                </a:lnTo>
                <a:lnTo>
                  <a:pt x="1577340" y="2368410"/>
                </a:lnTo>
                <a:lnTo>
                  <a:pt x="1577340" y="2336178"/>
                </a:lnTo>
                <a:lnTo>
                  <a:pt x="1545107" y="2336178"/>
                </a:lnTo>
                <a:lnTo>
                  <a:pt x="1545107" y="2303945"/>
                </a:lnTo>
                <a:lnTo>
                  <a:pt x="1512875" y="2303945"/>
                </a:lnTo>
                <a:lnTo>
                  <a:pt x="1512875" y="2336178"/>
                </a:lnTo>
                <a:lnTo>
                  <a:pt x="1480642" y="2336178"/>
                </a:lnTo>
                <a:lnTo>
                  <a:pt x="1480642" y="2368410"/>
                </a:lnTo>
                <a:lnTo>
                  <a:pt x="1512875" y="2368410"/>
                </a:lnTo>
                <a:lnTo>
                  <a:pt x="1512875" y="2400643"/>
                </a:lnTo>
                <a:lnTo>
                  <a:pt x="1545107" y="2400643"/>
                </a:lnTo>
                <a:close/>
                <a:moveTo>
                  <a:pt x="1407947" y="2400643"/>
                </a:moveTo>
                <a:lnTo>
                  <a:pt x="1407947" y="2368410"/>
                </a:lnTo>
                <a:lnTo>
                  <a:pt x="1440180" y="2368410"/>
                </a:lnTo>
                <a:lnTo>
                  <a:pt x="1440180" y="2336178"/>
                </a:lnTo>
                <a:lnTo>
                  <a:pt x="1407947" y="2336178"/>
                </a:lnTo>
                <a:lnTo>
                  <a:pt x="1407947" y="2303945"/>
                </a:lnTo>
                <a:lnTo>
                  <a:pt x="1375715" y="2303945"/>
                </a:lnTo>
                <a:lnTo>
                  <a:pt x="1375715" y="2336178"/>
                </a:lnTo>
                <a:lnTo>
                  <a:pt x="1343482" y="2336178"/>
                </a:lnTo>
                <a:lnTo>
                  <a:pt x="1343482" y="2368410"/>
                </a:lnTo>
                <a:lnTo>
                  <a:pt x="1375715" y="2368410"/>
                </a:lnTo>
                <a:lnTo>
                  <a:pt x="1375715" y="2400643"/>
                </a:lnTo>
                <a:lnTo>
                  <a:pt x="1407947" y="2400643"/>
                </a:lnTo>
                <a:close/>
                <a:moveTo>
                  <a:pt x="1613687" y="2537803"/>
                </a:moveTo>
                <a:lnTo>
                  <a:pt x="1613687" y="2505570"/>
                </a:lnTo>
                <a:lnTo>
                  <a:pt x="1645920" y="2505570"/>
                </a:lnTo>
                <a:lnTo>
                  <a:pt x="1645920" y="2473338"/>
                </a:lnTo>
                <a:lnTo>
                  <a:pt x="1613687" y="2473338"/>
                </a:lnTo>
                <a:lnTo>
                  <a:pt x="1613687" y="2441105"/>
                </a:lnTo>
                <a:lnTo>
                  <a:pt x="1581455" y="2441105"/>
                </a:lnTo>
                <a:lnTo>
                  <a:pt x="1581455" y="2473338"/>
                </a:lnTo>
                <a:lnTo>
                  <a:pt x="1549222" y="2473338"/>
                </a:lnTo>
                <a:lnTo>
                  <a:pt x="1549222" y="2505570"/>
                </a:lnTo>
                <a:lnTo>
                  <a:pt x="1581455" y="2505570"/>
                </a:lnTo>
                <a:lnTo>
                  <a:pt x="1581455" y="2537803"/>
                </a:lnTo>
                <a:lnTo>
                  <a:pt x="1613687" y="2537803"/>
                </a:lnTo>
                <a:close/>
                <a:moveTo>
                  <a:pt x="1682267" y="2400643"/>
                </a:moveTo>
                <a:lnTo>
                  <a:pt x="1682267" y="2368410"/>
                </a:lnTo>
                <a:lnTo>
                  <a:pt x="1714500" y="2368410"/>
                </a:lnTo>
                <a:lnTo>
                  <a:pt x="1714500" y="2336178"/>
                </a:lnTo>
                <a:lnTo>
                  <a:pt x="1682267" y="2336178"/>
                </a:lnTo>
                <a:lnTo>
                  <a:pt x="1682267" y="2303945"/>
                </a:lnTo>
                <a:lnTo>
                  <a:pt x="1650035" y="2303945"/>
                </a:lnTo>
                <a:lnTo>
                  <a:pt x="1650035" y="2336178"/>
                </a:lnTo>
                <a:lnTo>
                  <a:pt x="1617802" y="2336178"/>
                </a:lnTo>
                <a:lnTo>
                  <a:pt x="1617802" y="2368410"/>
                </a:lnTo>
                <a:lnTo>
                  <a:pt x="1650035" y="2368410"/>
                </a:lnTo>
                <a:lnTo>
                  <a:pt x="1650035" y="2400643"/>
                </a:lnTo>
                <a:lnTo>
                  <a:pt x="1682267" y="2400643"/>
                </a:lnTo>
                <a:close/>
                <a:moveTo>
                  <a:pt x="1888007" y="2537803"/>
                </a:moveTo>
                <a:lnTo>
                  <a:pt x="1888007" y="2505570"/>
                </a:lnTo>
                <a:lnTo>
                  <a:pt x="1920240" y="2505570"/>
                </a:lnTo>
                <a:lnTo>
                  <a:pt x="1920240" y="2473338"/>
                </a:lnTo>
                <a:lnTo>
                  <a:pt x="1888007" y="2473338"/>
                </a:lnTo>
                <a:lnTo>
                  <a:pt x="1888007" y="2441105"/>
                </a:lnTo>
                <a:lnTo>
                  <a:pt x="1855775" y="2441105"/>
                </a:lnTo>
                <a:lnTo>
                  <a:pt x="1855775" y="2473338"/>
                </a:lnTo>
                <a:lnTo>
                  <a:pt x="1823542" y="2473338"/>
                </a:lnTo>
                <a:lnTo>
                  <a:pt x="1823542" y="2505570"/>
                </a:lnTo>
                <a:lnTo>
                  <a:pt x="1855775" y="2505570"/>
                </a:lnTo>
                <a:lnTo>
                  <a:pt x="1855775" y="2537803"/>
                </a:lnTo>
                <a:lnTo>
                  <a:pt x="1888007" y="2537803"/>
                </a:lnTo>
                <a:close/>
                <a:moveTo>
                  <a:pt x="2505227" y="2400643"/>
                </a:moveTo>
                <a:lnTo>
                  <a:pt x="2505227" y="2368410"/>
                </a:lnTo>
                <a:lnTo>
                  <a:pt x="2537460" y="2368410"/>
                </a:lnTo>
                <a:lnTo>
                  <a:pt x="2537460" y="2336178"/>
                </a:lnTo>
                <a:lnTo>
                  <a:pt x="2505227" y="2336178"/>
                </a:lnTo>
                <a:lnTo>
                  <a:pt x="2505227" y="2303945"/>
                </a:lnTo>
                <a:lnTo>
                  <a:pt x="2472995" y="2303945"/>
                </a:lnTo>
                <a:lnTo>
                  <a:pt x="2472995" y="2336178"/>
                </a:lnTo>
                <a:lnTo>
                  <a:pt x="2440762" y="2336178"/>
                </a:lnTo>
                <a:lnTo>
                  <a:pt x="2440762" y="2368410"/>
                </a:lnTo>
                <a:lnTo>
                  <a:pt x="2472995" y="2368410"/>
                </a:lnTo>
                <a:lnTo>
                  <a:pt x="2472995" y="2400643"/>
                </a:lnTo>
                <a:lnTo>
                  <a:pt x="2505227" y="2400643"/>
                </a:lnTo>
                <a:close/>
                <a:moveTo>
                  <a:pt x="2573807" y="2263483"/>
                </a:moveTo>
                <a:lnTo>
                  <a:pt x="2573807" y="2231250"/>
                </a:lnTo>
                <a:lnTo>
                  <a:pt x="2606040" y="2231250"/>
                </a:lnTo>
                <a:lnTo>
                  <a:pt x="2606040" y="2199018"/>
                </a:lnTo>
                <a:lnTo>
                  <a:pt x="2573807" y="2199018"/>
                </a:lnTo>
                <a:lnTo>
                  <a:pt x="2573807" y="2166785"/>
                </a:lnTo>
                <a:lnTo>
                  <a:pt x="2541575" y="2166785"/>
                </a:lnTo>
                <a:lnTo>
                  <a:pt x="2541575" y="2199018"/>
                </a:lnTo>
                <a:lnTo>
                  <a:pt x="2509342" y="2199018"/>
                </a:lnTo>
                <a:lnTo>
                  <a:pt x="2509342" y="2231250"/>
                </a:lnTo>
                <a:lnTo>
                  <a:pt x="2541575" y="2231250"/>
                </a:lnTo>
                <a:lnTo>
                  <a:pt x="2541575" y="2263483"/>
                </a:lnTo>
                <a:lnTo>
                  <a:pt x="2573807" y="2263483"/>
                </a:lnTo>
                <a:close/>
                <a:moveTo>
                  <a:pt x="2642387" y="2400643"/>
                </a:moveTo>
                <a:lnTo>
                  <a:pt x="2642387" y="2368410"/>
                </a:lnTo>
                <a:lnTo>
                  <a:pt x="2674620" y="2368410"/>
                </a:lnTo>
                <a:lnTo>
                  <a:pt x="2674620" y="2336178"/>
                </a:lnTo>
                <a:lnTo>
                  <a:pt x="2642387" y="2336178"/>
                </a:lnTo>
                <a:lnTo>
                  <a:pt x="2642387" y="2303945"/>
                </a:lnTo>
                <a:lnTo>
                  <a:pt x="2610155" y="2303945"/>
                </a:lnTo>
                <a:lnTo>
                  <a:pt x="2610155" y="2336178"/>
                </a:lnTo>
                <a:lnTo>
                  <a:pt x="2577922" y="2336178"/>
                </a:lnTo>
                <a:lnTo>
                  <a:pt x="2577922" y="2368410"/>
                </a:lnTo>
                <a:lnTo>
                  <a:pt x="2610155" y="2368410"/>
                </a:lnTo>
                <a:lnTo>
                  <a:pt x="2610155" y="2400643"/>
                </a:lnTo>
                <a:lnTo>
                  <a:pt x="2642387" y="2400643"/>
                </a:lnTo>
                <a:close/>
                <a:moveTo>
                  <a:pt x="2436647" y="2537803"/>
                </a:moveTo>
                <a:lnTo>
                  <a:pt x="2436647" y="2505570"/>
                </a:lnTo>
                <a:lnTo>
                  <a:pt x="2468880" y="2505570"/>
                </a:lnTo>
                <a:lnTo>
                  <a:pt x="2468880" y="2473338"/>
                </a:lnTo>
                <a:lnTo>
                  <a:pt x="2436647" y="2473338"/>
                </a:lnTo>
                <a:lnTo>
                  <a:pt x="2436647" y="2441105"/>
                </a:lnTo>
                <a:lnTo>
                  <a:pt x="2404415" y="2441105"/>
                </a:lnTo>
                <a:lnTo>
                  <a:pt x="2404415" y="2473338"/>
                </a:lnTo>
                <a:lnTo>
                  <a:pt x="2372182" y="2473338"/>
                </a:lnTo>
                <a:lnTo>
                  <a:pt x="2372182" y="2505570"/>
                </a:lnTo>
                <a:lnTo>
                  <a:pt x="2404415" y="2505570"/>
                </a:lnTo>
                <a:lnTo>
                  <a:pt x="2404415" y="2537803"/>
                </a:lnTo>
                <a:lnTo>
                  <a:pt x="2436647" y="2537803"/>
                </a:lnTo>
                <a:close/>
                <a:moveTo>
                  <a:pt x="2299487" y="2537803"/>
                </a:moveTo>
                <a:lnTo>
                  <a:pt x="2299487" y="2505570"/>
                </a:lnTo>
                <a:lnTo>
                  <a:pt x="2331720" y="2505570"/>
                </a:lnTo>
                <a:lnTo>
                  <a:pt x="2331720" y="2473338"/>
                </a:lnTo>
                <a:lnTo>
                  <a:pt x="2299487" y="2473338"/>
                </a:lnTo>
                <a:lnTo>
                  <a:pt x="2299487" y="2441105"/>
                </a:lnTo>
                <a:lnTo>
                  <a:pt x="2267255" y="2441105"/>
                </a:lnTo>
                <a:lnTo>
                  <a:pt x="2267255" y="2473338"/>
                </a:lnTo>
                <a:lnTo>
                  <a:pt x="2235022" y="2473338"/>
                </a:lnTo>
                <a:lnTo>
                  <a:pt x="2235022" y="2505570"/>
                </a:lnTo>
                <a:lnTo>
                  <a:pt x="2267255" y="2505570"/>
                </a:lnTo>
                <a:lnTo>
                  <a:pt x="2267255" y="2537803"/>
                </a:lnTo>
                <a:lnTo>
                  <a:pt x="2299487" y="2537803"/>
                </a:lnTo>
                <a:close/>
                <a:moveTo>
                  <a:pt x="2230907" y="2400643"/>
                </a:moveTo>
                <a:lnTo>
                  <a:pt x="2230907" y="2368410"/>
                </a:lnTo>
                <a:lnTo>
                  <a:pt x="2263140" y="2368410"/>
                </a:lnTo>
                <a:lnTo>
                  <a:pt x="2263140" y="2336178"/>
                </a:lnTo>
                <a:lnTo>
                  <a:pt x="2230907" y="2336178"/>
                </a:lnTo>
                <a:lnTo>
                  <a:pt x="2230907" y="2303945"/>
                </a:lnTo>
                <a:lnTo>
                  <a:pt x="2198675" y="2303945"/>
                </a:lnTo>
                <a:lnTo>
                  <a:pt x="2198675" y="2336178"/>
                </a:lnTo>
                <a:lnTo>
                  <a:pt x="2166442" y="2336178"/>
                </a:lnTo>
                <a:lnTo>
                  <a:pt x="2166442" y="2368410"/>
                </a:lnTo>
                <a:lnTo>
                  <a:pt x="2198675" y="2368410"/>
                </a:lnTo>
                <a:lnTo>
                  <a:pt x="2198675" y="2400643"/>
                </a:lnTo>
                <a:lnTo>
                  <a:pt x="2230907" y="2400643"/>
                </a:lnTo>
                <a:close/>
                <a:moveTo>
                  <a:pt x="2162327" y="2537803"/>
                </a:moveTo>
                <a:lnTo>
                  <a:pt x="2162327" y="2505570"/>
                </a:lnTo>
                <a:lnTo>
                  <a:pt x="2194560" y="2505570"/>
                </a:lnTo>
                <a:lnTo>
                  <a:pt x="2194560" y="2473338"/>
                </a:lnTo>
                <a:lnTo>
                  <a:pt x="2162327" y="2473338"/>
                </a:lnTo>
                <a:lnTo>
                  <a:pt x="2162327" y="2441105"/>
                </a:lnTo>
                <a:lnTo>
                  <a:pt x="2130095" y="2441105"/>
                </a:lnTo>
                <a:lnTo>
                  <a:pt x="2130095" y="2473338"/>
                </a:lnTo>
                <a:lnTo>
                  <a:pt x="2097862" y="2473338"/>
                </a:lnTo>
                <a:lnTo>
                  <a:pt x="2097862" y="2505570"/>
                </a:lnTo>
                <a:lnTo>
                  <a:pt x="2130095" y="2505570"/>
                </a:lnTo>
                <a:lnTo>
                  <a:pt x="2130095" y="2537803"/>
                </a:lnTo>
                <a:lnTo>
                  <a:pt x="2162327" y="2537803"/>
                </a:lnTo>
                <a:close/>
                <a:moveTo>
                  <a:pt x="2368067" y="2400643"/>
                </a:moveTo>
                <a:lnTo>
                  <a:pt x="2368067" y="2368410"/>
                </a:lnTo>
                <a:lnTo>
                  <a:pt x="2400300" y="2368410"/>
                </a:lnTo>
                <a:lnTo>
                  <a:pt x="2400300" y="2336178"/>
                </a:lnTo>
                <a:lnTo>
                  <a:pt x="2368067" y="2336178"/>
                </a:lnTo>
                <a:lnTo>
                  <a:pt x="2368067" y="2303945"/>
                </a:lnTo>
                <a:lnTo>
                  <a:pt x="2335835" y="2303945"/>
                </a:lnTo>
                <a:lnTo>
                  <a:pt x="2335835" y="2336178"/>
                </a:lnTo>
                <a:lnTo>
                  <a:pt x="2303602" y="2336178"/>
                </a:lnTo>
                <a:lnTo>
                  <a:pt x="2303602" y="2368410"/>
                </a:lnTo>
                <a:lnTo>
                  <a:pt x="2335835" y="2368410"/>
                </a:lnTo>
                <a:lnTo>
                  <a:pt x="2335835" y="2400643"/>
                </a:lnTo>
                <a:lnTo>
                  <a:pt x="2368067" y="2400643"/>
                </a:lnTo>
                <a:close/>
                <a:moveTo>
                  <a:pt x="2093747" y="2400643"/>
                </a:moveTo>
                <a:lnTo>
                  <a:pt x="2093747" y="2368410"/>
                </a:lnTo>
                <a:lnTo>
                  <a:pt x="2125980" y="2368410"/>
                </a:lnTo>
                <a:lnTo>
                  <a:pt x="2125980" y="2336178"/>
                </a:lnTo>
                <a:lnTo>
                  <a:pt x="2093747" y="2336178"/>
                </a:lnTo>
                <a:lnTo>
                  <a:pt x="2093747" y="2303945"/>
                </a:lnTo>
                <a:lnTo>
                  <a:pt x="2061515" y="2303945"/>
                </a:lnTo>
                <a:lnTo>
                  <a:pt x="2061515" y="2336178"/>
                </a:lnTo>
                <a:lnTo>
                  <a:pt x="2029282" y="2336178"/>
                </a:lnTo>
                <a:lnTo>
                  <a:pt x="2029282" y="2368410"/>
                </a:lnTo>
                <a:lnTo>
                  <a:pt x="2061515" y="2368410"/>
                </a:lnTo>
                <a:lnTo>
                  <a:pt x="2061515" y="2400643"/>
                </a:lnTo>
                <a:lnTo>
                  <a:pt x="2093747" y="2400643"/>
                </a:lnTo>
                <a:close/>
                <a:moveTo>
                  <a:pt x="897026" y="1347597"/>
                </a:moveTo>
                <a:lnTo>
                  <a:pt x="897026" y="1377429"/>
                </a:lnTo>
                <a:lnTo>
                  <a:pt x="867194" y="1377429"/>
                </a:lnTo>
                <a:lnTo>
                  <a:pt x="867194" y="1406919"/>
                </a:lnTo>
                <a:lnTo>
                  <a:pt x="897026" y="1406919"/>
                </a:lnTo>
                <a:lnTo>
                  <a:pt x="897026" y="1436751"/>
                </a:lnTo>
                <a:lnTo>
                  <a:pt x="926516" y="1436751"/>
                </a:lnTo>
                <a:lnTo>
                  <a:pt x="926516" y="1406919"/>
                </a:lnTo>
                <a:lnTo>
                  <a:pt x="956348" y="1406919"/>
                </a:lnTo>
                <a:lnTo>
                  <a:pt x="956348" y="1377429"/>
                </a:lnTo>
                <a:lnTo>
                  <a:pt x="926516" y="1377429"/>
                </a:lnTo>
                <a:lnTo>
                  <a:pt x="926516" y="1347597"/>
                </a:lnTo>
                <a:lnTo>
                  <a:pt x="897026" y="1347597"/>
                </a:lnTo>
                <a:close/>
                <a:moveTo>
                  <a:pt x="1131570" y="2943111"/>
                </a:moveTo>
                <a:lnTo>
                  <a:pt x="1131570" y="2914993"/>
                </a:lnTo>
                <a:lnTo>
                  <a:pt x="1159688" y="2914993"/>
                </a:lnTo>
                <a:lnTo>
                  <a:pt x="1159688" y="2886875"/>
                </a:lnTo>
                <a:lnTo>
                  <a:pt x="1131570" y="2886875"/>
                </a:lnTo>
                <a:lnTo>
                  <a:pt x="1131570" y="2858757"/>
                </a:lnTo>
                <a:lnTo>
                  <a:pt x="1103452" y="2858757"/>
                </a:lnTo>
                <a:lnTo>
                  <a:pt x="1103452" y="2886875"/>
                </a:lnTo>
                <a:lnTo>
                  <a:pt x="1075334" y="2886875"/>
                </a:lnTo>
                <a:lnTo>
                  <a:pt x="1075334" y="2914993"/>
                </a:lnTo>
                <a:lnTo>
                  <a:pt x="1103452" y="2914993"/>
                </a:lnTo>
                <a:lnTo>
                  <a:pt x="1103452" y="2943111"/>
                </a:lnTo>
                <a:lnTo>
                  <a:pt x="1131570" y="2943111"/>
                </a:lnTo>
                <a:close/>
                <a:moveTo>
                  <a:pt x="1061618" y="3076156"/>
                </a:moveTo>
                <a:lnTo>
                  <a:pt x="1061618" y="3050781"/>
                </a:lnTo>
                <a:lnTo>
                  <a:pt x="1086993" y="3050781"/>
                </a:lnTo>
                <a:lnTo>
                  <a:pt x="1086993" y="3025407"/>
                </a:lnTo>
                <a:lnTo>
                  <a:pt x="1061618" y="3025407"/>
                </a:lnTo>
                <a:lnTo>
                  <a:pt x="1061618" y="3000032"/>
                </a:lnTo>
                <a:lnTo>
                  <a:pt x="1036244" y="3000032"/>
                </a:lnTo>
                <a:lnTo>
                  <a:pt x="1036244" y="3025407"/>
                </a:lnTo>
                <a:lnTo>
                  <a:pt x="1010869" y="3025407"/>
                </a:lnTo>
                <a:lnTo>
                  <a:pt x="1010869" y="3050781"/>
                </a:lnTo>
                <a:lnTo>
                  <a:pt x="1036244" y="3050781"/>
                </a:lnTo>
                <a:lnTo>
                  <a:pt x="1036244" y="3076156"/>
                </a:lnTo>
                <a:lnTo>
                  <a:pt x="1061618" y="3076156"/>
                </a:lnTo>
                <a:close/>
                <a:moveTo>
                  <a:pt x="650138" y="2527516"/>
                </a:moveTo>
                <a:lnTo>
                  <a:pt x="650138" y="2502141"/>
                </a:lnTo>
                <a:lnTo>
                  <a:pt x="675513" y="2502141"/>
                </a:lnTo>
                <a:lnTo>
                  <a:pt x="675513" y="2476767"/>
                </a:lnTo>
                <a:lnTo>
                  <a:pt x="650138" y="2476767"/>
                </a:lnTo>
                <a:lnTo>
                  <a:pt x="650138" y="2451392"/>
                </a:lnTo>
                <a:lnTo>
                  <a:pt x="624764" y="2451392"/>
                </a:lnTo>
                <a:lnTo>
                  <a:pt x="624764" y="2476767"/>
                </a:lnTo>
                <a:lnTo>
                  <a:pt x="599389" y="2476767"/>
                </a:lnTo>
                <a:lnTo>
                  <a:pt x="599389" y="2502141"/>
                </a:lnTo>
                <a:lnTo>
                  <a:pt x="624764" y="2502141"/>
                </a:lnTo>
                <a:lnTo>
                  <a:pt x="624764" y="2527516"/>
                </a:lnTo>
                <a:lnTo>
                  <a:pt x="650138" y="2527516"/>
                </a:lnTo>
                <a:close/>
                <a:moveTo>
                  <a:pt x="1267358" y="3213316"/>
                </a:moveTo>
                <a:lnTo>
                  <a:pt x="1267358" y="3187941"/>
                </a:lnTo>
                <a:lnTo>
                  <a:pt x="1292733" y="3187941"/>
                </a:lnTo>
                <a:lnTo>
                  <a:pt x="1292733" y="3162567"/>
                </a:lnTo>
                <a:lnTo>
                  <a:pt x="1267358" y="3162567"/>
                </a:lnTo>
                <a:lnTo>
                  <a:pt x="1267358" y="3137192"/>
                </a:lnTo>
                <a:lnTo>
                  <a:pt x="1241984" y="3137192"/>
                </a:lnTo>
                <a:lnTo>
                  <a:pt x="1241984" y="3162567"/>
                </a:lnTo>
                <a:lnTo>
                  <a:pt x="1216609" y="3162567"/>
                </a:lnTo>
                <a:lnTo>
                  <a:pt x="1216609" y="3187941"/>
                </a:lnTo>
                <a:lnTo>
                  <a:pt x="1241984" y="3187941"/>
                </a:lnTo>
                <a:lnTo>
                  <a:pt x="1241984" y="3213316"/>
                </a:lnTo>
                <a:lnTo>
                  <a:pt x="1267358" y="3213316"/>
                </a:lnTo>
                <a:close/>
                <a:moveTo>
                  <a:pt x="1337310" y="3080271"/>
                </a:moveTo>
                <a:lnTo>
                  <a:pt x="1337310" y="3052153"/>
                </a:lnTo>
                <a:lnTo>
                  <a:pt x="1365428" y="3052153"/>
                </a:lnTo>
                <a:lnTo>
                  <a:pt x="1365428" y="3024035"/>
                </a:lnTo>
                <a:lnTo>
                  <a:pt x="1337310" y="3024035"/>
                </a:lnTo>
                <a:lnTo>
                  <a:pt x="1337310" y="2995917"/>
                </a:lnTo>
                <a:lnTo>
                  <a:pt x="1309192" y="2995917"/>
                </a:lnTo>
                <a:lnTo>
                  <a:pt x="1309192" y="3024035"/>
                </a:lnTo>
                <a:lnTo>
                  <a:pt x="1281074" y="3024035"/>
                </a:lnTo>
                <a:lnTo>
                  <a:pt x="1281074" y="3052153"/>
                </a:lnTo>
                <a:lnTo>
                  <a:pt x="1309192" y="3052153"/>
                </a:lnTo>
                <a:lnTo>
                  <a:pt x="1309192" y="3080271"/>
                </a:lnTo>
                <a:lnTo>
                  <a:pt x="1337310" y="3080271"/>
                </a:lnTo>
                <a:close/>
                <a:moveTo>
                  <a:pt x="993381" y="2940368"/>
                </a:moveTo>
                <a:lnTo>
                  <a:pt x="993381" y="2913964"/>
                </a:lnTo>
                <a:lnTo>
                  <a:pt x="1019785" y="2913964"/>
                </a:lnTo>
                <a:lnTo>
                  <a:pt x="1019785" y="2887904"/>
                </a:lnTo>
                <a:lnTo>
                  <a:pt x="993381" y="2887904"/>
                </a:lnTo>
                <a:lnTo>
                  <a:pt x="993381" y="2861501"/>
                </a:lnTo>
                <a:lnTo>
                  <a:pt x="967321" y="2861501"/>
                </a:lnTo>
                <a:lnTo>
                  <a:pt x="967321" y="2887904"/>
                </a:lnTo>
                <a:lnTo>
                  <a:pt x="940918" y="2887904"/>
                </a:lnTo>
                <a:lnTo>
                  <a:pt x="940918" y="2913964"/>
                </a:lnTo>
                <a:lnTo>
                  <a:pt x="967321" y="2913964"/>
                </a:lnTo>
                <a:lnTo>
                  <a:pt x="967321" y="2940368"/>
                </a:lnTo>
                <a:lnTo>
                  <a:pt x="993381" y="2940368"/>
                </a:lnTo>
                <a:close/>
                <a:moveTo>
                  <a:pt x="786955" y="2801150"/>
                </a:moveTo>
                <a:lnTo>
                  <a:pt x="786955" y="2776118"/>
                </a:lnTo>
                <a:lnTo>
                  <a:pt x="811987" y="2776118"/>
                </a:lnTo>
                <a:lnTo>
                  <a:pt x="811987" y="2751430"/>
                </a:lnTo>
                <a:lnTo>
                  <a:pt x="786955" y="2751430"/>
                </a:lnTo>
                <a:lnTo>
                  <a:pt x="786955" y="2726398"/>
                </a:lnTo>
                <a:lnTo>
                  <a:pt x="762267" y="2726398"/>
                </a:lnTo>
                <a:lnTo>
                  <a:pt x="762267" y="2751430"/>
                </a:lnTo>
                <a:lnTo>
                  <a:pt x="737235" y="2751430"/>
                </a:lnTo>
                <a:lnTo>
                  <a:pt x="737235" y="2776118"/>
                </a:lnTo>
                <a:lnTo>
                  <a:pt x="762267" y="2776118"/>
                </a:lnTo>
                <a:lnTo>
                  <a:pt x="762267" y="2801150"/>
                </a:lnTo>
                <a:lnTo>
                  <a:pt x="786955" y="2801150"/>
                </a:lnTo>
                <a:close/>
                <a:moveTo>
                  <a:pt x="925487" y="2804579"/>
                </a:moveTo>
                <a:lnTo>
                  <a:pt x="925487" y="2777490"/>
                </a:lnTo>
                <a:lnTo>
                  <a:pt x="952576" y="2777490"/>
                </a:lnTo>
                <a:lnTo>
                  <a:pt x="952576" y="2750058"/>
                </a:lnTo>
                <a:lnTo>
                  <a:pt x="925487" y="2750058"/>
                </a:lnTo>
                <a:lnTo>
                  <a:pt x="925487" y="2722969"/>
                </a:lnTo>
                <a:lnTo>
                  <a:pt x="898055" y="2722969"/>
                </a:lnTo>
                <a:lnTo>
                  <a:pt x="898055" y="2750058"/>
                </a:lnTo>
                <a:lnTo>
                  <a:pt x="870966" y="2750058"/>
                </a:lnTo>
                <a:lnTo>
                  <a:pt x="870966" y="2777490"/>
                </a:lnTo>
                <a:lnTo>
                  <a:pt x="898055" y="2777490"/>
                </a:lnTo>
                <a:lnTo>
                  <a:pt x="898055" y="2804579"/>
                </a:lnTo>
                <a:lnTo>
                  <a:pt x="925487" y="2804579"/>
                </a:lnTo>
                <a:close/>
                <a:moveTo>
                  <a:pt x="718718" y="2664676"/>
                </a:moveTo>
                <a:lnTo>
                  <a:pt x="718718" y="2639301"/>
                </a:lnTo>
                <a:lnTo>
                  <a:pt x="744093" y="2639301"/>
                </a:lnTo>
                <a:lnTo>
                  <a:pt x="744093" y="2613927"/>
                </a:lnTo>
                <a:lnTo>
                  <a:pt x="718718" y="2613927"/>
                </a:lnTo>
                <a:lnTo>
                  <a:pt x="718718" y="2588552"/>
                </a:lnTo>
                <a:lnTo>
                  <a:pt x="693344" y="2588552"/>
                </a:lnTo>
                <a:lnTo>
                  <a:pt x="693344" y="2613927"/>
                </a:lnTo>
                <a:lnTo>
                  <a:pt x="667969" y="2613927"/>
                </a:lnTo>
                <a:lnTo>
                  <a:pt x="667969" y="2639301"/>
                </a:lnTo>
                <a:lnTo>
                  <a:pt x="693344" y="2639301"/>
                </a:lnTo>
                <a:lnTo>
                  <a:pt x="693344" y="2664676"/>
                </a:lnTo>
                <a:lnTo>
                  <a:pt x="718718" y="2664676"/>
                </a:lnTo>
                <a:close/>
                <a:moveTo>
                  <a:pt x="856907" y="2668105"/>
                </a:moveTo>
                <a:lnTo>
                  <a:pt x="856907" y="2640330"/>
                </a:lnTo>
                <a:lnTo>
                  <a:pt x="884682" y="2640330"/>
                </a:lnTo>
                <a:lnTo>
                  <a:pt x="884682" y="2612898"/>
                </a:lnTo>
                <a:lnTo>
                  <a:pt x="856907" y="2612898"/>
                </a:lnTo>
                <a:lnTo>
                  <a:pt x="856907" y="2585123"/>
                </a:lnTo>
                <a:lnTo>
                  <a:pt x="829475" y="2585123"/>
                </a:lnTo>
                <a:lnTo>
                  <a:pt x="829475" y="2612898"/>
                </a:lnTo>
                <a:lnTo>
                  <a:pt x="801700" y="2612898"/>
                </a:lnTo>
                <a:lnTo>
                  <a:pt x="801700" y="2640330"/>
                </a:lnTo>
                <a:lnTo>
                  <a:pt x="829475" y="2640330"/>
                </a:lnTo>
                <a:lnTo>
                  <a:pt x="829475" y="2668105"/>
                </a:lnTo>
                <a:lnTo>
                  <a:pt x="856907" y="2668105"/>
                </a:lnTo>
                <a:close/>
                <a:moveTo>
                  <a:pt x="1199464" y="3078213"/>
                </a:moveTo>
                <a:lnTo>
                  <a:pt x="1199464" y="3051467"/>
                </a:lnTo>
                <a:lnTo>
                  <a:pt x="1226210" y="3051467"/>
                </a:lnTo>
                <a:lnTo>
                  <a:pt x="1226210" y="3024721"/>
                </a:lnTo>
                <a:lnTo>
                  <a:pt x="1199464" y="3024721"/>
                </a:lnTo>
                <a:lnTo>
                  <a:pt x="1199464" y="2997975"/>
                </a:lnTo>
                <a:lnTo>
                  <a:pt x="1172718" y="2997975"/>
                </a:lnTo>
                <a:lnTo>
                  <a:pt x="1172718" y="3024721"/>
                </a:lnTo>
                <a:lnTo>
                  <a:pt x="1145972" y="3024721"/>
                </a:lnTo>
                <a:lnTo>
                  <a:pt x="1145972" y="3051467"/>
                </a:lnTo>
                <a:lnTo>
                  <a:pt x="1172718" y="3051467"/>
                </a:lnTo>
                <a:lnTo>
                  <a:pt x="1172718" y="3078213"/>
                </a:lnTo>
                <a:lnTo>
                  <a:pt x="1199464" y="3078213"/>
                </a:lnTo>
                <a:close/>
                <a:moveTo>
                  <a:pt x="1884921" y="3351505"/>
                </a:moveTo>
                <a:lnTo>
                  <a:pt x="1884921" y="3325444"/>
                </a:lnTo>
                <a:lnTo>
                  <a:pt x="1910982" y="3325444"/>
                </a:lnTo>
                <a:lnTo>
                  <a:pt x="1910982" y="3299384"/>
                </a:lnTo>
                <a:lnTo>
                  <a:pt x="1884921" y="3299384"/>
                </a:lnTo>
                <a:lnTo>
                  <a:pt x="1884921" y="3273323"/>
                </a:lnTo>
                <a:lnTo>
                  <a:pt x="1858861" y="3273323"/>
                </a:lnTo>
                <a:lnTo>
                  <a:pt x="1858861" y="3299384"/>
                </a:lnTo>
                <a:lnTo>
                  <a:pt x="1832800" y="3299384"/>
                </a:lnTo>
                <a:lnTo>
                  <a:pt x="1832800" y="3325444"/>
                </a:lnTo>
                <a:lnTo>
                  <a:pt x="1858861" y="3325444"/>
                </a:lnTo>
                <a:lnTo>
                  <a:pt x="1858861" y="3351505"/>
                </a:lnTo>
                <a:lnTo>
                  <a:pt x="1884921" y="3351505"/>
                </a:lnTo>
                <a:close/>
                <a:moveTo>
                  <a:pt x="2022081" y="3351505"/>
                </a:moveTo>
                <a:lnTo>
                  <a:pt x="2022081" y="3325444"/>
                </a:lnTo>
                <a:lnTo>
                  <a:pt x="2048142" y="3325444"/>
                </a:lnTo>
                <a:lnTo>
                  <a:pt x="2048142" y="3299384"/>
                </a:lnTo>
                <a:lnTo>
                  <a:pt x="2022081" y="3299384"/>
                </a:lnTo>
                <a:lnTo>
                  <a:pt x="2022081" y="3273323"/>
                </a:lnTo>
                <a:lnTo>
                  <a:pt x="1996021" y="3273323"/>
                </a:lnTo>
                <a:lnTo>
                  <a:pt x="1996021" y="3299384"/>
                </a:lnTo>
                <a:lnTo>
                  <a:pt x="1969960" y="3299384"/>
                </a:lnTo>
                <a:lnTo>
                  <a:pt x="1969960" y="3325444"/>
                </a:lnTo>
                <a:lnTo>
                  <a:pt x="1996021" y="3325444"/>
                </a:lnTo>
                <a:lnTo>
                  <a:pt x="1996021" y="3351505"/>
                </a:lnTo>
                <a:lnTo>
                  <a:pt x="2022081" y="3351505"/>
                </a:lnTo>
                <a:close/>
                <a:moveTo>
                  <a:pt x="1954873" y="3218117"/>
                </a:moveTo>
                <a:lnTo>
                  <a:pt x="1954873" y="3189656"/>
                </a:lnTo>
                <a:lnTo>
                  <a:pt x="1983334" y="3189656"/>
                </a:lnTo>
                <a:lnTo>
                  <a:pt x="1983334" y="3160852"/>
                </a:lnTo>
                <a:lnTo>
                  <a:pt x="1954873" y="3160852"/>
                </a:lnTo>
                <a:lnTo>
                  <a:pt x="1954873" y="3132392"/>
                </a:lnTo>
                <a:lnTo>
                  <a:pt x="1926069" y="3132392"/>
                </a:lnTo>
                <a:lnTo>
                  <a:pt x="1926069" y="3160852"/>
                </a:lnTo>
                <a:lnTo>
                  <a:pt x="1897609" y="3160852"/>
                </a:lnTo>
                <a:lnTo>
                  <a:pt x="1897609" y="3189656"/>
                </a:lnTo>
                <a:lnTo>
                  <a:pt x="1926069" y="3189656"/>
                </a:lnTo>
                <a:lnTo>
                  <a:pt x="1926069" y="3218117"/>
                </a:lnTo>
                <a:lnTo>
                  <a:pt x="1954873" y="3218117"/>
                </a:lnTo>
                <a:close/>
                <a:moveTo>
                  <a:pt x="1747761" y="3351162"/>
                </a:moveTo>
                <a:lnTo>
                  <a:pt x="1747761" y="3325444"/>
                </a:lnTo>
                <a:lnTo>
                  <a:pt x="1773479" y="3325444"/>
                </a:lnTo>
                <a:lnTo>
                  <a:pt x="1773479" y="3299384"/>
                </a:lnTo>
                <a:lnTo>
                  <a:pt x="1747761" y="3299384"/>
                </a:lnTo>
                <a:lnTo>
                  <a:pt x="1747761" y="3273666"/>
                </a:lnTo>
                <a:lnTo>
                  <a:pt x="1721701" y="3273666"/>
                </a:lnTo>
                <a:lnTo>
                  <a:pt x="1721701" y="3299384"/>
                </a:lnTo>
                <a:lnTo>
                  <a:pt x="1695983" y="3299384"/>
                </a:lnTo>
                <a:lnTo>
                  <a:pt x="1695983" y="3325444"/>
                </a:lnTo>
                <a:lnTo>
                  <a:pt x="1721701" y="3325444"/>
                </a:lnTo>
                <a:lnTo>
                  <a:pt x="1721701" y="3351162"/>
                </a:lnTo>
                <a:lnTo>
                  <a:pt x="1747761" y="3351162"/>
                </a:lnTo>
                <a:close/>
                <a:moveTo>
                  <a:pt x="1817370" y="3217774"/>
                </a:moveTo>
                <a:lnTo>
                  <a:pt x="1817370" y="3189313"/>
                </a:lnTo>
                <a:lnTo>
                  <a:pt x="1845831" y="3189313"/>
                </a:lnTo>
                <a:lnTo>
                  <a:pt x="1845831" y="3161195"/>
                </a:lnTo>
                <a:lnTo>
                  <a:pt x="1817370" y="3161195"/>
                </a:lnTo>
                <a:lnTo>
                  <a:pt x="1817370" y="3132734"/>
                </a:lnTo>
                <a:lnTo>
                  <a:pt x="1789252" y="3132734"/>
                </a:lnTo>
                <a:lnTo>
                  <a:pt x="1789252" y="3161195"/>
                </a:lnTo>
                <a:lnTo>
                  <a:pt x="1760791" y="3161195"/>
                </a:lnTo>
                <a:lnTo>
                  <a:pt x="1760791" y="3189313"/>
                </a:lnTo>
                <a:lnTo>
                  <a:pt x="1789252" y="3189313"/>
                </a:lnTo>
                <a:lnTo>
                  <a:pt x="1789252" y="3217774"/>
                </a:lnTo>
                <a:lnTo>
                  <a:pt x="1817370" y="3217774"/>
                </a:lnTo>
                <a:close/>
                <a:moveTo>
                  <a:pt x="1475156" y="3081985"/>
                </a:moveTo>
                <a:lnTo>
                  <a:pt x="1475156" y="3052839"/>
                </a:lnTo>
                <a:lnTo>
                  <a:pt x="1504302" y="3052839"/>
                </a:lnTo>
                <a:lnTo>
                  <a:pt x="1504302" y="3023349"/>
                </a:lnTo>
                <a:lnTo>
                  <a:pt x="1475156" y="3023349"/>
                </a:lnTo>
                <a:lnTo>
                  <a:pt x="1475156" y="2994203"/>
                </a:lnTo>
                <a:lnTo>
                  <a:pt x="1445666" y="2994203"/>
                </a:lnTo>
                <a:lnTo>
                  <a:pt x="1445666" y="3023349"/>
                </a:lnTo>
                <a:lnTo>
                  <a:pt x="1416520" y="3023349"/>
                </a:lnTo>
                <a:lnTo>
                  <a:pt x="1416520" y="3052839"/>
                </a:lnTo>
                <a:lnTo>
                  <a:pt x="1445666" y="3052839"/>
                </a:lnTo>
                <a:lnTo>
                  <a:pt x="1445666" y="3081985"/>
                </a:lnTo>
                <a:lnTo>
                  <a:pt x="1475156" y="3081985"/>
                </a:lnTo>
                <a:close/>
                <a:moveTo>
                  <a:pt x="1680210" y="3217431"/>
                </a:moveTo>
                <a:lnTo>
                  <a:pt x="1680210" y="3189313"/>
                </a:lnTo>
                <a:lnTo>
                  <a:pt x="1708328" y="3189313"/>
                </a:lnTo>
                <a:lnTo>
                  <a:pt x="1708328" y="3161195"/>
                </a:lnTo>
                <a:lnTo>
                  <a:pt x="1680210" y="3161195"/>
                </a:lnTo>
                <a:lnTo>
                  <a:pt x="1680210" y="3133077"/>
                </a:lnTo>
                <a:lnTo>
                  <a:pt x="1652092" y="3133077"/>
                </a:lnTo>
                <a:lnTo>
                  <a:pt x="1652092" y="3161195"/>
                </a:lnTo>
                <a:lnTo>
                  <a:pt x="1623974" y="3161195"/>
                </a:lnTo>
                <a:lnTo>
                  <a:pt x="1623974" y="3189313"/>
                </a:lnTo>
                <a:lnTo>
                  <a:pt x="1652092" y="3189313"/>
                </a:lnTo>
                <a:lnTo>
                  <a:pt x="1652092" y="3217431"/>
                </a:lnTo>
                <a:lnTo>
                  <a:pt x="1680210" y="3217431"/>
                </a:lnTo>
                <a:close/>
                <a:moveTo>
                  <a:pt x="1542707" y="3216402"/>
                </a:moveTo>
                <a:lnTo>
                  <a:pt x="1542707" y="3188970"/>
                </a:lnTo>
                <a:lnTo>
                  <a:pt x="1570139" y="3188970"/>
                </a:lnTo>
                <a:lnTo>
                  <a:pt x="1570139" y="3161538"/>
                </a:lnTo>
                <a:lnTo>
                  <a:pt x="1542707" y="3161538"/>
                </a:lnTo>
                <a:lnTo>
                  <a:pt x="1542707" y="3134106"/>
                </a:lnTo>
                <a:lnTo>
                  <a:pt x="1515275" y="3134106"/>
                </a:lnTo>
                <a:lnTo>
                  <a:pt x="1515275" y="3161538"/>
                </a:lnTo>
                <a:lnTo>
                  <a:pt x="1487843" y="3161538"/>
                </a:lnTo>
                <a:lnTo>
                  <a:pt x="1487843" y="3188970"/>
                </a:lnTo>
                <a:lnTo>
                  <a:pt x="1515275" y="3188970"/>
                </a:lnTo>
                <a:lnTo>
                  <a:pt x="1515275" y="3216402"/>
                </a:lnTo>
                <a:lnTo>
                  <a:pt x="1542707" y="3216402"/>
                </a:lnTo>
                <a:close/>
                <a:moveTo>
                  <a:pt x="1610258" y="3350476"/>
                </a:moveTo>
                <a:lnTo>
                  <a:pt x="1610258" y="3325101"/>
                </a:lnTo>
                <a:lnTo>
                  <a:pt x="1635633" y="3325101"/>
                </a:lnTo>
                <a:lnTo>
                  <a:pt x="1635633" y="3299727"/>
                </a:lnTo>
                <a:lnTo>
                  <a:pt x="1610258" y="3299727"/>
                </a:lnTo>
                <a:lnTo>
                  <a:pt x="1610258" y="3274352"/>
                </a:lnTo>
                <a:lnTo>
                  <a:pt x="1584884" y="3274352"/>
                </a:lnTo>
                <a:lnTo>
                  <a:pt x="1584884" y="3299727"/>
                </a:lnTo>
                <a:lnTo>
                  <a:pt x="1559509" y="3299727"/>
                </a:lnTo>
                <a:lnTo>
                  <a:pt x="1559509" y="3325101"/>
                </a:lnTo>
                <a:lnTo>
                  <a:pt x="1584884" y="3325101"/>
                </a:lnTo>
                <a:lnTo>
                  <a:pt x="1584884" y="3350476"/>
                </a:lnTo>
                <a:lnTo>
                  <a:pt x="1610258" y="3350476"/>
                </a:lnTo>
                <a:close/>
                <a:moveTo>
                  <a:pt x="1405204" y="3215030"/>
                </a:moveTo>
                <a:lnTo>
                  <a:pt x="1405204" y="3188627"/>
                </a:lnTo>
                <a:lnTo>
                  <a:pt x="1431607" y="3188627"/>
                </a:lnTo>
                <a:lnTo>
                  <a:pt x="1431607" y="3161881"/>
                </a:lnTo>
                <a:lnTo>
                  <a:pt x="1405204" y="3161881"/>
                </a:lnTo>
                <a:lnTo>
                  <a:pt x="1405204" y="3135478"/>
                </a:lnTo>
                <a:lnTo>
                  <a:pt x="1378458" y="3135478"/>
                </a:lnTo>
                <a:lnTo>
                  <a:pt x="1378458" y="3161881"/>
                </a:lnTo>
                <a:lnTo>
                  <a:pt x="1352055" y="3161881"/>
                </a:lnTo>
                <a:lnTo>
                  <a:pt x="1352055" y="3188627"/>
                </a:lnTo>
                <a:lnTo>
                  <a:pt x="1378458" y="3188627"/>
                </a:lnTo>
                <a:lnTo>
                  <a:pt x="1378458" y="3215030"/>
                </a:lnTo>
                <a:lnTo>
                  <a:pt x="1405204" y="3215030"/>
                </a:lnTo>
                <a:close/>
                <a:moveTo>
                  <a:pt x="1172718" y="803415"/>
                </a:moveTo>
                <a:lnTo>
                  <a:pt x="1172718" y="830161"/>
                </a:lnTo>
                <a:lnTo>
                  <a:pt x="1145972" y="830161"/>
                </a:lnTo>
                <a:lnTo>
                  <a:pt x="1145972" y="856907"/>
                </a:lnTo>
                <a:lnTo>
                  <a:pt x="1172718" y="856907"/>
                </a:lnTo>
                <a:lnTo>
                  <a:pt x="1172718" y="883653"/>
                </a:lnTo>
                <a:lnTo>
                  <a:pt x="1199464" y="883653"/>
                </a:lnTo>
                <a:lnTo>
                  <a:pt x="1199464" y="856907"/>
                </a:lnTo>
                <a:lnTo>
                  <a:pt x="1226210" y="856907"/>
                </a:lnTo>
                <a:lnTo>
                  <a:pt x="1226210" y="830161"/>
                </a:lnTo>
                <a:lnTo>
                  <a:pt x="1199464" y="830161"/>
                </a:lnTo>
                <a:lnTo>
                  <a:pt x="1199464" y="803415"/>
                </a:lnTo>
                <a:lnTo>
                  <a:pt x="1172718" y="803415"/>
                </a:lnTo>
                <a:close/>
                <a:moveTo>
                  <a:pt x="1241984" y="668312"/>
                </a:moveTo>
                <a:lnTo>
                  <a:pt x="1241984" y="693687"/>
                </a:lnTo>
                <a:lnTo>
                  <a:pt x="1216609" y="693687"/>
                </a:lnTo>
                <a:lnTo>
                  <a:pt x="1216609" y="719061"/>
                </a:lnTo>
                <a:lnTo>
                  <a:pt x="1241984" y="719061"/>
                </a:lnTo>
                <a:lnTo>
                  <a:pt x="1241984" y="744436"/>
                </a:lnTo>
                <a:lnTo>
                  <a:pt x="1267358" y="744436"/>
                </a:lnTo>
                <a:lnTo>
                  <a:pt x="1267358" y="719061"/>
                </a:lnTo>
                <a:lnTo>
                  <a:pt x="1292733" y="719061"/>
                </a:lnTo>
                <a:lnTo>
                  <a:pt x="1292733" y="693687"/>
                </a:lnTo>
                <a:lnTo>
                  <a:pt x="1267358" y="693687"/>
                </a:lnTo>
                <a:lnTo>
                  <a:pt x="1267358" y="668312"/>
                </a:lnTo>
                <a:lnTo>
                  <a:pt x="1241984" y="668312"/>
                </a:lnTo>
                <a:close/>
                <a:moveTo>
                  <a:pt x="1309192" y="801357"/>
                </a:moveTo>
                <a:lnTo>
                  <a:pt x="1309192" y="829475"/>
                </a:lnTo>
                <a:lnTo>
                  <a:pt x="1281074" y="829475"/>
                </a:lnTo>
                <a:lnTo>
                  <a:pt x="1281074" y="857593"/>
                </a:lnTo>
                <a:lnTo>
                  <a:pt x="1309192" y="857593"/>
                </a:lnTo>
                <a:lnTo>
                  <a:pt x="1309192" y="885711"/>
                </a:lnTo>
                <a:lnTo>
                  <a:pt x="1337310" y="885711"/>
                </a:lnTo>
                <a:lnTo>
                  <a:pt x="1337310" y="857593"/>
                </a:lnTo>
                <a:lnTo>
                  <a:pt x="1365428" y="857593"/>
                </a:lnTo>
                <a:lnTo>
                  <a:pt x="1365428" y="829475"/>
                </a:lnTo>
                <a:lnTo>
                  <a:pt x="1337310" y="829475"/>
                </a:lnTo>
                <a:lnTo>
                  <a:pt x="1337310" y="801357"/>
                </a:lnTo>
                <a:lnTo>
                  <a:pt x="1309192" y="801357"/>
                </a:lnTo>
                <a:close/>
                <a:moveTo>
                  <a:pt x="1103452" y="938517"/>
                </a:moveTo>
                <a:lnTo>
                  <a:pt x="1103452" y="966635"/>
                </a:lnTo>
                <a:lnTo>
                  <a:pt x="1075334" y="966635"/>
                </a:lnTo>
                <a:lnTo>
                  <a:pt x="1075334" y="994753"/>
                </a:lnTo>
                <a:lnTo>
                  <a:pt x="1103452" y="994753"/>
                </a:lnTo>
                <a:lnTo>
                  <a:pt x="1103452" y="1022871"/>
                </a:lnTo>
                <a:lnTo>
                  <a:pt x="1131570" y="1022871"/>
                </a:lnTo>
                <a:lnTo>
                  <a:pt x="1131570" y="994753"/>
                </a:lnTo>
                <a:lnTo>
                  <a:pt x="1159688" y="994753"/>
                </a:lnTo>
                <a:lnTo>
                  <a:pt x="1159688" y="966635"/>
                </a:lnTo>
                <a:lnTo>
                  <a:pt x="1131570" y="966635"/>
                </a:lnTo>
                <a:lnTo>
                  <a:pt x="1131570" y="938517"/>
                </a:lnTo>
                <a:lnTo>
                  <a:pt x="1103452" y="938517"/>
                </a:lnTo>
                <a:close/>
                <a:moveTo>
                  <a:pt x="581215" y="2389670"/>
                </a:moveTo>
                <a:lnTo>
                  <a:pt x="581215" y="2364638"/>
                </a:lnTo>
                <a:lnTo>
                  <a:pt x="606247" y="2364638"/>
                </a:lnTo>
                <a:lnTo>
                  <a:pt x="606247" y="2339950"/>
                </a:lnTo>
                <a:lnTo>
                  <a:pt x="581215" y="2339950"/>
                </a:lnTo>
                <a:lnTo>
                  <a:pt x="581215" y="2314918"/>
                </a:lnTo>
                <a:lnTo>
                  <a:pt x="556527" y="2314918"/>
                </a:lnTo>
                <a:lnTo>
                  <a:pt x="556527" y="2339950"/>
                </a:lnTo>
                <a:lnTo>
                  <a:pt x="531495" y="2339950"/>
                </a:lnTo>
                <a:lnTo>
                  <a:pt x="531495" y="2364638"/>
                </a:lnTo>
                <a:lnTo>
                  <a:pt x="556527" y="2364638"/>
                </a:lnTo>
                <a:lnTo>
                  <a:pt x="556527" y="2389670"/>
                </a:lnTo>
                <a:lnTo>
                  <a:pt x="581215" y="2389670"/>
                </a:lnTo>
                <a:close/>
                <a:moveTo>
                  <a:pt x="1036244" y="805472"/>
                </a:moveTo>
                <a:lnTo>
                  <a:pt x="1036244" y="830847"/>
                </a:lnTo>
                <a:lnTo>
                  <a:pt x="1010869" y="830847"/>
                </a:lnTo>
                <a:lnTo>
                  <a:pt x="1010869" y="856221"/>
                </a:lnTo>
                <a:lnTo>
                  <a:pt x="1036244" y="856221"/>
                </a:lnTo>
                <a:lnTo>
                  <a:pt x="1036244" y="881596"/>
                </a:lnTo>
                <a:lnTo>
                  <a:pt x="1061618" y="881596"/>
                </a:lnTo>
                <a:lnTo>
                  <a:pt x="1061618" y="856221"/>
                </a:lnTo>
                <a:lnTo>
                  <a:pt x="1086993" y="856221"/>
                </a:lnTo>
                <a:lnTo>
                  <a:pt x="1086993" y="830847"/>
                </a:lnTo>
                <a:lnTo>
                  <a:pt x="1061618" y="830847"/>
                </a:lnTo>
                <a:lnTo>
                  <a:pt x="1061618" y="805472"/>
                </a:lnTo>
                <a:lnTo>
                  <a:pt x="1036244" y="805472"/>
                </a:lnTo>
                <a:close/>
                <a:moveTo>
                  <a:pt x="1515275" y="665226"/>
                </a:moveTo>
                <a:lnTo>
                  <a:pt x="1515275" y="692658"/>
                </a:lnTo>
                <a:lnTo>
                  <a:pt x="1487843" y="692658"/>
                </a:lnTo>
                <a:lnTo>
                  <a:pt x="1487843" y="720090"/>
                </a:lnTo>
                <a:lnTo>
                  <a:pt x="1515275" y="720090"/>
                </a:lnTo>
                <a:lnTo>
                  <a:pt x="1515275" y="747522"/>
                </a:lnTo>
                <a:lnTo>
                  <a:pt x="1542707" y="747522"/>
                </a:lnTo>
                <a:lnTo>
                  <a:pt x="1542707" y="720090"/>
                </a:lnTo>
                <a:lnTo>
                  <a:pt x="1570139" y="720090"/>
                </a:lnTo>
                <a:lnTo>
                  <a:pt x="1570139" y="692658"/>
                </a:lnTo>
                <a:lnTo>
                  <a:pt x="1542707" y="692658"/>
                </a:lnTo>
                <a:lnTo>
                  <a:pt x="1542707" y="665226"/>
                </a:lnTo>
                <a:lnTo>
                  <a:pt x="1515275" y="665226"/>
                </a:lnTo>
                <a:close/>
                <a:moveTo>
                  <a:pt x="1650035" y="932688"/>
                </a:moveTo>
                <a:lnTo>
                  <a:pt x="1650035" y="964578"/>
                </a:lnTo>
                <a:lnTo>
                  <a:pt x="1618145" y="964578"/>
                </a:lnTo>
                <a:lnTo>
                  <a:pt x="1618145" y="996810"/>
                </a:lnTo>
                <a:lnTo>
                  <a:pt x="1650035" y="996810"/>
                </a:lnTo>
                <a:lnTo>
                  <a:pt x="1650035" y="1028700"/>
                </a:lnTo>
                <a:lnTo>
                  <a:pt x="1682267" y="1028700"/>
                </a:lnTo>
                <a:lnTo>
                  <a:pt x="1682267" y="996810"/>
                </a:lnTo>
                <a:lnTo>
                  <a:pt x="1714157" y="996810"/>
                </a:lnTo>
                <a:lnTo>
                  <a:pt x="1714157" y="964578"/>
                </a:lnTo>
                <a:lnTo>
                  <a:pt x="1682267" y="964578"/>
                </a:lnTo>
                <a:lnTo>
                  <a:pt x="1682267" y="932688"/>
                </a:lnTo>
                <a:lnTo>
                  <a:pt x="1650035" y="932688"/>
                </a:lnTo>
                <a:close/>
                <a:moveTo>
                  <a:pt x="1448067" y="532524"/>
                </a:moveTo>
                <a:lnTo>
                  <a:pt x="1448067" y="556870"/>
                </a:lnTo>
                <a:lnTo>
                  <a:pt x="1423721" y="556870"/>
                </a:lnTo>
                <a:lnTo>
                  <a:pt x="1423721" y="581558"/>
                </a:lnTo>
                <a:lnTo>
                  <a:pt x="1448067" y="581558"/>
                </a:lnTo>
                <a:lnTo>
                  <a:pt x="1448067" y="605904"/>
                </a:lnTo>
                <a:lnTo>
                  <a:pt x="1472755" y="605904"/>
                </a:lnTo>
                <a:lnTo>
                  <a:pt x="1472755" y="581558"/>
                </a:lnTo>
                <a:lnTo>
                  <a:pt x="1497101" y="581558"/>
                </a:lnTo>
                <a:lnTo>
                  <a:pt x="1497101" y="556870"/>
                </a:lnTo>
                <a:lnTo>
                  <a:pt x="1472755" y="556870"/>
                </a:lnTo>
                <a:lnTo>
                  <a:pt x="1472755" y="532524"/>
                </a:lnTo>
                <a:lnTo>
                  <a:pt x="1448067" y="532524"/>
                </a:lnTo>
                <a:close/>
                <a:moveTo>
                  <a:pt x="1378458" y="666598"/>
                </a:moveTo>
                <a:lnTo>
                  <a:pt x="1378458" y="693001"/>
                </a:lnTo>
                <a:lnTo>
                  <a:pt x="1352055" y="693001"/>
                </a:lnTo>
                <a:lnTo>
                  <a:pt x="1352055" y="719747"/>
                </a:lnTo>
                <a:lnTo>
                  <a:pt x="1378458" y="719747"/>
                </a:lnTo>
                <a:lnTo>
                  <a:pt x="1378458" y="746150"/>
                </a:lnTo>
                <a:lnTo>
                  <a:pt x="1405204" y="746150"/>
                </a:lnTo>
                <a:lnTo>
                  <a:pt x="1405204" y="719747"/>
                </a:lnTo>
                <a:lnTo>
                  <a:pt x="1431607" y="719747"/>
                </a:lnTo>
                <a:lnTo>
                  <a:pt x="1431607" y="693001"/>
                </a:lnTo>
                <a:lnTo>
                  <a:pt x="1405204" y="693001"/>
                </a:lnTo>
                <a:lnTo>
                  <a:pt x="1405204" y="666598"/>
                </a:lnTo>
                <a:lnTo>
                  <a:pt x="1378458" y="666598"/>
                </a:lnTo>
                <a:close/>
                <a:moveTo>
                  <a:pt x="967321" y="941261"/>
                </a:moveTo>
                <a:lnTo>
                  <a:pt x="967321" y="967664"/>
                </a:lnTo>
                <a:lnTo>
                  <a:pt x="940918" y="967664"/>
                </a:lnTo>
                <a:lnTo>
                  <a:pt x="940918" y="993724"/>
                </a:lnTo>
                <a:lnTo>
                  <a:pt x="967321" y="993724"/>
                </a:lnTo>
                <a:lnTo>
                  <a:pt x="967321" y="1020128"/>
                </a:lnTo>
                <a:lnTo>
                  <a:pt x="993381" y="1020128"/>
                </a:lnTo>
                <a:lnTo>
                  <a:pt x="993381" y="993724"/>
                </a:lnTo>
                <a:lnTo>
                  <a:pt x="1019785" y="993724"/>
                </a:lnTo>
                <a:lnTo>
                  <a:pt x="1019785" y="967664"/>
                </a:lnTo>
                <a:lnTo>
                  <a:pt x="993381" y="967664"/>
                </a:lnTo>
                <a:lnTo>
                  <a:pt x="993381" y="941261"/>
                </a:lnTo>
                <a:lnTo>
                  <a:pt x="967321" y="941261"/>
                </a:lnTo>
                <a:close/>
                <a:moveTo>
                  <a:pt x="556527" y="1491958"/>
                </a:moveTo>
                <a:lnTo>
                  <a:pt x="556527" y="1516990"/>
                </a:lnTo>
                <a:lnTo>
                  <a:pt x="531495" y="1516990"/>
                </a:lnTo>
                <a:lnTo>
                  <a:pt x="531495" y="1541678"/>
                </a:lnTo>
                <a:lnTo>
                  <a:pt x="556527" y="1541678"/>
                </a:lnTo>
                <a:lnTo>
                  <a:pt x="556527" y="1566710"/>
                </a:lnTo>
                <a:lnTo>
                  <a:pt x="581215" y="1566710"/>
                </a:lnTo>
                <a:lnTo>
                  <a:pt x="581215" y="1541678"/>
                </a:lnTo>
                <a:lnTo>
                  <a:pt x="606247" y="1541678"/>
                </a:lnTo>
                <a:lnTo>
                  <a:pt x="606247" y="1516990"/>
                </a:lnTo>
                <a:lnTo>
                  <a:pt x="581215" y="1516990"/>
                </a:lnTo>
                <a:lnTo>
                  <a:pt x="581215" y="1491958"/>
                </a:lnTo>
                <a:lnTo>
                  <a:pt x="556527" y="1491958"/>
                </a:lnTo>
                <a:close/>
                <a:moveTo>
                  <a:pt x="512635" y="1977847"/>
                </a:moveTo>
                <a:lnTo>
                  <a:pt x="512635" y="1953158"/>
                </a:lnTo>
                <a:lnTo>
                  <a:pt x="537324" y="1953158"/>
                </a:lnTo>
                <a:lnTo>
                  <a:pt x="537324" y="1928470"/>
                </a:lnTo>
                <a:lnTo>
                  <a:pt x="512635" y="1928470"/>
                </a:lnTo>
                <a:lnTo>
                  <a:pt x="512635" y="1903781"/>
                </a:lnTo>
                <a:lnTo>
                  <a:pt x="487947" y="1903781"/>
                </a:lnTo>
                <a:lnTo>
                  <a:pt x="487947" y="1928470"/>
                </a:lnTo>
                <a:lnTo>
                  <a:pt x="463258" y="1928470"/>
                </a:lnTo>
                <a:lnTo>
                  <a:pt x="463258" y="1953158"/>
                </a:lnTo>
                <a:lnTo>
                  <a:pt x="487947" y="1953158"/>
                </a:lnTo>
                <a:lnTo>
                  <a:pt x="487947" y="1977847"/>
                </a:lnTo>
                <a:lnTo>
                  <a:pt x="512635" y="1977847"/>
                </a:lnTo>
                <a:close/>
                <a:moveTo>
                  <a:pt x="898055" y="1077049"/>
                </a:moveTo>
                <a:lnTo>
                  <a:pt x="898055" y="1104138"/>
                </a:lnTo>
                <a:lnTo>
                  <a:pt x="870966" y="1104138"/>
                </a:lnTo>
                <a:lnTo>
                  <a:pt x="870966" y="1131570"/>
                </a:lnTo>
                <a:lnTo>
                  <a:pt x="898055" y="1131570"/>
                </a:lnTo>
                <a:lnTo>
                  <a:pt x="898055" y="1158659"/>
                </a:lnTo>
                <a:lnTo>
                  <a:pt x="925487" y="1158659"/>
                </a:lnTo>
                <a:lnTo>
                  <a:pt x="925487" y="1131570"/>
                </a:lnTo>
                <a:lnTo>
                  <a:pt x="952576" y="1131570"/>
                </a:lnTo>
                <a:lnTo>
                  <a:pt x="952576" y="1104138"/>
                </a:lnTo>
                <a:lnTo>
                  <a:pt x="925487" y="1104138"/>
                </a:lnTo>
                <a:lnTo>
                  <a:pt x="925487" y="1077049"/>
                </a:lnTo>
                <a:lnTo>
                  <a:pt x="898055" y="1077049"/>
                </a:lnTo>
                <a:close/>
                <a:moveTo>
                  <a:pt x="512293" y="2251481"/>
                </a:moveTo>
                <a:lnTo>
                  <a:pt x="512293" y="2227136"/>
                </a:lnTo>
                <a:lnTo>
                  <a:pt x="536638" y="2227136"/>
                </a:lnTo>
                <a:lnTo>
                  <a:pt x="536638" y="2203133"/>
                </a:lnTo>
                <a:lnTo>
                  <a:pt x="512293" y="2203133"/>
                </a:lnTo>
                <a:lnTo>
                  <a:pt x="512293" y="2178787"/>
                </a:lnTo>
                <a:lnTo>
                  <a:pt x="488290" y="2178787"/>
                </a:lnTo>
                <a:lnTo>
                  <a:pt x="488290" y="2203133"/>
                </a:lnTo>
                <a:lnTo>
                  <a:pt x="463944" y="2203133"/>
                </a:lnTo>
                <a:lnTo>
                  <a:pt x="463944" y="2227136"/>
                </a:lnTo>
                <a:lnTo>
                  <a:pt x="488290" y="2227136"/>
                </a:lnTo>
                <a:lnTo>
                  <a:pt x="488290" y="2251481"/>
                </a:lnTo>
                <a:lnTo>
                  <a:pt x="512293" y="2251481"/>
                </a:lnTo>
                <a:close/>
                <a:moveTo>
                  <a:pt x="488290" y="1630147"/>
                </a:moveTo>
                <a:lnTo>
                  <a:pt x="488290" y="1654493"/>
                </a:lnTo>
                <a:lnTo>
                  <a:pt x="463944" y="1654493"/>
                </a:lnTo>
                <a:lnTo>
                  <a:pt x="463944" y="1678496"/>
                </a:lnTo>
                <a:lnTo>
                  <a:pt x="488290" y="1678496"/>
                </a:lnTo>
                <a:lnTo>
                  <a:pt x="488290" y="1702841"/>
                </a:lnTo>
                <a:lnTo>
                  <a:pt x="512293" y="1702841"/>
                </a:lnTo>
                <a:lnTo>
                  <a:pt x="512293" y="1678496"/>
                </a:lnTo>
                <a:lnTo>
                  <a:pt x="536638" y="1678496"/>
                </a:lnTo>
                <a:lnTo>
                  <a:pt x="536638" y="1654493"/>
                </a:lnTo>
                <a:lnTo>
                  <a:pt x="512293" y="1654493"/>
                </a:lnTo>
                <a:lnTo>
                  <a:pt x="512293" y="1630147"/>
                </a:lnTo>
                <a:lnTo>
                  <a:pt x="488290" y="1630147"/>
                </a:lnTo>
                <a:close/>
                <a:moveTo>
                  <a:pt x="830847" y="944004"/>
                </a:moveTo>
                <a:lnTo>
                  <a:pt x="830847" y="968350"/>
                </a:lnTo>
                <a:lnTo>
                  <a:pt x="806501" y="968350"/>
                </a:lnTo>
                <a:lnTo>
                  <a:pt x="806501" y="993038"/>
                </a:lnTo>
                <a:lnTo>
                  <a:pt x="830847" y="993038"/>
                </a:lnTo>
                <a:lnTo>
                  <a:pt x="830847" y="1017384"/>
                </a:lnTo>
                <a:lnTo>
                  <a:pt x="855535" y="1017384"/>
                </a:lnTo>
                <a:lnTo>
                  <a:pt x="855535" y="993038"/>
                </a:lnTo>
                <a:lnTo>
                  <a:pt x="879881" y="993038"/>
                </a:lnTo>
                <a:lnTo>
                  <a:pt x="879881" y="968350"/>
                </a:lnTo>
                <a:lnTo>
                  <a:pt x="855535" y="968350"/>
                </a:lnTo>
                <a:lnTo>
                  <a:pt x="855535" y="944004"/>
                </a:lnTo>
                <a:lnTo>
                  <a:pt x="830847" y="944004"/>
                </a:lnTo>
                <a:close/>
                <a:moveTo>
                  <a:pt x="761924" y="1080135"/>
                </a:moveTo>
                <a:lnTo>
                  <a:pt x="761924" y="1105167"/>
                </a:lnTo>
                <a:lnTo>
                  <a:pt x="736892" y="1105167"/>
                </a:lnTo>
                <a:lnTo>
                  <a:pt x="736892" y="1130541"/>
                </a:lnTo>
                <a:lnTo>
                  <a:pt x="761924" y="1130541"/>
                </a:lnTo>
                <a:lnTo>
                  <a:pt x="761924" y="1155573"/>
                </a:lnTo>
                <a:lnTo>
                  <a:pt x="787298" y="1155573"/>
                </a:lnTo>
                <a:lnTo>
                  <a:pt x="787298" y="1130541"/>
                </a:lnTo>
                <a:lnTo>
                  <a:pt x="812330" y="1130541"/>
                </a:lnTo>
                <a:lnTo>
                  <a:pt x="812330" y="1105167"/>
                </a:lnTo>
                <a:lnTo>
                  <a:pt x="787298" y="1105167"/>
                </a:lnTo>
                <a:lnTo>
                  <a:pt x="787298" y="1080135"/>
                </a:lnTo>
                <a:lnTo>
                  <a:pt x="761924" y="1080135"/>
                </a:lnTo>
                <a:close/>
                <a:moveTo>
                  <a:pt x="624764" y="1354112"/>
                </a:moveTo>
                <a:lnTo>
                  <a:pt x="624764" y="1379487"/>
                </a:lnTo>
                <a:lnTo>
                  <a:pt x="599389" y="1379487"/>
                </a:lnTo>
                <a:lnTo>
                  <a:pt x="599389" y="1404861"/>
                </a:lnTo>
                <a:lnTo>
                  <a:pt x="624764" y="1404861"/>
                </a:lnTo>
                <a:lnTo>
                  <a:pt x="624764" y="1430236"/>
                </a:lnTo>
                <a:lnTo>
                  <a:pt x="650138" y="1430236"/>
                </a:lnTo>
                <a:lnTo>
                  <a:pt x="650138" y="1404861"/>
                </a:lnTo>
                <a:lnTo>
                  <a:pt x="675513" y="1404861"/>
                </a:lnTo>
                <a:lnTo>
                  <a:pt x="675513" y="1379487"/>
                </a:lnTo>
                <a:lnTo>
                  <a:pt x="650138" y="1379487"/>
                </a:lnTo>
                <a:lnTo>
                  <a:pt x="650138" y="1354112"/>
                </a:lnTo>
                <a:lnTo>
                  <a:pt x="624764" y="1354112"/>
                </a:lnTo>
                <a:close/>
                <a:moveTo>
                  <a:pt x="693344" y="1216952"/>
                </a:moveTo>
                <a:lnTo>
                  <a:pt x="693344" y="1242327"/>
                </a:lnTo>
                <a:lnTo>
                  <a:pt x="667969" y="1242327"/>
                </a:lnTo>
                <a:lnTo>
                  <a:pt x="667969" y="1267701"/>
                </a:lnTo>
                <a:lnTo>
                  <a:pt x="693344" y="1267701"/>
                </a:lnTo>
                <a:lnTo>
                  <a:pt x="693344" y="1293076"/>
                </a:lnTo>
                <a:lnTo>
                  <a:pt x="718718" y="1293076"/>
                </a:lnTo>
                <a:lnTo>
                  <a:pt x="718718" y="1267701"/>
                </a:lnTo>
                <a:lnTo>
                  <a:pt x="744093" y="1267701"/>
                </a:lnTo>
                <a:lnTo>
                  <a:pt x="744093" y="1242327"/>
                </a:lnTo>
                <a:lnTo>
                  <a:pt x="718718" y="1242327"/>
                </a:lnTo>
                <a:lnTo>
                  <a:pt x="718718" y="1216952"/>
                </a:lnTo>
                <a:lnTo>
                  <a:pt x="693344" y="1216952"/>
                </a:lnTo>
                <a:close/>
                <a:moveTo>
                  <a:pt x="3577819" y="1280732"/>
                </a:moveTo>
                <a:lnTo>
                  <a:pt x="3594964" y="1280732"/>
                </a:lnTo>
                <a:lnTo>
                  <a:pt x="3594964" y="1263587"/>
                </a:lnTo>
                <a:lnTo>
                  <a:pt x="3612109" y="1263587"/>
                </a:lnTo>
                <a:lnTo>
                  <a:pt x="3612109" y="1246442"/>
                </a:lnTo>
                <a:lnTo>
                  <a:pt x="3594964" y="1246442"/>
                </a:lnTo>
                <a:lnTo>
                  <a:pt x="3594964" y="1229297"/>
                </a:lnTo>
                <a:lnTo>
                  <a:pt x="3577819" y="1229297"/>
                </a:lnTo>
                <a:lnTo>
                  <a:pt x="3577819" y="1246442"/>
                </a:lnTo>
                <a:lnTo>
                  <a:pt x="3560674" y="1246442"/>
                </a:lnTo>
                <a:lnTo>
                  <a:pt x="3560674" y="1263587"/>
                </a:lnTo>
                <a:lnTo>
                  <a:pt x="3577819" y="1263587"/>
                </a:lnTo>
                <a:lnTo>
                  <a:pt x="3577819" y="1280732"/>
                </a:lnTo>
                <a:close/>
                <a:moveTo>
                  <a:pt x="3507867" y="1421663"/>
                </a:moveTo>
                <a:lnTo>
                  <a:pt x="3527755" y="1421663"/>
                </a:lnTo>
                <a:lnTo>
                  <a:pt x="3527755" y="1402118"/>
                </a:lnTo>
                <a:lnTo>
                  <a:pt x="3547301" y="1402118"/>
                </a:lnTo>
                <a:lnTo>
                  <a:pt x="3547301" y="1382230"/>
                </a:lnTo>
                <a:lnTo>
                  <a:pt x="3527755" y="1382230"/>
                </a:lnTo>
                <a:lnTo>
                  <a:pt x="3527755" y="1362685"/>
                </a:lnTo>
                <a:lnTo>
                  <a:pt x="3507867" y="1362685"/>
                </a:lnTo>
                <a:lnTo>
                  <a:pt x="3507867" y="1382230"/>
                </a:lnTo>
                <a:lnTo>
                  <a:pt x="3488322" y="1382230"/>
                </a:lnTo>
                <a:lnTo>
                  <a:pt x="3488322" y="1402118"/>
                </a:lnTo>
                <a:lnTo>
                  <a:pt x="3507867" y="1402118"/>
                </a:lnTo>
                <a:lnTo>
                  <a:pt x="3507867" y="1421663"/>
                </a:lnTo>
                <a:close/>
                <a:moveTo>
                  <a:pt x="3509239" y="1143572"/>
                </a:moveTo>
                <a:lnTo>
                  <a:pt x="3526384" y="1143572"/>
                </a:lnTo>
                <a:lnTo>
                  <a:pt x="3526384" y="1126427"/>
                </a:lnTo>
                <a:lnTo>
                  <a:pt x="3543529" y="1126427"/>
                </a:lnTo>
                <a:lnTo>
                  <a:pt x="3543529" y="1109282"/>
                </a:lnTo>
                <a:lnTo>
                  <a:pt x="3526384" y="1109282"/>
                </a:lnTo>
                <a:lnTo>
                  <a:pt x="3526384" y="1092137"/>
                </a:lnTo>
                <a:lnTo>
                  <a:pt x="3509239" y="1092137"/>
                </a:lnTo>
                <a:lnTo>
                  <a:pt x="3509239" y="1109282"/>
                </a:lnTo>
                <a:lnTo>
                  <a:pt x="3492094" y="1109282"/>
                </a:lnTo>
                <a:lnTo>
                  <a:pt x="3492094" y="1126427"/>
                </a:lnTo>
                <a:lnTo>
                  <a:pt x="3509239" y="1126427"/>
                </a:lnTo>
                <a:lnTo>
                  <a:pt x="3509239" y="1143572"/>
                </a:lnTo>
                <a:close/>
                <a:moveTo>
                  <a:pt x="3510953" y="864108"/>
                </a:moveTo>
                <a:lnTo>
                  <a:pt x="3524669" y="864108"/>
                </a:lnTo>
                <a:lnTo>
                  <a:pt x="3524669" y="850392"/>
                </a:lnTo>
                <a:lnTo>
                  <a:pt x="3538385" y="850392"/>
                </a:lnTo>
                <a:lnTo>
                  <a:pt x="3538385" y="836676"/>
                </a:lnTo>
                <a:lnTo>
                  <a:pt x="3524669" y="836676"/>
                </a:lnTo>
                <a:lnTo>
                  <a:pt x="3524669" y="822960"/>
                </a:lnTo>
                <a:lnTo>
                  <a:pt x="3510953" y="822960"/>
                </a:lnTo>
                <a:lnTo>
                  <a:pt x="3510953" y="836676"/>
                </a:lnTo>
                <a:lnTo>
                  <a:pt x="3497237" y="836676"/>
                </a:lnTo>
                <a:lnTo>
                  <a:pt x="3497237" y="850392"/>
                </a:lnTo>
                <a:lnTo>
                  <a:pt x="3510953" y="850392"/>
                </a:lnTo>
                <a:lnTo>
                  <a:pt x="3510953" y="864108"/>
                </a:lnTo>
                <a:close/>
                <a:moveTo>
                  <a:pt x="3507181" y="1698384"/>
                </a:moveTo>
                <a:lnTo>
                  <a:pt x="3528441" y="1698384"/>
                </a:lnTo>
                <a:lnTo>
                  <a:pt x="3528441" y="1677124"/>
                </a:lnTo>
                <a:lnTo>
                  <a:pt x="3549701" y="1677124"/>
                </a:lnTo>
                <a:lnTo>
                  <a:pt x="3549701" y="1655864"/>
                </a:lnTo>
                <a:lnTo>
                  <a:pt x="3528441" y="1655864"/>
                </a:lnTo>
                <a:lnTo>
                  <a:pt x="3528441" y="1634604"/>
                </a:lnTo>
                <a:lnTo>
                  <a:pt x="3507181" y="1634604"/>
                </a:lnTo>
                <a:lnTo>
                  <a:pt x="3507181" y="1655864"/>
                </a:lnTo>
                <a:lnTo>
                  <a:pt x="3485921" y="1655864"/>
                </a:lnTo>
                <a:lnTo>
                  <a:pt x="3485921" y="1677124"/>
                </a:lnTo>
                <a:lnTo>
                  <a:pt x="3507181" y="1677124"/>
                </a:lnTo>
                <a:lnTo>
                  <a:pt x="3507181" y="1698384"/>
                </a:lnTo>
                <a:close/>
                <a:moveTo>
                  <a:pt x="1652092" y="664540"/>
                </a:moveTo>
                <a:lnTo>
                  <a:pt x="1652092" y="692315"/>
                </a:lnTo>
                <a:lnTo>
                  <a:pt x="1624317" y="692315"/>
                </a:lnTo>
                <a:lnTo>
                  <a:pt x="1624317" y="720433"/>
                </a:lnTo>
                <a:lnTo>
                  <a:pt x="1652092" y="720433"/>
                </a:lnTo>
                <a:lnTo>
                  <a:pt x="1652092" y="748208"/>
                </a:lnTo>
                <a:lnTo>
                  <a:pt x="1680210" y="748208"/>
                </a:lnTo>
                <a:lnTo>
                  <a:pt x="1680210" y="720433"/>
                </a:lnTo>
                <a:lnTo>
                  <a:pt x="1707985" y="720433"/>
                </a:lnTo>
                <a:lnTo>
                  <a:pt x="1707985" y="692315"/>
                </a:lnTo>
                <a:lnTo>
                  <a:pt x="1680210" y="692315"/>
                </a:lnTo>
                <a:lnTo>
                  <a:pt x="1680210" y="664540"/>
                </a:lnTo>
                <a:lnTo>
                  <a:pt x="1652092" y="664540"/>
                </a:lnTo>
                <a:close/>
                <a:moveTo>
                  <a:pt x="3576790" y="1557795"/>
                </a:moveTo>
                <a:lnTo>
                  <a:pt x="3595993" y="1557795"/>
                </a:lnTo>
                <a:lnTo>
                  <a:pt x="3595993" y="1538935"/>
                </a:lnTo>
                <a:lnTo>
                  <a:pt x="3614852" y="1538935"/>
                </a:lnTo>
                <a:lnTo>
                  <a:pt x="3614852" y="1519733"/>
                </a:lnTo>
                <a:lnTo>
                  <a:pt x="3595993" y="1519733"/>
                </a:lnTo>
                <a:lnTo>
                  <a:pt x="3595993" y="1500873"/>
                </a:lnTo>
                <a:lnTo>
                  <a:pt x="3576790" y="1500873"/>
                </a:lnTo>
                <a:lnTo>
                  <a:pt x="3576790" y="1519733"/>
                </a:lnTo>
                <a:lnTo>
                  <a:pt x="3557930" y="1519733"/>
                </a:lnTo>
                <a:lnTo>
                  <a:pt x="3557930" y="1538935"/>
                </a:lnTo>
                <a:lnTo>
                  <a:pt x="3576790" y="1538935"/>
                </a:lnTo>
                <a:lnTo>
                  <a:pt x="3576790" y="1557795"/>
                </a:lnTo>
                <a:close/>
                <a:moveTo>
                  <a:pt x="3439287" y="1284846"/>
                </a:moveTo>
                <a:lnTo>
                  <a:pt x="3459175" y="1284846"/>
                </a:lnTo>
                <a:lnTo>
                  <a:pt x="3459175" y="1264958"/>
                </a:lnTo>
                <a:lnTo>
                  <a:pt x="3479063" y="1264958"/>
                </a:lnTo>
                <a:lnTo>
                  <a:pt x="3479063" y="1245070"/>
                </a:lnTo>
                <a:lnTo>
                  <a:pt x="3459175" y="1245070"/>
                </a:lnTo>
                <a:lnTo>
                  <a:pt x="3459175" y="1225182"/>
                </a:lnTo>
                <a:lnTo>
                  <a:pt x="3439287" y="1225182"/>
                </a:lnTo>
                <a:lnTo>
                  <a:pt x="3439287" y="1245070"/>
                </a:lnTo>
                <a:lnTo>
                  <a:pt x="3419399" y="1245070"/>
                </a:lnTo>
                <a:lnTo>
                  <a:pt x="3419399" y="1264958"/>
                </a:lnTo>
                <a:lnTo>
                  <a:pt x="3439287" y="1264958"/>
                </a:lnTo>
                <a:lnTo>
                  <a:pt x="3439287" y="1284846"/>
                </a:lnTo>
                <a:close/>
                <a:moveTo>
                  <a:pt x="3438259" y="1562595"/>
                </a:moveTo>
                <a:lnTo>
                  <a:pt x="3460204" y="1562595"/>
                </a:lnTo>
                <a:lnTo>
                  <a:pt x="3460204" y="1540307"/>
                </a:lnTo>
                <a:lnTo>
                  <a:pt x="3482492" y="1540307"/>
                </a:lnTo>
                <a:lnTo>
                  <a:pt x="3482492" y="1518361"/>
                </a:lnTo>
                <a:lnTo>
                  <a:pt x="3460204" y="1518361"/>
                </a:lnTo>
                <a:lnTo>
                  <a:pt x="3460204" y="1496073"/>
                </a:lnTo>
                <a:lnTo>
                  <a:pt x="3438259" y="1496073"/>
                </a:lnTo>
                <a:lnTo>
                  <a:pt x="3438259" y="1518361"/>
                </a:lnTo>
                <a:lnTo>
                  <a:pt x="3415970" y="1518361"/>
                </a:lnTo>
                <a:lnTo>
                  <a:pt x="3415970" y="1540307"/>
                </a:lnTo>
                <a:lnTo>
                  <a:pt x="3438259" y="1540307"/>
                </a:lnTo>
                <a:lnTo>
                  <a:pt x="3438259" y="1562595"/>
                </a:lnTo>
                <a:close/>
                <a:moveTo>
                  <a:pt x="3442716" y="725576"/>
                </a:moveTo>
                <a:lnTo>
                  <a:pt x="3455746" y="725576"/>
                </a:lnTo>
                <a:lnTo>
                  <a:pt x="3455746" y="712889"/>
                </a:lnTo>
                <a:lnTo>
                  <a:pt x="3468434" y="712889"/>
                </a:lnTo>
                <a:lnTo>
                  <a:pt x="3468434" y="699859"/>
                </a:lnTo>
                <a:lnTo>
                  <a:pt x="3455746" y="699859"/>
                </a:lnTo>
                <a:lnTo>
                  <a:pt x="3455746" y="687172"/>
                </a:lnTo>
                <a:lnTo>
                  <a:pt x="3442716" y="687172"/>
                </a:lnTo>
                <a:lnTo>
                  <a:pt x="3442716" y="699859"/>
                </a:lnTo>
                <a:lnTo>
                  <a:pt x="3430029" y="699859"/>
                </a:lnTo>
                <a:lnTo>
                  <a:pt x="3430029" y="712889"/>
                </a:lnTo>
                <a:lnTo>
                  <a:pt x="3442716" y="712889"/>
                </a:lnTo>
                <a:lnTo>
                  <a:pt x="3442716" y="725576"/>
                </a:lnTo>
                <a:close/>
                <a:moveTo>
                  <a:pt x="3440659" y="1006069"/>
                </a:moveTo>
                <a:lnTo>
                  <a:pt x="3457804" y="1006069"/>
                </a:lnTo>
                <a:lnTo>
                  <a:pt x="3457804" y="989267"/>
                </a:lnTo>
                <a:lnTo>
                  <a:pt x="3474606" y="989267"/>
                </a:lnTo>
                <a:lnTo>
                  <a:pt x="3474606" y="972122"/>
                </a:lnTo>
                <a:lnTo>
                  <a:pt x="3457804" y="972122"/>
                </a:lnTo>
                <a:lnTo>
                  <a:pt x="3457804" y="955319"/>
                </a:lnTo>
                <a:lnTo>
                  <a:pt x="3440659" y="955319"/>
                </a:lnTo>
                <a:lnTo>
                  <a:pt x="3440659" y="972122"/>
                </a:lnTo>
                <a:lnTo>
                  <a:pt x="3423857" y="972122"/>
                </a:lnTo>
                <a:lnTo>
                  <a:pt x="3423857" y="989267"/>
                </a:lnTo>
                <a:lnTo>
                  <a:pt x="3440659" y="989267"/>
                </a:lnTo>
                <a:lnTo>
                  <a:pt x="3440659" y="1006069"/>
                </a:lnTo>
                <a:close/>
                <a:moveTo>
                  <a:pt x="3579533" y="1001611"/>
                </a:moveTo>
                <a:lnTo>
                  <a:pt x="3593249" y="1001611"/>
                </a:lnTo>
                <a:lnTo>
                  <a:pt x="3593249" y="987552"/>
                </a:lnTo>
                <a:lnTo>
                  <a:pt x="3607308" y="987552"/>
                </a:lnTo>
                <a:lnTo>
                  <a:pt x="3607308" y="973836"/>
                </a:lnTo>
                <a:lnTo>
                  <a:pt x="3593249" y="973836"/>
                </a:lnTo>
                <a:lnTo>
                  <a:pt x="3593249" y="959777"/>
                </a:lnTo>
                <a:lnTo>
                  <a:pt x="3579533" y="959777"/>
                </a:lnTo>
                <a:lnTo>
                  <a:pt x="3579533" y="973836"/>
                </a:lnTo>
                <a:lnTo>
                  <a:pt x="3565474" y="973836"/>
                </a:lnTo>
                <a:lnTo>
                  <a:pt x="3565474" y="987552"/>
                </a:lnTo>
                <a:lnTo>
                  <a:pt x="3579533" y="987552"/>
                </a:lnTo>
                <a:lnTo>
                  <a:pt x="3579533" y="1001611"/>
                </a:lnTo>
                <a:close/>
                <a:moveTo>
                  <a:pt x="3368307" y="1903781"/>
                </a:moveTo>
                <a:lnTo>
                  <a:pt x="3368307" y="1928470"/>
                </a:lnTo>
                <a:lnTo>
                  <a:pt x="3343618" y="1928470"/>
                </a:lnTo>
                <a:lnTo>
                  <a:pt x="3343618" y="1953158"/>
                </a:lnTo>
                <a:lnTo>
                  <a:pt x="3368307" y="1953158"/>
                </a:lnTo>
                <a:lnTo>
                  <a:pt x="3368307" y="1977847"/>
                </a:lnTo>
                <a:lnTo>
                  <a:pt x="3392996" y="1977847"/>
                </a:lnTo>
                <a:lnTo>
                  <a:pt x="3392996" y="1953158"/>
                </a:lnTo>
                <a:lnTo>
                  <a:pt x="3417685" y="1953158"/>
                </a:lnTo>
                <a:lnTo>
                  <a:pt x="3417685" y="1928470"/>
                </a:lnTo>
                <a:lnTo>
                  <a:pt x="3392996" y="1928470"/>
                </a:lnTo>
                <a:lnTo>
                  <a:pt x="3392996" y="1903781"/>
                </a:lnTo>
                <a:lnTo>
                  <a:pt x="3368307" y="1903781"/>
                </a:lnTo>
                <a:close/>
                <a:moveTo>
                  <a:pt x="3716693" y="1275931"/>
                </a:moveTo>
                <a:lnTo>
                  <a:pt x="3730409" y="1275931"/>
                </a:lnTo>
                <a:lnTo>
                  <a:pt x="3730409" y="1261872"/>
                </a:lnTo>
                <a:lnTo>
                  <a:pt x="3744468" y="1261872"/>
                </a:lnTo>
                <a:lnTo>
                  <a:pt x="3744468" y="1248156"/>
                </a:lnTo>
                <a:lnTo>
                  <a:pt x="3730409" y="1248156"/>
                </a:lnTo>
                <a:lnTo>
                  <a:pt x="3730409" y="1234097"/>
                </a:lnTo>
                <a:lnTo>
                  <a:pt x="3716693" y="1234097"/>
                </a:lnTo>
                <a:lnTo>
                  <a:pt x="3716693" y="1248156"/>
                </a:lnTo>
                <a:lnTo>
                  <a:pt x="3702634" y="1248156"/>
                </a:lnTo>
                <a:lnTo>
                  <a:pt x="3702634" y="1261872"/>
                </a:lnTo>
                <a:lnTo>
                  <a:pt x="3716693" y="1261872"/>
                </a:lnTo>
                <a:lnTo>
                  <a:pt x="3716693" y="1275931"/>
                </a:lnTo>
                <a:close/>
                <a:moveTo>
                  <a:pt x="3784588" y="1688783"/>
                </a:moveTo>
                <a:lnTo>
                  <a:pt x="3799675" y="1688783"/>
                </a:lnTo>
                <a:lnTo>
                  <a:pt x="3799675" y="1674038"/>
                </a:lnTo>
                <a:lnTo>
                  <a:pt x="3814420" y="1674038"/>
                </a:lnTo>
                <a:lnTo>
                  <a:pt x="3814420" y="1658950"/>
                </a:lnTo>
                <a:lnTo>
                  <a:pt x="3799675" y="1658950"/>
                </a:lnTo>
                <a:lnTo>
                  <a:pt x="3799675" y="1644206"/>
                </a:lnTo>
                <a:lnTo>
                  <a:pt x="3784588" y="1644206"/>
                </a:lnTo>
                <a:lnTo>
                  <a:pt x="3784588" y="1658950"/>
                </a:lnTo>
                <a:lnTo>
                  <a:pt x="3769843" y="1658950"/>
                </a:lnTo>
                <a:lnTo>
                  <a:pt x="3769843" y="1674038"/>
                </a:lnTo>
                <a:lnTo>
                  <a:pt x="3784588" y="1674038"/>
                </a:lnTo>
                <a:lnTo>
                  <a:pt x="3784588" y="1688783"/>
                </a:lnTo>
                <a:close/>
                <a:moveTo>
                  <a:pt x="3854539" y="1548194"/>
                </a:moveTo>
                <a:lnTo>
                  <a:pt x="3866884" y="1548194"/>
                </a:lnTo>
                <a:lnTo>
                  <a:pt x="3866884" y="1535506"/>
                </a:lnTo>
                <a:lnTo>
                  <a:pt x="3879571" y="1535506"/>
                </a:lnTo>
                <a:lnTo>
                  <a:pt x="3879571" y="1523162"/>
                </a:lnTo>
                <a:lnTo>
                  <a:pt x="3866884" y="1523162"/>
                </a:lnTo>
                <a:lnTo>
                  <a:pt x="3866884" y="1510475"/>
                </a:lnTo>
                <a:lnTo>
                  <a:pt x="3854539" y="1510475"/>
                </a:lnTo>
                <a:lnTo>
                  <a:pt x="3854539" y="1523162"/>
                </a:lnTo>
                <a:lnTo>
                  <a:pt x="3841852" y="1523162"/>
                </a:lnTo>
                <a:lnTo>
                  <a:pt x="3841852" y="1535506"/>
                </a:lnTo>
                <a:lnTo>
                  <a:pt x="3854539" y="1535506"/>
                </a:lnTo>
                <a:lnTo>
                  <a:pt x="3854539" y="1548194"/>
                </a:lnTo>
                <a:close/>
                <a:moveTo>
                  <a:pt x="2091690" y="3217774"/>
                </a:moveTo>
                <a:lnTo>
                  <a:pt x="2091690" y="3189313"/>
                </a:lnTo>
                <a:lnTo>
                  <a:pt x="2120151" y="3189313"/>
                </a:lnTo>
                <a:lnTo>
                  <a:pt x="2120151" y="3161195"/>
                </a:lnTo>
                <a:lnTo>
                  <a:pt x="2091690" y="3161195"/>
                </a:lnTo>
                <a:lnTo>
                  <a:pt x="2091690" y="3132734"/>
                </a:lnTo>
                <a:lnTo>
                  <a:pt x="2063572" y="3132734"/>
                </a:lnTo>
                <a:lnTo>
                  <a:pt x="2063572" y="3161195"/>
                </a:lnTo>
                <a:lnTo>
                  <a:pt x="2035111" y="3161195"/>
                </a:lnTo>
                <a:lnTo>
                  <a:pt x="2035111" y="3189313"/>
                </a:lnTo>
                <a:lnTo>
                  <a:pt x="2063572" y="3189313"/>
                </a:lnTo>
                <a:lnTo>
                  <a:pt x="2063572" y="3217774"/>
                </a:lnTo>
                <a:lnTo>
                  <a:pt x="2091690" y="3217774"/>
                </a:lnTo>
                <a:close/>
                <a:moveTo>
                  <a:pt x="3645713" y="1693926"/>
                </a:moveTo>
                <a:lnTo>
                  <a:pt x="3664229" y="1693926"/>
                </a:lnTo>
                <a:lnTo>
                  <a:pt x="3664229" y="1675752"/>
                </a:lnTo>
                <a:lnTo>
                  <a:pt x="3682403" y="1675752"/>
                </a:lnTo>
                <a:lnTo>
                  <a:pt x="3682403" y="1657236"/>
                </a:lnTo>
                <a:lnTo>
                  <a:pt x="3664229" y="1657236"/>
                </a:lnTo>
                <a:lnTo>
                  <a:pt x="3664229" y="1639062"/>
                </a:lnTo>
                <a:lnTo>
                  <a:pt x="3645713" y="1639062"/>
                </a:lnTo>
                <a:lnTo>
                  <a:pt x="3645713" y="1657236"/>
                </a:lnTo>
                <a:lnTo>
                  <a:pt x="3627539" y="1657236"/>
                </a:lnTo>
                <a:lnTo>
                  <a:pt x="3627539" y="1675752"/>
                </a:lnTo>
                <a:lnTo>
                  <a:pt x="3645713" y="1675752"/>
                </a:lnTo>
                <a:lnTo>
                  <a:pt x="3645713" y="1693926"/>
                </a:lnTo>
                <a:close/>
                <a:moveTo>
                  <a:pt x="3646742" y="1417206"/>
                </a:moveTo>
                <a:lnTo>
                  <a:pt x="3663201" y="1417206"/>
                </a:lnTo>
                <a:lnTo>
                  <a:pt x="3663201" y="1400404"/>
                </a:lnTo>
                <a:lnTo>
                  <a:pt x="3680003" y="1400404"/>
                </a:lnTo>
                <a:lnTo>
                  <a:pt x="3680003" y="1383944"/>
                </a:lnTo>
                <a:lnTo>
                  <a:pt x="3663201" y="1383944"/>
                </a:lnTo>
                <a:lnTo>
                  <a:pt x="3663201" y="1367142"/>
                </a:lnTo>
                <a:lnTo>
                  <a:pt x="3646742" y="1367142"/>
                </a:lnTo>
                <a:lnTo>
                  <a:pt x="3646742" y="1383944"/>
                </a:lnTo>
                <a:lnTo>
                  <a:pt x="3629939" y="1383944"/>
                </a:lnTo>
                <a:lnTo>
                  <a:pt x="3629939" y="1400404"/>
                </a:lnTo>
                <a:lnTo>
                  <a:pt x="3646742" y="1400404"/>
                </a:lnTo>
                <a:lnTo>
                  <a:pt x="3646742" y="1417206"/>
                </a:lnTo>
                <a:close/>
                <a:moveTo>
                  <a:pt x="3715664" y="1552994"/>
                </a:moveTo>
                <a:lnTo>
                  <a:pt x="3731438" y="1552994"/>
                </a:lnTo>
                <a:lnTo>
                  <a:pt x="3731438" y="1537221"/>
                </a:lnTo>
                <a:lnTo>
                  <a:pt x="3747211" y="1537221"/>
                </a:lnTo>
                <a:lnTo>
                  <a:pt x="3747211" y="1521447"/>
                </a:lnTo>
                <a:lnTo>
                  <a:pt x="3731438" y="1521447"/>
                </a:lnTo>
                <a:lnTo>
                  <a:pt x="3731438" y="1505674"/>
                </a:lnTo>
                <a:lnTo>
                  <a:pt x="3715664" y="1505674"/>
                </a:lnTo>
                <a:lnTo>
                  <a:pt x="3715664" y="1521447"/>
                </a:lnTo>
                <a:lnTo>
                  <a:pt x="3699891" y="1521447"/>
                </a:lnTo>
                <a:lnTo>
                  <a:pt x="3699891" y="1537221"/>
                </a:lnTo>
                <a:lnTo>
                  <a:pt x="3715664" y="1537221"/>
                </a:lnTo>
                <a:lnTo>
                  <a:pt x="3715664" y="1552994"/>
                </a:lnTo>
                <a:close/>
                <a:moveTo>
                  <a:pt x="3647770" y="1139114"/>
                </a:moveTo>
                <a:lnTo>
                  <a:pt x="3662172" y="1139114"/>
                </a:lnTo>
                <a:lnTo>
                  <a:pt x="3662172" y="1125055"/>
                </a:lnTo>
                <a:lnTo>
                  <a:pt x="3676231" y="1125055"/>
                </a:lnTo>
                <a:lnTo>
                  <a:pt x="3676231" y="1110653"/>
                </a:lnTo>
                <a:lnTo>
                  <a:pt x="3662172" y="1110653"/>
                </a:lnTo>
                <a:lnTo>
                  <a:pt x="3662172" y="1096594"/>
                </a:lnTo>
                <a:lnTo>
                  <a:pt x="3647770" y="1096594"/>
                </a:lnTo>
                <a:lnTo>
                  <a:pt x="3647770" y="1110653"/>
                </a:lnTo>
                <a:lnTo>
                  <a:pt x="3633712" y="1110653"/>
                </a:lnTo>
                <a:lnTo>
                  <a:pt x="3633712" y="1125055"/>
                </a:lnTo>
                <a:lnTo>
                  <a:pt x="3647770" y="1125055"/>
                </a:lnTo>
                <a:lnTo>
                  <a:pt x="3647770" y="1139114"/>
                </a:lnTo>
                <a:close/>
                <a:moveTo>
                  <a:pt x="3785273" y="1412405"/>
                </a:moveTo>
                <a:lnTo>
                  <a:pt x="3798989" y="1412405"/>
                </a:lnTo>
                <a:lnTo>
                  <a:pt x="3798989" y="1399032"/>
                </a:lnTo>
                <a:lnTo>
                  <a:pt x="3812362" y="1399032"/>
                </a:lnTo>
                <a:lnTo>
                  <a:pt x="3812362" y="1385316"/>
                </a:lnTo>
                <a:lnTo>
                  <a:pt x="3798989" y="1385316"/>
                </a:lnTo>
                <a:lnTo>
                  <a:pt x="3798989" y="1371943"/>
                </a:lnTo>
                <a:lnTo>
                  <a:pt x="3785273" y="1371943"/>
                </a:lnTo>
                <a:lnTo>
                  <a:pt x="3785273" y="1385316"/>
                </a:lnTo>
                <a:lnTo>
                  <a:pt x="3771900" y="1385316"/>
                </a:lnTo>
                <a:lnTo>
                  <a:pt x="3771900" y="1399032"/>
                </a:lnTo>
                <a:lnTo>
                  <a:pt x="3785273" y="1399032"/>
                </a:lnTo>
                <a:lnTo>
                  <a:pt x="3785273" y="1412405"/>
                </a:lnTo>
                <a:close/>
                <a:moveTo>
                  <a:pt x="2571750" y="3080271"/>
                </a:moveTo>
                <a:lnTo>
                  <a:pt x="2571750" y="3052153"/>
                </a:lnTo>
                <a:lnTo>
                  <a:pt x="2599868" y="3052153"/>
                </a:lnTo>
                <a:lnTo>
                  <a:pt x="2599868" y="3024035"/>
                </a:lnTo>
                <a:lnTo>
                  <a:pt x="2571750" y="3024035"/>
                </a:lnTo>
                <a:lnTo>
                  <a:pt x="2571750" y="2995917"/>
                </a:lnTo>
                <a:lnTo>
                  <a:pt x="2543632" y="2995917"/>
                </a:lnTo>
                <a:lnTo>
                  <a:pt x="2543632" y="3024035"/>
                </a:lnTo>
                <a:lnTo>
                  <a:pt x="2515514" y="3024035"/>
                </a:lnTo>
                <a:lnTo>
                  <a:pt x="2515514" y="3052153"/>
                </a:lnTo>
                <a:lnTo>
                  <a:pt x="2543632" y="3052153"/>
                </a:lnTo>
                <a:lnTo>
                  <a:pt x="2543632" y="3080271"/>
                </a:lnTo>
                <a:lnTo>
                  <a:pt x="2571750" y="3080271"/>
                </a:lnTo>
                <a:close/>
                <a:moveTo>
                  <a:pt x="2502142" y="3214688"/>
                </a:moveTo>
                <a:lnTo>
                  <a:pt x="2502142" y="3188284"/>
                </a:lnTo>
                <a:lnTo>
                  <a:pt x="2528545" y="3188284"/>
                </a:lnTo>
                <a:lnTo>
                  <a:pt x="2528545" y="3162224"/>
                </a:lnTo>
                <a:lnTo>
                  <a:pt x="2502142" y="3162224"/>
                </a:lnTo>
                <a:lnTo>
                  <a:pt x="2502142" y="3135821"/>
                </a:lnTo>
                <a:lnTo>
                  <a:pt x="2476081" y="3135821"/>
                </a:lnTo>
                <a:lnTo>
                  <a:pt x="2476081" y="3162224"/>
                </a:lnTo>
                <a:lnTo>
                  <a:pt x="2449678" y="3162224"/>
                </a:lnTo>
                <a:lnTo>
                  <a:pt x="2449678" y="3188284"/>
                </a:lnTo>
                <a:lnTo>
                  <a:pt x="2476081" y="3188284"/>
                </a:lnTo>
                <a:lnTo>
                  <a:pt x="2476081" y="3214688"/>
                </a:lnTo>
                <a:lnTo>
                  <a:pt x="2502142" y="3214688"/>
                </a:lnTo>
                <a:close/>
                <a:moveTo>
                  <a:pt x="2638958" y="3213316"/>
                </a:moveTo>
                <a:lnTo>
                  <a:pt x="2638958" y="3187941"/>
                </a:lnTo>
                <a:lnTo>
                  <a:pt x="2664333" y="3187941"/>
                </a:lnTo>
                <a:lnTo>
                  <a:pt x="2664333" y="3162567"/>
                </a:lnTo>
                <a:lnTo>
                  <a:pt x="2638958" y="3162567"/>
                </a:lnTo>
                <a:lnTo>
                  <a:pt x="2638958" y="3137192"/>
                </a:lnTo>
                <a:lnTo>
                  <a:pt x="2613584" y="3137192"/>
                </a:lnTo>
                <a:lnTo>
                  <a:pt x="2613584" y="3162567"/>
                </a:lnTo>
                <a:lnTo>
                  <a:pt x="2588209" y="3162567"/>
                </a:lnTo>
                <a:lnTo>
                  <a:pt x="2588209" y="3187941"/>
                </a:lnTo>
                <a:lnTo>
                  <a:pt x="2613584" y="3187941"/>
                </a:lnTo>
                <a:lnTo>
                  <a:pt x="2613584" y="3213316"/>
                </a:lnTo>
                <a:lnTo>
                  <a:pt x="2638958" y="3213316"/>
                </a:lnTo>
                <a:close/>
                <a:moveTo>
                  <a:pt x="2432876" y="3349104"/>
                </a:moveTo>
                <a:lnTo>
                  <a:pt x="2432876" y="3324758"/>
                </a:lnTo>
                <a:lnTo>
                  <a:pt x="2457221" y="3324758"/>
                </a:lnTo>
                <a:lnTo>
                  <a:pt x="2457221" y="3300070"/>
                </a:lnTo>
                <a:lnTo>
                  <a:pt x="2432876" y="3300070"/>
                </a:lnTo>
                <a:lnTo>
                  <a:pt x="2432876" y="3275724"/>
                </a:lnTo>
                <a:lnTo>
                  <a:pt x="2408187" y="3275724"/>
                </a:lnTo>
                <a:lnTo>
                  <a:pt x="2408187" y="3300070"/>
                </a:lnTo>
                <a:lnTo>
                  <a:pt x="2383841" y="3300070"/>
                </a:lnTo>
                <a:lnTo>
                  <a:pt x="2383841" y="3324758"/>
                </a:lnTo>
                <a:lnTo>
                  <a:pt x="2408187" y="3324758"/>
                </a:lnTo>
                <a:lnTo>
                  <a:pt x="2408187" y="3349104"/>
                </a:lnTo>
                <a:lnTo>
                  <a:pt x="2432876" y="3349104"/>
                </a:lnTo>
                <a:close/>
                <a:moveTo>
                  <a:pt x="2708224" y="3078213"/>
                </a:moveTo>
                <a:lnTo>
                  <a:pt x="2708224" y="3051467"/>
                </a:lnTo>
                <a:lnTo>
                  <a:pt x="2734970" y="3051467"/>
                </a:lnTo>
                <a:lnTo>
                  <a:pt x="2734970" y="3024721"/>
                </a:lnTo>
                <a:lnTo>
                  <a:pt x="2708224" y="3024721"/>
                </a:lnTo>
                <a:lnTo>
                  <a:pt x="2708224" y="2997975"/>
                </a:lnTo>
                <a:lnTo>
                  <a:pt x="2681478" y="2997975"/>
                </a:lnTo>
                <a:lnTo>
                  <a:pt x="2681478" y="3024721"/>
                </a:lnTo>
                <a:lnTo>
                  <a:pt x="2654732" y="3024721"/>
                </a:lnTo>
                <a:lnTo>
                  <a:pt x="2654732" y="3051467"/>
                </a:lnTo>
                <a:lnTo>
                  <a:pt x="2681478" y="3051467"/>
                </a:lnTo>
                <a:lnTo>
                  <a:pt x="2681478" y="3078213"/>
                </a:lnTo>
                <a:lnTo>
                  <a:pt x="2708224" y="3078213"/>
                </a:lnTo>
                <a:close/>
                <a:moveTo>
                  <a:pt x="2365667" y="3216402"/>
                </a:moveTo>
                <a:lnTo>
                  <a:pt x="2365667" y="3188970"/>
                </a:lnTo>
                <a:lnTo>
                  <a:pt x="2393099" y="3188970"/>
                </a:lnTo>
                <a:lnTo>
                  <a:pt x="2393099" y="3161538"/>
                </a:lnTo>
                <a:lnTo>
                  <a:pt x="2365667" y="3161538"/>
                </a:lnTo>
                <a:lnTo>
                  <a:pt x="2365667" y="3134106"/>
                </a:lnTo>
                <a:lnTo>
                  <a:pt x="2338235" y="3134106"/>
                </a:lnTo>
                <a:lnTo>
                  <a:pt x="2338235" y="3161538"/>
                </a:lnTo>
                <a:lnTo>
                  <a:pt x="2310803" y="3161538"/>
                </a:lnTo>
                <a:lnTo>
                  <a:pt x="2310803" y="3188970"/>
                </a:lnTo>
                <a:lnTo>
                  <a:pt x="2338235" y="3188970"/>
                </a:lnTo>
                <a:lnTo>
                  <a:pt x="2338235" y="3216402"/>
                </a:lnTo>
                <a:lnTo>
                  <a:pt x="2365667" y="3216402"/>
                </a:lnTo>
                <a:close/>
                <a:moveTo>
                  <a:pt x="2159242" y="3351162"/>
                </a:moveTo>
                <a:lnTo>
                  <a:pt x="2159242" y="3325444"/>
                </a:lnTo>
                <a:lnTo>
                  <a:pt x="2184959" y="3325444"/>
                </a:lnTo>
                <a:lnTo>
                  <a:pt x="2184959" y="3299384"/>
                </a:lnTo>
                <a:lnTo>
                  <a:pt x="2159242" y="3299384"/>
                </a:lnTo>
                <a:lnTo>
                  <a:pt x="2159242" y="3273666"/>
                </a:lnTo>
                <a:lnTo>
                  <a:pt x="2133181" y="3273666"/>
                </a:lnTo>
                <a:lnTo>
                  <a:pt x="2133181" y="3299384"/>
                </a:lnTo>
                <a:lnTo>
                  <a:pt x="2107463" y="3299384"/>
                </a:lnTo>
                <a:lnTo>
                  <a:pt x="2107463" y="3325444"/>
                </a:lnTo>
                <a:lnTo>
                  <a:pt x="2133181" y="3325444"/>
                </a:lnTo>
                <a:lnTo>
                  <a:pt x="2133181" y="3351162"/>
                </a:lnTo>
                <a:lnTo>
                  <a:pt x="2159242" y="3351162"/>
                </a:lnTo>
                <a:close/>
                <a:moveTo>
                  <a:pt x="2228850" y="3217088"/>
                </a:moveTo>
                <a:lnTo>
                  <a:pt x="2228850" y="3189313"/>
                </a:lnTo>
                <a:lnTo>
                  <a:pt x="2256625" y="3189313"/>
                </a:lnTo>
                <a:lnTo>
                  <a:pt x="2256625" y="3161195"/>
                </a:lnTo>
                <a:lnTo>
                  <a:pt x="2228850" y="3161195"/>
                </a:lnTo>
                <a:lnTo>
                  <a:pt x="2228850" y="3133420"/>
                </a:lnTo>
                <a:lnTo>
                  <a:pt x="2200732" y="3133420"/>
                </a:lnTo>
                <a:lnTo>
                  <a:pt x="2200732" y="3161195"/>
                </a:lnTo>
                <a:lnTo>
                  <a:pt x="2172958" y="3161195"/>
                </a:lnTo>
                <a:lnTo>
                  <a:pt x="2172958" y="3189313"/>
                </a:lnTo>
                <a:lnTo>
                  <a:pt x="2200732" y="3189313"/>
                </a:lnTo>
                <a:lnTo>
                  <a:pt x="2200732" y="3217088"/>
                </a:lnTo>
                <a:lnTo>
                  <a:pt x="2228850" y="3217088"/>
                </a:lnTo>
                <a:close/>
                <a:moveTo>
                  <a:pt x="2296058" y="3350476"/>
                </a:moveTo>
                <a:lnTo>
                  <a:pt x="2296058" y="3325101"/>
                </a:lnTo>
                <a:lnTo>
                  <a:pt x="2321433" y="3325101"/>
                </a:lnTo>
                <a:lnTo>
                  <a:pt x="2321433" y="3299727"/>
                </a:lnTo>
                <a:lnTo>
                  <a:pt x="2296058" y="3299727"/>
                </a:lnTo>
                <a:lnTo>
                  <a:pt x="2296058" y="3274352"/>
                </a:lnTo>
                <a:lnTo>
                  <a:pt x="2270684" y="3274352"/>
                </a:lnTo>
                <a:lnTo>
                  <a:pt x="2270684" y="3299727"/>
                </a:lnTo>
                <a:lnTo>
                  <a:pt x="2245309" y="3299727"/>
                </a:lnTo>
                <a:lnTo>
                  <a:pt x="2245309" y="3325101"/>
                </a:lnTo>
                <a:lnTo>
                  <a:pt x="2270684" y="3325101"/>
                </a:lnTo>
                <a:lnTo>
                  <a:pt x="2270684" y="3350476"/>
                </a:lnTo>
                <a:lnTo>
                  <a:pt x="2296058" y="3350476"/>
                </a:lnTo>
                <a:close/>
                <a:moveTo>
                  <a:pt x="2844698" y="3076156"/>
                </a:moveTo>
                <a:lnTo>
                  <a:pt x="2844698" y="3050781"/>
                </a:lnTo>
                <a:lnTo>
                  <a:pt x="2870073" y="3050781"/>
                </a:lnTo>
                <a:lnTo>
                  <a:pt x="2870073" y="3025407"/>
                </a:lnTo>
                <a:lnTo>
                  <a:pt x="2844698" y="3025407"/>
                </a:lnTo>
                <a:lnTo>
                  <a:pt x="2844698" y="3000032"/>
                </a:lnTo>
                <a:lnTo>
                  <a:pt x="2819324" y="3000032"/>
                </a:lnTo>
                <a:lnTo>
                  <a:pt x="2819324" y="3025407"/>
                </a:lnTo>
                <a:lnTo>
                  <a:pt x="2793949" y="3025407"/>
                </a:lnTo>
                <a:lnTo>
                  <a:pt x="2793949" y="3050781"/>
                </a:lnTo>
                <a:lnTo>
                  <a:pt x="2819324" y="3050781"/>
                </a:lnTo>
                <a:lnTo>
                  <a:pt x="2819324" y="3076156"/>
                </a:lnTo>
                <a:lnTo>
                  <a:pt x="2844698" y="3076156"/>
                </a:lnTo>
                <a:close/>
                <a:moveTo>
                  <a:pt x="3256178" y="2527516"/>
                </a:moveTo>
                <a:lnTo>
                  <a:pt x="3256178" y="2502141"/>
                </a:lnTo>
                <a:lnTo>
                  <a:pt x="3281553" y="2502141"/>
                </a:lnTo>
                <a:lnTo>
                  <a:pt x="3281553" y="2476767"/>
                </a:lnTo>
                <a:lnTo>
                  <a:pt x="3256178" y="2476767"/>
                </a:lnTo>
                <a:lnTo>
                  <a:pt x="3256178" y="2451392"/>
                </a:lnTo>
                <a:lnTo>
                  <a:pt x="3230804" y="2451392"/>
                </a:lnTo>
                <a:lnTo>
                  <a:pt x="3230804" y="2476767"/>
                </a:lnTo>
                <a:lnTo>
                  <a:pt x="3205429" y="2476767"/>
                </a:lnTo>
                <a:lnTo>
                  <a:pt x="3205429" y="2502141"/>
                </a:lnTo>
                <a:lnTo>
                  <a:pt x="3230804" y="2502141"/>
                </a:lnTo>
                <a:lnTo>
                  <a:pt x="3230804" y="2527516"/>
                </a:lnTo>
                <a:lnTo>
                  <a:pt x="3256178" y="2527516"/>
                </a:lnTo>
                <a:close/>
                <a:moveTo>
                  <a:pt x="3187598" y="2664676"/>
                </a:moveTo>
                <a:lnTo>
                  <a:pt x="3187598" y="2639301"/>
                </a:lnTo>
                <a:lnTo>
                  <a:pt x="3212973" y="2639301"/>
                </a:lnTo>
                <a:lnTo>
                  <a:pt x="3212973" y="2613927"/>
                </a:lnTo>
                <a:lnTo>
                  <a:pt x="3187598" y="2613927"/>
                </a:lnTo>
                <a:lnTo>
                  <a:pt x="3187598" y="2588552"/>
                </a:lnTo>
                <a:lnTo>
                  <a:pt x="3162224" y="2588552"/>
                </a:lnTo>
                <a:lnTo>
                  <a:pt x="3162224" y="2613927"/>
                </a:lnTo>
                <a:lnTo>
                  <a:pt x="3136849" y="2613927"/>
                </a:lnTo>
                <a:lnTo>
                  <a:pt x="3136849" y="2639301"/>
                </a:lnTo>
                <a:lnTo>
                  <a:pt x="3162224" y="2639301"/>
                </a:lnTo>
                <a:lnTo>
                  <a:pt x="3162224" y="2664676"/>
                </a:lnTo>
                <a:lnTo>
                  <a:pt x="3187598" y="2664676"/>
                </a:lnTo>
                <a:close/>
                <a:moveTo>
                  <a:pt x="3324416" y="2389670"/>
                </a:moveTo>
                <a:lnTo>
                  <a:pt x="3324416" y="2364638"/>
                </a:lnTo>
                <a:lnTo>
                  <a:pt x="3349447" y="2364638"/>
                </a:lnTo>
                <a:lnTo>
                  <a:pt x="3349447" y="2339950"/>
                </a:lnTo>
                <a:lnTo>
                  <a:pt x="3324416" y="2339950"/>
                </a:lnTo>
                <a:lnTo>
                  <a:pt x="3324416" y="2314918"/>
                </a:lnTo>
                <a:lnTo>
                  <a:pt x="3299727" y="2314918"/>
                </a:lnTo>
                <a:lnTo>
                  <a:pt x="3299727" y="2339950"/>
                </a:lnTo>
                <a:lnTo>
                  <a:pt x="3274695" y="2339950"/>
                </a:lnTo>
                <a:lnTo>
                  <a:pt x="3274695" y="2364638"/>
                </a:lnTo>
                <a:lnTo>
                  <a:pt x="3299727" y="2364638"/>
                </a:lnTo>
                <a:lnTo>
                  <a:pt x="3299727" y="2389670"/>
                </a:lnTo>
                <a:lnTo>
                  <a:pt x="3324416" y="2389670"/>
                </a:lnTo>
                <a:close/>
                <a:moveTo>
                  <a:pt x="3118676" y="2801150"/>
                </a:moveTo>
                <a:lnTo>
                  <a:pt x="3118676" y="2776118"/>
                </a:lnTo>
                <a:lnTo>
                  <a:pt x="3143707" y="2776118"/>
                </a:lnTo>
                <a:lnTo>
                  <a:pt x="3143707" y="2751430"/>
                </a:lnTo>
                <a:lnTo>
                  <a:pt x="3118676" y="2751430"/>
                </a:lnTo>
                <a:lnTo>
                  <a:pt x="3118676" y="2726398"/>
                </a:lnTo>
                <a:lnTo>
                  <a:pt x="3093987" y="2726398"/>
                </a:lnTo>
                <a:lnTo>
                  <a:pt x="3093987" y="2751430"/>
                </a:lnTo>
                <a:lnTo>
                  <a:pt x="3068955" y="2751430"/>
                </a:lnTo>
                <a:lnTo>
                  <a:pt x="3068955" y="2776118"/>
                </a:lnTo>
                <a:lnTo>
                  <a:pt x="3093987" y="2776118"/>
                </a:lnTo>
                <a:lnTo>
                  <a:pt x="3093987" y="2801150"/>
                </a:lnTo>
                <a:lnTo>
                  <a:pt x="3118676" y="2801150"/>
                </a:lnTo>
                <a:close/>
                <a:moveTo>
                  <a:pt x="2913622" y="2940368"/>
                </a:moveTo>
                <a:lnTo>
                  <a:pt x="2913622" y="2913964"/>
                </a:lnTo>
                <a:lnTo>
                  <a:pt x="2940025" y="2913964"/>
                </a:lnTo>
                <a:lnTo>
                  <a:pt x="2940025" y="2887904"/>
                </a:lnTo>
                <a:lnTo>
                  <a:pt x="2913622" y="2887904"/>
                </a:lnTo>
                <a:lnTo>
                  <a:pt x="2913622" y="2861501"/>
                </a:lnTo>
                <a:lnTo>
                  <a:pt x="2887561" y="2861501"/>
                </a:lnTo>
                <a:lnTo>
                  <a:pt x="2887561" y="2887904"/>
                </a:lnTo>
                <a:lnTo>
                  <a:pt x="2861158" y="2887904"/>
                </a:lnTo>
                <a:lnTo>
                  <a:pt x="2861158" y="2913964"/>
                </a:lnTo>
                <a:lnTo>
                  <a:pt x="2887561" y="2913964"/>
                </a:lnTo>
                <a:lnTo>
                  <a:pt x="2887561" y="2940368"/>
                </a:lnTo>
                <a:lnTo>
                  <a:pt x="2913622" y="2940368"/>
                </a:lnTo>
                <a:close/>
                <a:moveTo>
                  <a:pt x="3050096" y="2937624"/>
                </a:moveTo>
                <a:lnTo>
                  <a:pt x="3050096" y="2913278"/>
                </a:lnTo>
                <a:lnTo>
                  <a:pt x="3074441" y="2913278"/>
                </a:lnTo>
                <a:lnTo>
                  <a:pt x="3074441" y="2888590"/>
                </a:lnTo>
                <a:lnTo>
                  <a:pt x="3050096" y="2888590"/>
                </a:lnTo>
                <a:lnTo>
                  <a:pt x="3050096" y="2864244"/>
                </a:lnTo>
                <a:lnTo>
                  <a:pt x="3025407" y="2864244"/>
                </a:lnTo>
                <a:lnTo>
                  <a:pt x="3025407" y="2888590"/>
                </a:lnTo>
                <a:lnTo>
                  <a:pt x="3001061" y="2888590"/>
                </a:lnTo>
                <a:lnTo>
                  <a:pt x="3001061" y="2913278"/>
                </a:lnTo>
                <a:lnTo>
                  <a:pt x="3025407" y="2913278"/>
                </a:lnTo>
                <a:lnTo>
                  <a:pt x="3025407" y="2937624"/>
                </a:lnTo>
                <a:lnTo>
                  <a:pt x="3050096" y="2937624"/>
                </a:lnTo>
                <a:close/>
                <a:moveTo>
                  <a:pt x="3392653" y="2251481"/>
                </a:moveTo>
                <a:lnTo>
                  <a:pt x="3392653" y="2227136"/>
                </a:lnTo>
                <a:lnTo>
                  <a:pt x="3416999" y="2227136"/>
                </a:lnTo>
                <a:lnTo>
                  <a:pt x="3416999" y="2203133"/>
                </a:lnTo>
                <a:lnTo>
                  <a:pt x="3392653" y="2203133"/>
                </a:lnTo>
                <a:lnTo>
                  <a:pt x="3392653" y="2178787"/>
                </a:lnTo>
                <a:lnTo>
                  <a:pt x="3368650" y="2178787"/>
                </a:lnTo>
                <a:lnTo>
                  <a:pt x="3368650" y="2203133"/>
                </a:lnTo>
                <a:lnTo>
                  <a:pt x="3344304" y="2203133"/>
                </a:lnTo>
                <a:lnTo>
                  <a:pt x="3344304" y="2227136"/>
                </a:lnTo>
                <a:lnTo>
                  <a:pt x="3368650" y="2227136"/>
                </a:lnTo>
                <a:lnTo>
                  <a:pt x="3368650" y="2251481"/>
                </a:lnTo>
                <a:lnTo>
                  <a:pt x="3392653" y="2251481"/>
                </a:lnTo>
                <a:close/>
                <a:moveTo>
                  <a:pt x="2777490" y="2943111"/>
                </a:moveTo>
                <a:lnTo>
                  <a:pt x="2777490" y="2914993"/>
                </a:lnTo>
                <a:lnTo>
                  <a:pt x="2805608" y="2914993"/>
                </a:lnTo>
                <a:lnTo>
                  <a:pt x="2805608" y="2886875"/>
                </a:lnTo>
                <a:lnTo>
                  <a:pt x="2777490" y="2886875"/>
                </a:lnTo>
                <a:lnTo>
                  <a:pt x="2777490" y="2858757"/>
                </a:lnTo>
                <a:lnTo>
                  <a:pt x="2749372" y="2858757"/>
                </a:lnTo>
                <a:lnTo>
                  <a:pt x="2749372" y="2886875"/>
                </a:lnTo>
                <a:lnTo>
                  <a:pt x="2721254" y="2886875"/>
                </a:lnTo>
                <a:lnTo>
                  <a:pt x="2721254" y="2914993"/>
                </a:lnTo>
                <a:lnTo>
                  <a:pt x="2749372" y="2914993"/>
                </a:lnTo>
                <a:lnTo>
                  <a:pt x="2749372" y="2943111"/>
                </a:lnTo>
                <a:lnTo>
                  <a:pt x="2777490" y="2943111"/>
                </a:lnTo>
                <a:close/>
                <a:moveTo>
                  <a:pt x="2982544" y="2804236"/>
                </a:moveTo>
                <a:lnTo>
                  <a:pt x="2982544" y="2777147"/>
                </a:lnTo>
                <a:lnTo>
                  <a:pt x="3009634" y="2777147"/>
                </a:lnTo>
                <a:lnTo>
                  <a:pt x="3009634" y="2750401"/>
                </a:lnTo>
                <a:lnTo>
                  <a:pt x="2982544" y="2750401"/>
                </a:lnTo>
                <a:lnTo>
                  <a:pt x="2982544" y="2723312"/>
                </a:lnTo>
                <a:lnTo>
                  <a:pt x="2955798" y="2723312"/>
                </a:lnTo>
                <a:lnTo>
                  <a:pt x="2955798" y="2750401"/>
                </a:lnTo>
                <a:lnTo>
                  <a:pt x="2928709" y="2750401"/>
                </a:lnTo>
                <a:lnTo>
                  <a:pt x="2928709" y="2777147"/>
                </a:lnTo>
                <a:lnTo>
                  <a:pt x="2955798" y="2777147"/>
                </a:lnTo>
                <a:lnTo>
                  <a:pt x="2955798" y="2804236"/>
                </a:lnTo>
                <a:lnTo>
                  <a:pt x="2982544" y="2804236"/>
                </a:lnTo>
                <a:close/>
                <a:moveTo>
                  <a:pt x="1584884" y="531152"/>
                </a:moveTo>
                <a:lnTo>
                  <a:pt x="1584884" y="556527"/>
                </a:lnTo>
                <a:lnTo>
                  <a:pt x="1559509" y="556527"/>
                </a:lnTo>
                <a:lnTo>
                  <a:pt x="1559509" y="581901"/>
                </a:lnTo>
                <a:lnTo>
                  <a:pt x="1584884" y="581901"/>
                </a:lnTo>
                <a:lnTo>
                  <a:pt x="1584884" y="607276"/>
                </a:lnTo>
                <a:lnTo>
                  <a:pt x="1610258" y="607276"/>
                </a:lnTo>
                <a:lnTo>
                  <a:pt x="1610258" y="581901"/>
                </a:lnTo>
                <a:lnTo>
                  <a:pt x="1635633" y="581901"/>
                </a:lnTo>
                <a:lnTo>
                  <a:pt x="1635633" y="556527"/>
                </a:lnTo>
                <a:lnTo>
                  <a:pt x="1610258" y="556527"/>
                </a:lnTo>
                <a:lnTo>
                  <a:pt x="1610258" y="531152"/>
                </a:lnTo>
                <a:lnTo>
                  <a:pt x="1584884" y="531152"/>
                </a:lnTo>
                <a:close/>
                <a:moveTo>
                  <a:pt x="1544764" y="2947911"/>
                </a:moveTo>
                <a:lnTo>
                  <a:pt x="1544764" y="2916707"/>
                </a:lnTo>
                <a:lnTo>
                  <a:pt x="1575968" y="2916707"/>
                </a:lnTo>
                <a:lnTo>
                  <a:pt x="1575968" y="2885161"/>
                </a:lnTo>
                <a:lnTo>
                  <a:pt x="1544764" y="2885161"/>
                </a:lnTo>
                <a:lnTo>
                  <a:pt x="1544764" y="2853957"/>
                </a:lnTo>
                <a:lnTo>
                  <a:pt x="1513218" y="2853957"/>
                </a:lnTo>
                <a:lnTo>
                  <a:pt x="1513218" y="2885161"/>
                </a:lnTo>
                <a:lnTo>
                  <a:pt x="1482014" y="2885161"/>
                </a:lnTo>
                <a:lnTo>
                  <a:pt x="1482014" y="2916707"/>
                </a:lnTo>
                <a:lnTo>
                  <a:pt x="1513218" y="2916707"/>
                </a:lnTo>
                <a:lnTo>
                  <a:pt x="1513218" y="2947911"/>
                </a:lnTo>
                <a:lnTo>
                  <a:pt x="1544764" y="2947911"/>
                </a:lnTo>
                <a:close/>
                <a:moveTo>
                  <a:pt x="1339024" y="2811094"/>
                </a:moveTo>
                <a:lnTo>
                  <a:pt x="1339024" y="2779547"/>
                </a:lnTo>
                <a:lnTo>
                  <a:pt x="1370571" y="2779547"/>
                </a:lnTo>
                <a:lnTo>
                  <a:pt x="1370571" y="2748001"/>
                </a:lnTo>
                <a:lnTo>
                  <a:pt x="1339024" y="2748001"/>
                </a:lnTo>
                <a:lnTo>
                  <a:pt x="1339024" y="2716454"/>
                </a:lnTo>
                <a:lnTo>
                  <a:pt x="1307478" y="2716454"/>
                </a:lnTo>
                <a:lnTo>
                  <a:pt x="1307478" y="2748001"/>
                </a:lnTo>
                <a:lnTo>
                  <a:pt x="1275931" y="2748001"/>
                </a:lnTo>
                <a:lnTo>
                  <a:pt x="1275931" y="2779547"/>
                </a:lnTo>
                <a:lnTo>
                  <a:pt x="1307478" y="2779547"/>
                </a:lnTo>
                <a:lnTo>
                  <a:pt x="1307478" y="2811094"/>
                </a:lnTo>
                <a:lnTo>
                  <a:pt x="1339024" y="2811094"/>
                </a:lnTo>
                <a:close/>
                <a:moveTo>
                  <a:pt x="1201179" y="2809380"/>
                </a:moveTo>
                <a:lnTo>
                  <a:pt x="1201179" y="2778862"/>
                </a:lnTo>
                <a:lnTo>
                  <a:pt x="1231697" y="2778862"/>
                </a:lnTo>
                <a:lnTo>
                  <a:pt x="1231697" y="2748686"/>
                </a:lnTo>
                <a:lnTo>
                  <a:pt x="1201179" y="2748686"/>
                </a:lnTo>
                <a:lnTo>
                  <a:pt x="1201179" y="2718168"/>
                </a:lnTo>
                <a:lnTo>
                  <a:pt x="1171003" y="2718168"/>
                </a:lnTo>
                <a:lnTo>
                  <a:pt x="1171003" y="2748686"/>
                </a:lnTo>
                <a:lnTo>
                  <a:pt x="1140485" y="2748686"/>
                </a:lnTo>
                <a:lnTo>
                  <a:pt x="1140485" y="2778862"/>
                </a:lnTo>
                <a:lnTo>
                  <a:pt x="1171003" y="2778862"/>
                </a:lnTo>
                <a:lnTo>
                  <a:pt x="1171003" y="2809380"/>
                </a:lnTo>
                <a:lnTo>
                  <a:pt x="1201179" y="2809380"/>
                </a:lnTo>
                <a:close/>
                <a:moveTo>
                  <a:pt x="1476527" y="2812123"/>
                </a:moveTo>
                <a:lnTo>
                  <a:pt x="1476527" y="2779890"/>
                </a:lnTo>
                <a:lnTo>
                  <a:pt x="1508760" y="2779890"/>
                </a:lnTo>
                <a:lnTo>
                  <a:pt x="1508760" y="2747658"/>
                </a:lnTo>
                <a:lnTo>
                  <a:pt x="1476527" y="2747658"/>
                </a:lnTo>
                <a:lnTo>
                  <a:pt x="1476527" y="2715425"/>
                </a:lnTo>
                <a:lnTo>
                  <a:pt x="1444295" y="2715425"/>
                </a:lnTo>
                <a:lnTo>
                  <a:pt x="1444295" y="2747658"/>
                </a:lnTo>
                <a:lnTo>
                  <a:pt x="1412062" y="2747658"/>
                </a:lnTo>
                <a:lnTo>
                  <a:pt x="1412062" y="2779890"/>
                </a:lnTo>
                <a:lnTo>
                  <a:pt x="1444295" y="2779890"/>
                </a:lnTo>
                <a:lnTo>
                  <a:pt x="1444295" y="2812123"/>
                </a:lnTo>
                <a:lnTo>
                  <a:pt x="1476527" y="2812123"/>
                </a:lnTo>
                <a:close/>
                <a:moveTo>
                  <a:pt x="1406919" y="2946540"/>
                </a:moveTo>
                <a:lnTo>
                  <a:pt x="1406919" y="2916022"/>
                </a:lnTo>
                <a:lnTo>
                  <a:pt x="1437437" y="2916022"/>
                </a:lnTo>
                <a:lnTo>
                  <a:pt x="1437437" y="2885846"/>
                </a:lnTo>
                <a:lnTo>
                  <a:pt x="1406919" y="2885846"/>
                </a:lnTo>
                <a:lnTo>
                  <a:pt x="1406919" y="2855328"/>
                </a:lnTo>
                <a:lnTo>
                  <a:pt x="1376743" y="2855328"/>
                </a:lnTo>
                <a:lnTo>
                  <a:pt x="1376743" y="2885846"/>
                </a:lnTo>
                <a:lnTo>
                  <a:pt x="1346225" y="2885846"/>
                </a:lnTo>
                <a:lnTo>
                  <a:pt x="1346225" y="2916022"/>
                </a:lnTo>
                <a:lnTo>
                  <a:pt x="1376743" y="2916022"/>
                </a:lnTo>
                <a:lnTo>
                  <a:pt x="1376743" y="2946540"/>
                </a:lnTo>
                <a:lnTo>
                  <a:pt x="1406919" y="2946540"/>
                </a:lnTo>
                <a:close/>
                <a:moveTo>
                  <a:pt x="1269416" y="2945168"/>
                </a:moveTo>
                <a:lnTo>
                  <a:pt x="1269416" y="2915679"/>
                </a:lnTo>
                <a:lnTo>
                  <a:pt x="1298905" y="2915679"/>
                </a:lnTo>
                <a:lnTo>
                  <a:pt x="1298905" y="2886189"/>
                </a:lnTo>
                <a:lnTo>
                  <a:pt x="1269416" y="2886189"/>
                </a:lnTo>
                <a:lnTo>
                  <a:pt x="1269416" y="2856700"/>
                </a:lnTo>
                <a:lnTo>
                  <a:pt x="1239926" y="2856700"/>
                </a:lnTo>
                <a:lnTo>
                  <a:pt x="1239926" y="2886189"/>
                </a:lnTo>
                <a:lnTo>
                  <a:pt x="1210437" y="2886189"/>
                </a:lnTo>
                <a:lnTo>
                  <a:pt x="1210437" y="2915679"/>
                </a:lnTo>
                <a:lnTo>
                  <a:pt x="1239926" y="2915679"/>
                </a:lnTo>
                <a:lnTo>
                  <a:pt x="1239926" y="2945168"/>
                </a:lnTo>
                <a:lnTo>
                  <a:pt x="1269416" y="2945168"/>
                </a:lnTo>
                <a:close/>
                <a:moveTo>
                  <a:pt x="926516" y="2534031"/>
                </a:moveTo>
                <a:lnTo>
                  <a:pt x="926516" y="2504199"/>
                </a:lnTo>
                <a:lnTo>
                  <a:pt x="956348" y="2504199"/>
                </a:lnTo>
                <a:lnTo>
                  <a:pt x="956348" y="2474709"/>
                </a:lnTo>
                <a:lnTo>
                  <a:pt x="926516" y="2474709"/>
                </a:lnTo>
                <a:lnTo>
                  <a:pt x="926516" y="2444877"/>
                </a:lnTo>
                <a:lnTo>
                  <a:pt x="897026" y="2444877"/>
                </a:lnTo>
                <a:lnTo>
                  <a:pt x="897026" y="2474709"/>
                </a:lnTo>
                <a:lnTo>
                  <a:pt x="867194" y="2474709"/>
                </a:lnTo>
                <a:lnTo>
                  <a:pt x="867194" y="2504199"/>
                </a:lnTo>
                <a:lnTo>
                  <a:pt x="897026" y="2504199"/>
                </a:lnTo>
                <a:lnTo>
                  <a:pt x="897026" y="2534031"/>
                </a:lnTo>
                <a:lnTo>
                  <a:pt x="926516" y="2534031"/>
                </a:lnTo>
                <a:close/>
                <a:moveTo>
                  <a:pt x="995096" y="2670848"/>
                </a:moveTo>
                <a:lnTo>
                  <a:pt x="995096" y="2641359"/>
                </a:lnTo>
                <a:lnTo>
                  <a:pt x="1024585" y="2641359"/>
                </a:lnTo>
                <a:lnTo>
                  <a:pt x="1024585" y="2611869"/>
                </a:lnTo>
                <a:lnTo>
                  <a:pt x="995096" y="2611869"/>
                </a:lnTo>
                <a:lnTo>
                  <a:pt x="995096" y="2582380"/>
                </a:lnTo>
                <a:lnTo>
                  <a:pt x="965606" y="2582380"/>
                </a:lnTo>
                <a:lnTo>
                  <a:pt x="965606" y="2611869"/>
                </a:lnTo>
                <a:lnTo>
                  <a:pt x="936117" y="2611869"/>
                </a:lnTo>
                <a:lnTo>
                  <a:pt x="936117" y="2641359"/>
                </a:lnTo>
                <a:lnTo>
                  <a:pt x="965606" y="2641359"/>
                </a:lnTo>
                <a:lnTo>
                  <a:pt x="965606" y="2670848"/>
                </a:lnTo>
                <a:lnTo>
                  <a:pt x="995096" y="2670848"/>
                </a:lnTo>
                <a:close/>
                <a:moveTo>
                  <a:pt x="1132942" y="2673248"/>
                </a:moveTo>
                <a:lnTo>
                  <a:pt x="1132942" y="2642045"/>
                </a:lnTo>
                <a:lnTo>
                  <a:pt x="1164145" y="2642045"/>
                </a:lnTo>
                <a:lnTo>
                  <a:pt x="1164145" y="2611184"/>
                </a:lnTo>
                <a:lnTo>
                  <a:pt x="1132942" y="2611184"/>
                </a:lnTo>
                <a:lnTo>
                  <a:pt x="1132942" y="2579980"/>
                </a:lnTo>
                <a:lnTo>
                  <a:pt x="1102081" y="2579980"/>
                </a:lnTo>
                <a:lnTo>
                  <a:pt x="1102081" y="2611184"/>
                </a:lnTo>
                <a:lnTo>
                  <a:pt x="1070877" y="2611184"/>
                </a:lnTo>
                <a:lnTo>
                  <a:pt x="1070877" y="2642045"/>
                </a:lnTo>
                <a:lnTo>
                  <a:pt x="1102081" y="2642045"/>
                </a:lnTo>
                <a:lnTo>
                  <a:pt x="1102081" y="2673248"/>
                </a:lnTo>
                <a:lnTo>
                  <a:pt x="1132942" y="2673248"/>
                </a:lnTo>
                <a:close/>
                <a:moveTo>
                  <a:pt x="1063333" y="2807322"/>
                </a:moveTo>
                <a:lnTo>
                  <a:pt x="1063333" y="2778176"/>
                </a:lnTo>
                <a:lnTo>
                  <a:pt x="1092479" y="2778176"/>
                </a:lnTo>
                <a:lnTo>
                  <a:pt x="1092479" y="2749372"/>
                </a:lnTo>
                <a:lnTo>
                  <a:pt x="1063333" y="2749372"/>
                </a:lnTo>
                <a:lnTo>
                  <a:pt x="1063333" y="2720226"/>
                </a:lnTo>
                <a:lnTo>
                  <a:pt x="1034529" y="2720226"/>
                </a:lnTo>
                <a:lnTo>
                  <a:pt x="1034529" y="2749372"/>
                </a:lnTo>
                <a:lnTo>
                  <a:pt x="1005383" y="2749372"/>
                </a:lnTo>
                <a:lnTo>
                  <a:pt x="1005383" y="2778176"/>
                </a:lnTo>
                <a:lnTo>
                  <a:pt x="1034529" y="2778176"/>
                </a:lnTo>
                <a:lnTo>
                  <a:pt x="1034529" y="2807322"/>
                </a:lnTo>
                <a:lnTo>
                  <a:pt x="1063333" y="2807322"/>
                </a:lnTo>
                <a:close/>
                <a:moveTo>
                  <a:pt x="2161299" y="3083700"/>
                </a:moveTo>
                <a:lnTo>
                  <a:pt x="2161299" y="3053182"/>
                </a:lnTo>
                <a:lnTo>
                  <a:pt x="2191817" y="3053182"/>
                </a:lnTo>
                <a:lnTo>
                  <a:pt x="2191817" y="3023006"/>
                </a:lnTo>
                <a:lnTo>
                  <a:pt x="2161299" y="3023006"/>
                </a:lnTo>
                <a:lnTo>
                  <a:pt x="2161299" y="2992488"/>
                </a:lnTo>
                <a:lnTo>
                  <a:pt x="2131124" y="2992488"/>
                </a:lnTo>
                <a:lnTo>
                  <a:pt x="2131124" y="3023006"/>
                </a:lnTo>
                <a:lnTo>
                  <a:pt x="2100605" y="3023006"/>
                </a:lnTo>
                <a:lnTo>
                  <a:pt x="2100605" y="3053182"/>
                </a:lnTo>
                <a:lnTo>
                  <a:pt x="2131124" y="3053182"/>
                </a:lnTo>
                <a:lnTo>
                  <a:pt x="2131124" y="3083700"/>
                </a:lnTo>
                <a:lnTo>
                  <a:pt x="2161299" y="3083700"/>
                </a:lnTo>
                <a:close/>
                <a:moveTo>
                  <a:pt x="2093747" y="2949283"/>
                </a:moveTo>
                <a:lnTo>
                  <a:pt x="2093747" y="2917050"/>
                </a:lnTo>
                <a:lnTo>
                  <a:pt x="2125980" y="2917050"/>
                </a:lnTo>
                <a:lnTo>
                  <a:pt x="2125980" y="2884818"/>
                </a:lnTo>
                <a:lnTo>
                  <a:pt x="2093747" y="2884818"/>
                </a:lnTo>
                <a:lnTo>
                  <a:pt x="2093747" y="2852585"/>
                </a:lnTo>
                <a:lnTo>
                  <a:pt x="2061515" y="2852585"/>
                </a:lnTo>
                <a:lnTo>
                  <a:pt x="2061515" y="2884818"/>
                </a:lnTo>
                <a:lnTo>
                  <a:pt x="2029282" y="2884818"/>
                </a:lnTo>
                <a:lnTo>
                  <a:pt x="2029282" y="2917050"/>
                </a:lnTo>
                <a:lnTo>
                  <a:pt x="2061515" y="2917050"/>
                </a:lnTo>
                <a:lnTo>
                  <a:pt x="2061515" y="2949283"/>
                </a:lnTo>
                <a:lnTo>
                  <a:pt x="2093747" y="2949283"/>
                </a:lnTo>
                <a:close/>
                <a:moveTo>
                  <a:pt x="2230565" y="2948597"/>
                </a:moveTo>
                <a:lnTo>
                  <a:pt x="2230565" y="2916707"/>
                </a:lnTo>
                <a:lnTo>
                  <a:pt x="2262454" y="2916707"/>
                </a:lnTo>
                <a:lnTo>
                  <a:pt x="2262454" y="2885161"/>
                </a:lnTo>
                <a:lnTo>
                  <a:pt x="2230565" y="2885161"/>
                </a:lnTo>
                <a:lnTo>
                  <a:pt x="2230565" y="2853271"/>
                </a:lnTo>
                <a:lnTo>
                  <a:pt x="2199018" y="2853271"/>
                </a:lnTo>
                <a:lnTo>
                  <a:pt x="2199018" y="2885161"/>
                </a:lnTo>
                <a:lnTo>
                  <a:pt x="2167128" y="2885161"/>
                </a:lnTo>
                <a:lnTo>
                  <a:pt x="2167128" y="2916707"/>
                </a:lnTo>
                <a:lnTo>
                  <a:pt x="2199018" y="2916707"/>
                </a:lnTo>
                <a:lnTo>
                  <a:pt x="2199018" y="2948597"/>
                </a:lnTo>
                <a:lnTo>
                  <a:pt x="2230565" y="2948597"/>
                </a:lnTo>
                <a:close/>
                <a:moveTo>
                  <a:pt x="857936" y="2396871"/>
                </a:moveTo>
                <a:lnTo>
                  <a:pt x="857936" y="2367039"/>
                </a:lnTo>
                <a:lnTo>
                  <a:pt x="887768" y="2367039"/>
                </a:lnTo>
                <a:lnTo>
                  <a:pt x="887768" y="2337549"/>
                </a:lnTo>
                <a:lnTo>
                  <a:pt x="857936" y="2337549"/>
                </a:lnTo>
                <a:lnTo>
                  <a:pt x="857936" y="2307717"/>
                </a:lnTo>
                <a:lnTo>
                  <a:pt x="828446" y="2307717"/>
                </a:lnTo>
                <a:lnTo>
                  <a:pt x="828446" y="2337549"/>
                </a:lnTo>
                <a:lnTo>
                  <a:pt x="798614" y="2337549"/>
                </a:lnTo>
                <a:lnTo>
                  <a:pt x="798614" y="2367039"/>
                </a:lnTo>
                <a:lnTo>
                  <a:pt x="828446" y="2367039"/>
                </a:lnTo>
                <a:lnTo>
                  <a:pt x="828446" y="2396871"/>
                </a:lnTo>
                <a:lnTo>
                  <a:pt x="857936" y="2396871"/>
                </a:lnTo>
                <a:close/>
                <a:moveTo>
                  <a:pt x="1956587" y="2949283"/>
                </a:moveTo>
                <a:lnTo>
                  <a:pt x="1956587" y="2917050"/>
                </a:lnTo>
                <a:lnTo>
                  <a:pt x="1988820" y="2917050"/>
                </a:lnTo>
                <a:lnTo>
                  <a:pt x="1988820" y="2884818"/>
                </a:lnTo>
                <a:lnTo>
                  <a:pt x="1956587" y="2884818"/>
                </a:lnTo>
                <a:lnTo>
                  <a:pt x="1956587" y="2852585"/>
                </a:lnTo>
                <a:lnTo>
                  <a:pt x="1924355" y="2852585"/>
                </a:lnTo>
                <a:lnTo>
                  <a:pt x="1924355" y="2884818"/>
                </a:lnTo>
                <a:lnTo>
                  <a:pt x="1892122" y="2884818"/>
                </a:lnTo>
                <a:lnTo>
                  <a:pt x="1892122" y="2917050"/>
                </a:lnTo>
                <a:lnTo>
                  <a:pt x="1924355" y="2917050"/>
                </a:lnTo>
                <a:lnTo>
                  <a:pt x="1924355" y="2949283"/>
                </a:lnTo>
                <a:lnTo>
                  <a:pt x="1956587" y="2949283"/>
                </a:lnTo>
                <a:close/>
                <a:moveTo>
                  <a:pt x="1681924" y="2948597"/>
                </a:moveTo>
                <a:lnTo>
                  <a:pt x="1681924" y="2916707"/>
                </a:lnTo>
                <a:lnTo>
                  <a:pt x="1713814" y="2916707"/>
                </a:lnTo>
                <a:lnTo>
                  <a:pt x="1713814" y="2885161"/>
                </a:lnTo>
                <a:lnTo>
                  <a:pt x="1681924" y="2885161"/>
                </a:lnTo>
                <a:lnTo>
                  <a:pt x="1681924" y="2853271"/>
                </a:lnTo>
                <a:lnTo>
                  <a:pt x="1650378" y="2853271"/>
                </a:lnTo>
                <a:lnTo>
                  <a:pt x="1650378" y="2885161"/>
                </a:lnTo>
                <a:lnTo>
                  <a:pt x="1618488" y="2885161"/>
                </a:lnTo>
                <a:lnTo>
                  <a:pt x="1618488" y="2916707"/>
                </a:lnTo>
                <a:lnTo>
                  <a:pt x="1650378" y="2916707"/>
                </a:lnTo>
                <a:lnTo>
                  <a:pt x="1650378" y="2948597"/>
                </a:lnTo>
                <a:lnTo>
                  <a:pt x="1681924" y="2948597"/>
                </a:lnTo>
                <a:close/>
                <a:moveTo>
                  <a:pt x="1612659" y="3083014"/>
                </a:moveTo>
                <a:lnTo>
                  <a:pt x="1612659" y="3053182"/>
                </a:lnTo>
                <a:lnTo>
                  <a:pt x="1642491" y="3053182"/>
                </a:lnTo>
                <a:lnTo>
                  <a:pt x="1642491" y="3023006"/>
                </a:lnTo>
                <a:lnTo>
                  <a:pt x="1612659" y="3023006"/>
                </a:lnTo>
                <a:lnTo>
                  <a:pt x="1612659" y="2993174"/>
                </a:lnTo>
                <a:lnTo>
                  <a:pt x="1582483" y="2993174"/>
                </a:lnTo>
                <a:lnTo>
                  <a:pt x="1582483" y="3023006"/>
                </a:lnTo>
                <a:lnTo>
                  <a:pt x="1552651" y="3023006"/>
                </a:lnTo>
                <a:lnTo>
                  <a:pt x="1552651" y="3053182"/>
                </a:lnTo>
                <a:lnTo>
                  <a:pt x="1582483" y="3053182"/>
                </a:lnTo>
                <a:lnTo>
                  <a:pt x="1582483" y="3083014"/>
                </a:lnTo>
                <a:lnTo>
                  <a:pt x="1612659" y="3083014"/>
                </a:lnTo>
                <a:close/>
                <a:moveTo>
                  <a:pt x="1887322" y="3084043"/>
                </a:moveTo>
                <a:lnTo>
                  <a:pt x="1887322" y="3053525"/>
                </a:lnTo>
                <a:lnTo>
                  <a:pt x="1917840" y="3053525"/>
                </a:lnTo>
                <a:lnTo>
                  <a:pt x="1917840" y="3022664"/>
                </a:lnTo>
                <a:lnTo>
                  <a:pt x="1887322" y="3022664"/>
                </a:lnTo>
                <a:lnTo>
                  <a:pt x="1887322" y="2992145"/>
                </a:lnTo>
                <a:lnTo>
                  <a:pt x="1856461" y="2992145"/>
                </a:lnTo>
                <a:lnTo>
                  <a:pt x="1856461" y="3022664"/>
                </a:lnTo>
                <a:lnTo>
                  <a:pt x="1825942" y="3022664"/>
                </a:lnTo>
                <a:lnTo>
                  <a:pt x="1825942" y="3053525"/>
                </a:lnTo>
                <a:lnTo>
                  <a:pt x="1856461" y="3053525"/>
                </a:lnTo>
                <a:lnTo>
                  <a:pt x="1856461" y="3084043"/>
                </a:lnTo>
                <a:lnTo>
                  <a:pt x="1887322" y="3084043"/>
                </a:lnTo>
                <a:close/>
                <a:moveTo>
                  <a:pt x="1749819" y="3083700"/>
                </a:moveTo>
                <a:lnTo>
                  <a:pt x="1749819" y="3053182"/>
                </a:lnTo>
                <a:lnTo>
                  <a:pt x="1780337" y="3053182"/>
                </a:lnTo>
                <a:lnTo>
                  <a:pt x="1780337" y="3023006"/>
                </a:lnTo>
                <a:lnTo>
                  <a:pt x="1749819" y="3023006"/>
                </a:lnTo>
                <a:lnTo>
                  <a:pt x="1749819" y="2992488"/>
                </a:lnTo>
                <a:lnTo>
                  <a:pt x="1719643" y="2992488"/>
                </a:lnTo>
                <a:lnTo>
                  <a:pt x="1719643" y="3023006"/>
                </a:lnTo>
                <a:lnTo>
                  <a:pt x="1689125" y="3023006"/>
                </a:lnTo>
                <a:lnTo>
                  <a:pt x="1689125" y="3053182"/>
                </a:lnTo>
                <a:lnTo>
                  <a:pt x="1719643" y="3053182"/>
                </a:lnTo>
                <a:lnTo>
                  <a:pt x="1719643" y="3083700"/>
                </a:lnTo>
                <a:lnTo>
                  <a:pt x="1749819" y="3083700"/>
                </a:lnTo>
                <a:close/>
                <a:moveTo>
                  <a:pt x="1819427" y="2949283"/>
                </a:moveTo>
                <a:lnTo>
                  <a:pt x="1819427" y="2917050"/>
                </a:lnTo>
                <a:lnTo>
                  <a:pt x="1851660" y="2917050"/>
                </a:lnTo>
                <a:lnTo>
                  <a:pt x="1851660" y="2884818"/>
                </a:lnTo>
                <a:lnTo>
                  <a:pt x="1819427" y="2884818"/>
                </a:lnTo>
                <a:lnTo>
                  <a:pt x="1819427" y="2852585"/>
                </a:lnTo>
                <a:lnTo>
                  <a:pt x="1787195" y="2852585"/>
                </a:lnTo>
                <a:lnTo>
                  <a:pt x="1787195" y="2884818"/>
                </a:lnTo>
                <a:lnTo>
                  <a:pt x="1754962" y="2884818"/>
                </a:lnTo>
                <a:lnTo>
                  <a:pt x="1754962" y="2917050"/>
                </a:lnTo>
                <a:lnTo>
                  <a:pt x="1787195" y="2917050"/>
                </a:lnTo>
                <a:lnTo>
                  <a:pt x="1787195" y="2949283"/>
                </a:lnTo>
                <a:lnTo>
                  <a:pt x="1819427" y="2949283"/>
                </a:lnTo>
                <a:close/>
                <a:moveTo>
                  <a:pt x="2024482" y="3084043"/>
                </a:moveTo>
                <a:lnTo>
                  <a:pt x="2024482" y="3053525"/>
                </a:lnTo>
                <a:lnTo>
                  <a:pt x="2055000" y="3053525"/>
                </a:lnTo>
                <a:lnTo>
                  <a:pt x="2055000" y="3022664"/>
                </a:lnTo>
                <a:lnTo>
                  <a:pt x="2024482" y="3022664"/>
                </a:lnTo>
                <a:lnTo>
                  <a:pt x="2024482" y="2992145"/>
                </a:lnTo>
                <a:lnTo>
                  <a:pt x="1993621" y="2992145"/>
                </a:lnTo>
                <a:lnTo>
                  <a:pt x="1993621" y="3022664"/>
                </a:lnTo>
                <a:lnTo>
                  <a:pt x="1963102" y="3022664"/>
                </a:lnTo>
                <a:lnTo>
                  <a:pt x="1963102" y="3053525"/>
                </a:lnTo>
                <a:lnTo>
                  <a:pt x="1993621" y="3053525"/>
                </a:lnTo>
                <a:lnTo>
                  <a:pt x="1993621" y="3084043"/>
                </a:lnTo>
                <a:lnTo>
                  <a:pt x="2024482" y="3084043"/>
                </a:lnTo>
                <a:close/>
                <a:moveTo>
                  <a:pt x="1171003" y="1072248"/>
                </a:moveTo>
                <a:lnTo>
                  <a:pt x="1171003" y="1102766"/>
                </a:lnTo>
                <a:lnTo>
                  <a:pt x="1140485" y="1102766"/>
                </a:lnTo>
                <a:lnTo>
                  <a:pt x="1140485" y="1132942"/>
                </a:lnTo>
                <a:lnTo>
                  <a:pt x="1171003" y="1132942"/>
                </a:lnTo>
                <a:lnTo>
                  <a:pt x="1171003" y="1163460"/>
                </a:lnTo>
                <a:lnTo>
                  <a:pt x="1201179" y="1163460"/>
                </a:lnTo>
                <a:lnTo>
                  <a:pt x="1201179" y="1132942"/>
                </a:lnTo>
                <a:lnTo>
                  <a:pt x="1231697" y="1132942"/>
                </a:lnTo>
                <a:lnTo>
                  <a:pt x="1231697" y="1102766"/>
                </a:lnTo>
                <a:lnTo>
                  <a:pt x="1201179" y="1102766"/>
                </a:lnTo>
                <a:lnTo>
                  <a:pt x="1201179" y="1072248"/>
                </a:lnTo>
                <a:lnTo>
                  <a:pt x="1171003" y="1072248"/>
                </a:lnTo>
                <a:close/>
                <a:moveTo>
                  <a:pt x="965606" y="1210780"/>
                </a:moveTo>
                <a:lnTo>
                  <a:pt x="965606" y="1240269"/>
                </a:lnTo>
                <a:lnTo>
                  <a:pt x="936117" y="1240269"/>
                </a:lnTo>
                <a:lnTo>
                  <a:pt x="936117" y="1269759"/>
                </a:lnTo>
                <a:lnTo>
                  <a:pt x="965606" y="1269759"/>
                </a:lnTo>
                <a:lnTo>
                  <a:pt x="965606" y="1299248"/>
                </a:lnTo>
                <a:lnTo>
                  <a:pt x="995096" y="1299248"/>
                </a:lnTo>
                <a:lnTo>
                  <a:pt x="995096" y="1269759"/>
                </a:lnTo>
                <a:lnTo>
                  <a:pt x="1024585" y="1269759"/>
                </a:lnTo>
                <a:lnTo>
                  <a:pt x="1024585" y="1240269"/>
                </a:lnTo>
                <a:lnTo>
                  <a:pt x="995096" y="1240269"/>
                </a:lnTo>
                <a:lnTo>
                  <a:pt x="995096" y="1210780"/>
                </a:lnTo>
                <a:lnTo>
                  <a:pt x="965606" y="1210780"/>
                </a:lnTo>
                <a:close/>
                <a:moveTo>
                  <a:pt x="1034529" y="1074306"/>
                </a:moveTo>
                <a:lnTo>
                  <a:pt x="1034529" y="1103452"/>
                </a:lnTo>
                <a:lnTo>
                  <a:pt x="1005383" y="1103452"/>
                </a:lnTo>
                <a:lnTo>
                  <a:pt x="1005383" y="1132256"/>
                </a:lnTo>
                <a:lnTo>
                  <a:pt x="1034529" y="1132256"/>
                </a:lnTo>
                <a:lnTo>
                  <a:pt x="1034529" y="1161402"/>
                </a:lnTo>
                <a:lnTo>
                  <a:pt x="1063333" y="1161402"/>
                </a:lnTo>
                <a:lnTo>
                  <a:pt x="1063333" y="1132256"/>
                </a:lnTo>
                <a:lnTo>
                  <a:pt x="1092479" y="1132256"/>
                </a:lnTo>
                <a:lnTo>
                  <a:pt x="1092479" y="1103452"/>
                </a:lnTo>
                <a:lnTo>
                  <a:pt x="1063333" y="1103452"/>
                </a:lnTo>
                <a:lnTo>
                  <a:pt x="1063333" y="1074306"/>
                </a:lnTo>
                <a:lnTo>
                  <a:pt x="1034529" y="1074306"/>
                </a:lnTo>
                <a:close/>
                <a:moveTo>
                  <a:pt x="1307478" y="1070534"/>
                </a:moveTo>
                <a:lnTo>
                  <a:pt x="1307478" y="1102081"/>
                </a:lnTo>
                <a:lnTo>
                  <a:pt x="1275931" y="1102081"/>
                </a:lnTo>
                <a:lnTo>
                  <a:pt x="1275931" y="1133627"/>
                </a:lnTo>
                <a:lnTo>
                  <a:pt x="1307478" y="1133627"/>
                </a:lnTo>
                <a:lnTo>
                  <a:pt x="1307478" y="1165174"/>
                </a:lnTo>
                <a:lnTo>
                  <a:pt x="1339024" y="1165174"/>
                </a:lnTo>
                <a:lnTo>
                  <a:pt x="1339024" y="1133627"/>
                </a:lnTo>
                <a:lnTo>
                  <a:pt x="1370571" y="1133627"/>
                </a:lnTo>
                <a:lnTo>
                  <a:pt x="1370571" y="1102081"/>
                </a:lnTo>
                <a:lnTo>
                  <a:pt x="1339024" y="1102081"/>
                </a:lnTo>
                <a:lnTo>
                  <a:pt x="1339024" y="1070534"/>
                </a:lnTo>
                <a:lnTo>
                  <a:pt x="1307478" y="1070534"/>
                </a:lnTo>
                <a:close/>
                <a:moveTo>
                  <a:pt x="1102081" y="1208380"/>
                </a:moveTo>
                <a:lnTo>
                  <a:pt x="1102081" y="1239584"/>
                </a:lnTo>
                <a:lnTo>
                  <a:pt x="1070877" y="1239584"/>
                </a:lnTo>
                <a:lnTo>
                  <a:pt x="1070877" y="1270445"/>
                </a:lnTo>
                <a:lnTo>
                  <a:pt x="1102081" y="1270445"/>
                </a:lnTo>
                <a:lnTo>
                  <a:pt x="1102081" y="1301648"/>
                </a:lnTo>
                <a:lnTo>
                  <a:pt x="1132942" y="1301648"/>
                </a:lnTo>
                <a:lnTo>
                  <a:pt x="1132942" y="1270445"/>
                </a:lnTo>
                <a:lnTo>
                  <a:pt x="1164145" y="1270445"/>
                </a:lnTo>
                <a:lnTo>
                  <a:pt x="1164145" y="1239584"/>
                </a:lnTo>
                <a:lnTo>
                  <a:pt x="1132942" y="1239584"/>
                </a:lnTo>
                <a:lnTo>
                  <a:pt x="1132942" y="1208380"/>
                </a:lnTo>
                <a:lnTo>
                  <a:pt x="1102081" y="1208380"/>
                </a:lnTo>
                <a:close/>
                <a:moveTo>
                  <a:pt x="1239926" y="936460"/>
                </a:moveTo>
                <a:lnTo>
                  <a:pt x="1239926" y="965949"/>
                </a:lnTo>
                <a:lnTo>
                  <a:pt x="1210437" y="965949"/>
                </a:lnTo>
                <a:lnTo>
                  <a:pt x="1210437" y="995439"/>
                </a:lnTo>
                <a:lnTo>
                  <a:pt x="1239926" y="995439"/>
                </a:lnTo>
                <a:lnTo>
                  <a:pt x="1239926" y="1024928"/>
                </a:lnTo>
                <a:lnTo>
                  <a:pt x="1269416" y="1024928"/>
                </a:lnTo>
                <a:lnTo>
                  <a:pt x="1269416" y="995439"/>
                </a:lnTo>
                <a:lnTo>
                  <a:pt x="1298905" y="995439"/>
                </a:lnTo>
                <a:lnTo>
                  <a:pt x="1298905" y="965949"/>
                </a:lnTo>
                <a:lnTo>
                  <a:pt x="1269416" y="965949"/>
                </a:lnTo>
                <a:lnTo>
                  <a:pt x="1269416" y="936460"/>
                </a:lnTo>
                <a:lnTo>
                  <a:pt x="1239926" y="936460"/>
                </a:lnTo>
                <a:close/>
                <a:moveTo>
                  <a:pt x="1376743" y="935088"/>
                </a:moveTo>
                <a:lnTo>
                  <a:pt x="1376743" y="965606"/>
                </a:lnTo>
                <a:lnTo>
                  <a:pt x="1346225" y="965606"/>
                </a:lnTo>
                <a:lnTo>
                  <a:pt x="1346225" y="995782"/>
                </a:lnTo>
                <a:lnTo>
                  <a:pt x="1376743" y="995782"/>
                </a:lnTo>
                <a:lnTo>
                  <a:pt x="1376743" y="1026300"/>
                </a:lnTo>
                <a:lnTo>
                  <a:pt x="1406919" y="1026300"/>
                </a:lnTo>
                <a:lnTo>
                  <a:pt x="1406919" y="995782"/>
                </a:lnTo>
                <a:lnTo>
                  <a:pt x="1437437" y="995782"/>
                </a:lnTo>
                <a:lnTo>
                  <a:pt x="1437437" y="965606"/>
                </a:lnTo>
                <a:lnTo>
                  <a:pt x="1406919" y="965606"/>
                </a:lnTo>
                <a:lnTo>
                  <a:pt x="1406919" y="935088"/>
                </a:lnTo>
                <a:lnTo>
                  <a:pt x="1376743" y="935088"/>
                </a:lnTo>
                <a:close/>
                <a:moveTo>
                  <a:pt x="1513218" y="933717"/>
                </a:moveTo>
                <a:lnTo>
                  <a:pt x="1513218" y="964921"/>
                </a:lnTo>
                <a:lnTo>
                  <a:pt x="1482014" y="964921"/>
                </a:lnTo>
                <a:lnTo>
                  <a:pt x="1482014" y="996467"/>
                </a:lnTo>
                <a:lnTo>
                  <a:pt x="1513218" y="996467"/>
                </a:lnTo>
                <a:lnTo>
                  <a:pt x="1513218" y="1027671"/>
                </a:lnTo>
                <a:lnTo>
                  <a:pt x="1544764" y="1027671"/>
                </a:lnTo>
                <a:lnTo>
                  <a:pt x="1544764" y="996467"/>
                </a:lnTo>
                <a:lnTo>
                  <a:pt x="1575968" y="996467"/>
                </a:lnTo>
                <a:lnTo>
                  <a:pt x="1575968" y="964921"/>
                </a:lnTo>
                <a:lnTo>
                  <a:pt x="1544764" y="964921"/>
                </a:lnTo>
                <a:lnTo>
                  <a:pt x="1544764" y="933717"/>
                </a:lnTo>
                <a:lnTo>
                  <a:pt x="1513218" y="933717"/>
                </a:lnTo>
                <a:close/>
                <a:moveTo>
                  <a:pt x="1582483" y="798614"/>
                </a:moveTo>
                <a:lnTo>
                  <a:pt x="1582483" y="828446"/>
                </a:lnTo>
                <a:lnTo>
                  <a:pt x="1552651" y="828446"/>
                </a:lnTo>
                <a:lnTo>
                  <a:pt x="1552651" y="858622"/>
                </a:lnTo>
                <a:lnTo>
                  <a:pt x="1582483" y="858622"/>
                </a:lnTo>
                <a:lnTo>
                  <a:pt x="1582483" y="888454"/>
                </a:lnTo>
                <a:lnTo>
                  <a:pt x="1612659" y="888454"/>
                </a:lnTo>
                <a:lnTo>
                  <a:pt x="1612659" y="858622"/>
                </a:lnTo>
                <a:lnTo>
                  <a:pt x="1642491" y="858622"/>
                </a:lnTo>
                <a:lnTo>
                  <a:pt x="1642491" y="828446"/>
                </a:lnTo>
                <a:lnTo>
                  <a:pt x="1612659" y="828446"/>
                </a:lnTo>
                <a:lnTo>
                  <a:pt x="1612659" y="798614"/>
                </a:lnTo>
                <a:lnTo>
                  <a:pt x="1582483" y="798614"/>
                </a:lnTo>
                <a:close/>
                <a:moveTo>
                  <a:pt x="1445666" y="799643"/>
                </a:moveTo>
                <a:lnTo>
                  <a:pt x="1445666" y="828789"/>
                </a:lnTo>
                <a:lnTo>
                  <a:pt x="1416520" y="828789"/>
                </a:lnTo>
                <a:lnTo>
                  <a:pt x="1416520" y="858279"/>
                </a:lnTo>
                <a:lnTo>
                  <a:pt x="1445666" y="858279"/>
                </a:lnTo>
                <a:lnTo>
                  <a:pt x="1445666" y="887425"/>
                </a:lnTo>
                <a:lnTo>
                  <a:pt x="1475156" y="887425"/>
                </a:lnTo>
                <a:lnTo>
                  <a:pt x="1475156" y="858279"/>
                </a:lnTo>
                <a:lnTo>
                  <a:pt x="1504302" y="858279"/>
                </a:lnTo>
                <a:lnTo>
                  <a:pt x="1504302" y="828789"/>
                </a:lnTo>
                <a:lnTo>
                  <a:pt x="1475156" y="828789"/>
                </a:lnTo>
                <a:lnTo>
                  <a:pt x="1475156" y="799643"/>
                </a:lnTo>
                <a:lnTo>
                  <a:pt x="1445666" y="799643"/>
                </a:lnTo>
                <a:close/>
                <a:moveTo>
                  <a:pt x="555841" y="1764563"/>
                </a:moveTo>
                <a:lnTo>
                  <a:pt x="555841" y="1790624"/>
                </a:lnTo>
                <a:lnTo>
                  <a:pt x="529780" y="1790624"/>
                </a:lnTo>
                <a:lnTo>
                  <a:pt x="529780" y="1816684"/>
                </a:lnTo>
                <a:lnTo>
                  <a:pt x="555841" y="1816684"/>
                </a:lnTo>
                <a:lnTo>
                  <a:pt x="555841" y="1842745"/>
                </a:lnTo>
                <a:lnTo>
                  <a:pt x="581901" y="1842745"/>
                </a:lnTo>
                <a:lnTo>
                  <a:pt x="581901" y="1816684"/>
                </a:lnTo>
                <a:lnTo>
                  <a:pt x="607962" y="1816684"/>
                </a:lnTo>
                <a:lnTo>
                  <a:pt x="607962" y="1790624"/>
                </a:lnTo>
                <a:lnTo>
                  <a:pt x="581901" y="1790624"/>
                </a:lnTo>
                <a:lnTo>
                  <a:pt x="581901" y="1764563"/>
                </a:lnTo>
                <a:lnTo>
                  <a:pt x="555841" y="1764563"/>
                </a:lnTo>
                <a:close/>
                <a:moveTo>
                  <a:pt x="650824" y="2255596"/>
                </a:moveTo>
                <a:lnTo>
                  <a:pt x="650824" y="2228507"/>
                </a:lnTo>
                <a:lnTo>
                  <a:pt x="677913" y="2228507"/>
                </a:lnTo>
                <a:lnTo>
                  <a:pt x="677913" y="2201761"/>
                </a:lnTo>
                <a:lnTo>
                  <a:pt x="650824" y="2201761"/>
                </a:lnTo>
                <a:lnTo>
                  <a:pt x="650824" y="2174672"/>
                </a:lnTo>
                <a:lnTo>
                  <a:pt x="624078" y="2174672"/>
                </a:lnTo>
                <a:lnTo>
                  <a:pt x="624078" y="2201761"/>
                </a:lnTo>
                <a:lnTo>
                  <a:pt x="596989" y="2201761"/>
                </a:lnTo>
                <a:lnTo>
                  <a:pt x="596989" y="2228507"/>
                </a:lnTo>
                <a:lnTo>
                  <a:pt x="624078" y="2228507"/>
                </a:lnTo>
                <a:lnTo>
                  <a:pt x="624078" y="2255596"/>
                </a:lnTo>
                <a:lnTo>
                  <a:pt x="650824" y="2255596"/>
                </a:lnTo>
                <a:close/>
                <a:moveTo>
                  <a:pt x="2573807" y="1989163"/>
                </a:moveTo>
                <a:lnTo>
                  <a:pt x="2573807" y="1956930"/>
                </a:lnTo>
                <a:lnTo>
                  <a:pt x="2606040" y="1956930"/>
                </a:lnTo>
                <a:lnTo>
                  <a:pt x="2606040" y="1924698"/>
                </a:lnTo>
                <a:lnTo>
                  <a:pt x="2573807" y="1924698"/>
                </a:lnTo>
                <a:lnTo>
                  <a:pt x="2573807" y="1892465"/>
                </a:lnTo>
                <a:lnTo>
                  <a:pt x="2541575" y="1892465"/>
                </a:lnTo>
                <a:lnTo>
                  <a:pt x="2541575" y="1924698"/>
                </a:lnTo>
                <a:lnTo>
                  <a:pt x="2509342" y="1924698"/>
                </a:lnTo>
                <a:lnTo>
                  <a:pt x="2509342" y="1956930"/>
                </a:lnTo>
                <a:lnTo>
                  <a:pt x="2541575" y="1956930"/>
                </a:lnTo>
                <a:lnTo>
                  <a:pt x="2541575" y="1989163"/>
                </a:lnTo>
                <a:lnTo>
                  <a:pt x="2573807" y="1989163"/>
                </a:lnTo>
                <a:close/>
                <a:moveTo>
                  <a:pt x="788327" y="2530945"/>
                </a:moveTo>
                <a:lnTo>
                  <a:pt x="788327" y="2503170"/>
                </a:lnTo>
                <a:lnTo>
                  <a:pt x="816102" y="2503170"/>
                </a:lnTo>
                <a:lnTo>
                  <a:pt x="816102" y="2475738"/>
                </a:lnTo>
                <a:lnTo>
                  <a:pt x="788327" y="2475738"/>
                </a:lnTo>
                <a:lnTo>
                  <a:pt x="788327" y="2447963"/>
                </a:lnTo>
                <a:lnTo>
                  <a:pt x="760895" y="2447963"/>
                </a:lnTo>
                <a:lnTo>
                  <a:pt x="760895" y="2475738"/>
                </a:lnTo>
                <a:lnTo>
                  <a:pt x="733120" y="2475738"/>
                </a:lnTo>
                <a:lnTo>
                  <a:pt x="733120" y="2503170"/>
                </a:lnTo>
                <a:lnTo>
                  <a:pt x="760895" y="2503170"/>
                </a:lnTo>
                <a:lnTo>
                  <a:pt x="760895" y="2530945"/>
                </a:lnTo>
                <a:lnTo>
                  <a:pt x="788327" y="2530945"/>
                </a:lnTo>
                <a:close/>
                <a:moveTo>
                  <a:pt x="719747" y="2393442"/>
                </a:moveTo>
                <a:lnTo>
                  <a:pt x="719747" y="2366010"/>
                </a:lnTo>
                <a:lnTo>
                  <a:pt x="747179" y="2366010"/>
                </a:lnTo>
                <a:lnTo>
                  <a:pt x="747179" y="2338578"/>
                </a:lnTo>
                <a:lnTo>
                  <a:pt x="719747" y="2338578"/>
                </a:lnTo>
                <a:lnTo>
                  <a:pt x="719747" y="2311146"/>
                </a:lnTo>
                <a:lnTo>
                  <a:pt x="692315" y="2311146"/>
                </a:lnTo>
                <a:lnTo>
                  <a:pt x="692315" y="2338578"/>
                </a:lnTo>
                <a:lnTo>
                  <a:pt x="664883" y="2338578"/>
                </a:lnTo>
                <a:lnTo>
                  <a:pt x="664883" y="2366010"/>
                </a:lnTo>
                <a:lnTo>
                  <a:pt x="692315" y="2366010"/>
                </a:lnTo>
                <a:lnTo>
                  <a:pt x="692315" y="2393442"/>
                </a:lnTo>
                <a:lnTo>
                  <a:pt x="719747" y="2393442"/>
                </a:lnTo>
                <a:close/>
                <a:moveTo>
                  <a:pt x="581901" y="2117065"/>
                </a:moveTo>
                <a:lnTo>
                  <a:pt x="581901" y="2091004"/>
                </a:lnTo>
                <a:lnTo>
                  <a:pt x="607962" y="2091004"/>
                </a:lnTo>
                <a:lnTo>
                  <a:pt x="607962" y="2064944"/>
                </a:lnTo>
                <a:lnTo>
                  <a:pt x="581901" y="2064944"/>
                </a:lnTo>
                <a:lnTo>
                  <a:pt x="581901" y="2038883"/>
                </a:lnTo>
                <a:lnTo>
                  <a:pt x="555841" y="2038883"/>
                </a:lnTo>
                <a:lnTo>
                  <a:pt x="555841" y="2064944"/>
                </a:lnTo>
                <a:lnTo>
                  <a:pt x="529780" y="2064944"/>
                </a:lnTo>
                <a:lnTo>
                  <a:pt x="529780" y="2091004"/>
                </a:lnTo>
                <a:lnTo>
                  <a:pt x="555841" y="2091004"/>
                </a:lnTo>
                <a:lnTo>
                  <a:pt x="555841" y="2117065"/>
                </a:lnTo>
                <a:lnTo>
                  <a:pt x="581901" y="2117065"/>
                </a:lnTo>
                <a:close/>
                <a:moveTo>
                  <a:pt x="829475" y="1213866"/>
                </a:moveTo>
                <a:lnTo>
                  <a:pt x="829475" y="1241298"/>
                </a:lnTo>
                <a:lnTo>
                  <a:pt x="802043" y="1241298"/>
                </a:lnTo>
                <a:lnTo>
                  <a:pt x="802043" y="1268730"/>
                </a:lnTo>
                <a:lnTo>
                  <a:pt x="829475" y="1268730"/>
                </a:lnTo>
                <a:lnTo>
                  <a:pt x="829475" y="1296162"/>
                </a:lnTo>
                <a:lnTo>
                  <a:pt x="856907" y="1296162"/>
                </a:lnTo>
                <a:lnTo>
                  <a:pt x="856907" y="1268730"/>
                </a:lnTo>
                <a:lnTo>
                  <a:pt x="884339" y="1268730"/>
                </a:lnTo>
                <a:lnTo>
                  <a:pt x="884339" y="1241298"/>
                </a:lnTo>
                <a:lnTo>
                  <a:pt x="856907" y="1241298"/>
                </a:lnTo>
                <a:lnTo>
                  <a:pt x="856907" y="1213866"/>
                </a:lnTo>
                <a:lnTo>
                  <a:pt x="829475" y="1213866"/>
                </a:lnTo>
                <a:close/>
                <a:moveTo>
                  <a:pt x="624078" y="1626375"/>
                </a:moveTo>
                <a:lnTo>
                  <a:pt x="624078" y="1653121"/>
                </a:lnTo>
                <a:lnTo>
                  <a:pt x="597332" y="1653121"/>
                </a:lnTo>
                <a:lnTo>
                  <a:pt x="597332" y="1679867"/>
                </a:lnTo>
                <a:lnTo>
                  <a:pt x="624078" y="1679867"/>
                </a:lnTo>
                <a:lnTo>
                  <a:pt x="624078" y="1706613"/>
                </a:lnTo>
                <a:lnTo>
                  <a:pt x="650824" y="1706613"/>
                </a:lnTo>
                <a:lnTo>
                  <a:pt x="650824" y="1679867"/>
                </a:lnTo>
                <a:lnTo>
                  <a:pt x="677570" y="1679867"/>
                </a:lnTo>
                <a:lnTo>
                  <a:pt x="677570" y="1653121"/>
                </a:lnTo>
                <a:lnTo>
                  <a:pt x="650824" y="1653121"/>
                </a:lnTo>
                <a:lnTo>
                  <a:pt x="650824" y="1626375"/>
                </a:lnTo>
                <a:lnTo>
                  <a:pt x="624078" y="1626375"/>
                </a:lnTo>
                <a:close/>
                <a:moveTo>
                  <a:pt x="760895" y="1350683"/>
                </a:moveTo>
                <a:lnTo>
                  <a:pt x="760895" y="1378458"/>
                </a:lnTo>
                <a:lnTo>
                  <a:pt x="733120" y="1378458"/>
                </a:lnTo>
                <a:lnTo>
                  <a:pt x="733120" y="1405890"/>
                </a:lnTo>
                <a:lnTo>
                  <a:pt x="760895" y="1405890"/>
                </a:lnTo>
                <a:lnTo>
                  <a:pt x="760895" y="1433665"/>
                </a:lnTo>
                <a:lnTo>
                  <a:pt x="788327" y="1433665"/>
                </a:lnTo>
                <a:lnTo>
                  <a:pt x="788327" y="1405890"/>
                </a:lnTo>
                <a:lnTo>
                  <a:pt x="816102" y="1405890"/>
                </a:lnTo>
                <a:lnTo>
                  <a:pt x="816102" y="1378458"/>
                </a:lnTo>
                <a:lnTo>
                  <a:pt x="788327" y="1378458"/>
                </a:lnTo>
                <a:lnTo>
                  <a:pt x="788327" y="1350683"/>
                </a:lnTo>
                <a:lnTo>
                  <a:pt x="760895" y="1350683"/>
                </a:lnTo>
                <a:close/>
                <a:moveTo>
                  <a:pt x="692315" y="1488186"/>
                </a:moveTo>
                <a:lnTo>
                  <a:pt x="692315" y="1515618"/>
                </a:lnTo>
                <a:lnTo>
                  <a:pt x="664883" y="1515618"/>
                </a:lnTo>
                <a:lnTo>
                  <a:pt x="664883" y="1543050"/>
                </a:lnTo>
                <a:lnTo>
                  <a:pt x="692315" y="1543050"/>
                </a:lnTo>
                <a:lnTo>
                  <a:pt x="692315" y="1570482"/>
                </a:lnTo>
                <a:lnTo>
                  <a:pt x="719747" y="1570482"/>
                </a:lnTo>
                <a:lnTo>
                  <a:pt x="719747" y="1543050"/>
                </a:lnTo>
                <a:lnTo>
                  <a:pt x="747179" y="1543050"/>
                </a:lnTo>
                <a:lnTo>
                  <a:pt x="747179" y="1515618"/>
                </a:lnTo>
                <a:lnTo>
                  <a:pt x="719747" y="1515618"/>
                </a:lnTo>
                <a:lnTo>
                  <a:pt x="719747" y="1488186"/>
                </a:lnTo>
                <a:lnTo>
                  <a:pt x="692315" y="1488186"/>
                </a:lnTo>
                <a:close/>
                <a:moveTo>
                  <a:pt x="1789252" y="663854"/>
                </a:moveTo>
                <a:lnTo>
                  <a:pt x="1789252" y="692315"/>
                </a:lnTo>
                <a:lnTo>
                  <a:pt x="1760791" y="692315"/>
                </a:lnTo>
                <a:lnTo>
                  <a:pt x="1760791" y="720433"/>
                </a:lnTo>
                <a:lnTo>
                  <a:pt x="1789252" y="720433"/>
                </a:lnTo>
                <a:lnTo>
                  <a:pt x="1789252" y="748894"/>
                </a:lnTo>
                <a:lnTo>
                  <a:pt x="1817370" y="748894"/>
                </a:lnTo>
                <a:lnTo>
                  <a:pt x="1817370" y="720433"/>
                </a:lnTo>
                <a:lnTo>
                  <a:pt x="1845831" y="720433"/>
                </a:lnTo>
                <a:lnTo>
                  <a:pt x="1845831" y="692315"/>
                </a:lnTo>
                <a:lnTo>
                  <a:pt x="1817370" y="692315"/>
                </a:lnTo>
                <a:lnTo>
                  <a:pt x="1817370" y="663854"/>
                </a:lnTo>
                <a:lnTo>
                  <a:pt x="1789252" y="663854"/>
                </a:lnTo>
                <a:close/>
                <a:moveTo>
                  <a:pt x="2749372" y="938517"/>
                </a:moveTo>
                <a:lnTo>
                  <a:pt x="2749372" y="966635"/>
                </a:lnTo>
                <a:lnTo>
                  <a:pt x="2721254" y="966635"/>
                </a:lnTo>
                <a:lnTo>
                  <a:pt x="2721254" y="994753"/>
                </a:lnTo>
                <a:lnTo>
                  <a:pt x="2749372" y="994753"/>
                </a:lnTo>
                <a:lnTo>
                  <a:pt x="2749372" y="1022871"/>
                </a:lnTo>
                <a:lnTo>
                  <a:pt x="2777490" y="1022871"/>
                </a:lnTo>
                <a:lnTo>
                  <a:pt x="2777490" y="994753"/>
                </a:lnTo>
                <a:lnTo>
                  <a:pt x="2805608" y="994753"/>
                </a:lnTo>
                <a:lnTo>
                  <a:pt x="2805608" y="966635"/>
                </a:lnTo>
                <a:lnTo>
                  <a:pt x="2777490" y="966635"/>
                </a:lnTo>
                <a:lnTo>
                  <a:pt x="2777490" y="938517"/>
                </a:lnTo>
                <a:lnTo>
                  <a:pt x="2749372" y="938517"/>
                </a:lnTo>
                <a:close/>
                <a:moveTo>
                  <a:pt x="2613584" y="668312"/>
                </a:moveTo>
                <a:lnTo>
                  <a:pt x="2613584" y="693687"/>
                </a:lnTo>
                <a:lnTo>
                  <a:pt x="2588209" y="693687"/>
                </a:lnTo>
                <a:lnTo>
                  <a:pt x="2588209" y="719061"/>
                </a:lnTo>
                <a:lnTo>
                  <a:pt x="2613584" y="719061"/>
                </a:lnTo>
                <a:lnTo>
                  <a:pt x="2613584" y="744436"/>
                </a:lnTo>
                <a:lnTo>
                  <a:pt x="2638958" y="744436"/>
                </a:lnTo>
                <a:lnTo>
                  <a:pt x="2638958" y="719061"/>
                </a:lnTo>
                <a:lnTo>
                  <a:pt x="2664333" y="719061"/>
                </a:lnTo>
                <a:lnTo>
                  <a:pt x="2664333" y="693687"/>
                </a:lnTo>
                <a:lnTo>
                  <a:pt x="2638958" y="693687"/>
                </a:lnTo>
                <a:lnTo>
                  <a:pt x="2638958" y="668312"/>
                </a:lnTo>
                <a:lnTo>
                  <a:pt x="2613584" y="668312"/>
                </a:lnTo>
                <a:close/>
                <a:moveTo>
                  <a:pt x="2681478" y="803415"/>
                </a:moveTo>
                <a:lnTo>
                  <a:pt x="2681478" y="830161"/>
                </a:lnTo>
                <a:lnTo>
                  <a:pt x="2654732" y="830161"/>
                </a:lnTo>
                <a:lnTo>
                  <a:pt x="2654732" y="856907"/>
                </a:lnTo>
                <a:lnTo>
                  <a:pt x="2681478" y="856907"/>
                </a:lnTo>
                <a:lnTo>
                  <a:pt x="2681478" y="883653"/>
                </a:lnTo>
                <a:lnTo>
                  <a:pt x="2708224" y="883653"/>
                </a:lnTo>
                <a:lnTo>
                  <a:pt x="2708224" y="856907"/>
                </a:lnTo>
                <a:lnTo>
                  <a:pt x="2734970" y="856907"/>
                </a:lnTo>
                <a:lnTo>
                  <a:pt x="2734970" y="830161"/>
                </a:lnTo>
                <a:lnTo>
                  <a:pt x="2708224" y="830161"/>
                </a:lnTo>
                <a:lnTo>
                  <a:pt x="2708224" y="803415"/>
                </a:lnTo>
                <a:lnTo>
                  <a:pt x="2681478" y="803415"/>
                </a:lnTo>
                <a:close/>
                <a:moveTo>
                  <a:pt x="2543632" y="801357"/>
                </a:moveTo>
                <a:lnTo>
                  <a:pt x="2543632" y="829475"/>
                </a:lnTo>
                <a:lnTo>
                  <a:pt x="2515514" y="829475"/>
                </a:lnTo>
                <a:lnTo>
                  <a:pt x="2515514" y="857593"/>
                </a:lnTo>
                <a:lnTo>
                  <a:pt x="2543632" y="857593"/>
                </a:lnTo>
                <a:lnTo>
                  <a:pt x="2543632" y="885711"/>
                </a:lnTo>
                <a:lnTo>
                  <a:pt x="2571750" y="885711"/>
                </a:lnTo>
                <a:lnTo>
                  <a:pt x="2571750" y="857593"/>
                </a:lnTo>
                <a:lnTo>
                  <a:pt x="2599868" y="857593"/>
                </a:lnTo>
                <a:lnTo>
                  <a:pt x="2599868" y="829475"/>
                </a:lnTo>
                <a:lnTo>
                  <a:pt x="2571750" y="829475"/>
                </a:lnTo>
                <a:lnTo>
                  <a:pt x="2571750" y="801357"/>
                </a:lnTo>
                <a:lnTo>
                  <a:pt x="2543632" y="801357"/>
                </a:lnTo>
                <a:close/>
                <a:moveTo>
                  <a:pt x="2475738" y="666598"/>
                </a:moveTo>
                <a:lnTo>
                  <a:pt x="2475738" y="693001"/>
                </a:lnTo>
                <a:lnTo>
                  <a:pt x="2449335" y="693001"/>
                </a:lnTo>
                <a:lnTo>
                  <a:pt x="2449335" y="719747"/>
                </a:lnTo>
                <a:lnTo>
                  <a:pt x="2475738" y="719747"/>
                </a:lnTo>
                <a:lnTo>
                  <a:pt x="2475738" y="746150"/>
                </a:lnTo>
                <a:lnTo>
                  <a:pt x="2502484" y="746150"/>
                </a:lnTo>
                <a:lnTo>
                  <a:pt x="2502484" y="719747"/>
                </a:lnTo>
                <a:lnTo>
                  <a:pt x="2528888" y="719747"/>
                </a:lnTo>
                <a:lnTo>
                  <a:pt x="2528888" y="693001"/>
                </a:lnTo>
                <a:lnTo>
                  <a:pt x="2502484" y="693001"/>
                </a:lnTo>
                <a:lnTo>
                  <a:pt x="2502484" y="666598"/>
                </a:lnTo>
                <a:lnTo>
                  <a:pt x="2475738" y="666598"/>
                </a:lnTo>
                <a:close/>
                <a:moveTo>
                  <a:pt x="2819324" y="805472"/>
                </a:moveTo>
                <a:lnTo>
                  <a:pt x="2819324" y="830847"/>
                </a:lnTo>
                <a:lnTo>
                  <a:pt x="2793949" y="830847"/>
                </a:lnTo>
                <a:lnTo>
                  <a:pt x="2793949" y="856221"/>
                </a:lnTo>
                <a:lnTo>
                  <a:pt x="2819324" y="856221"/>
                </a:lnTo>
                <a:lnTo>
                  <a:pt x="2819324" y="881596"/>
                </a:lnTo>
                <a:lnTo>
                  <a:pt x="2844698" y="881596"/>
                </a:lnTo>
                <a:lnTo>
                  <a:pt x="2844698" y="856221"/>
                </a:lnTo>
                <a:lnTo>
                  <a:pt x="2870073" y="856221"/>
                </a:lnTo>
                <a:lnTo>
                  <a:pt x="2870073" y="830847"/>
                </a:lnTo>
                <a:lnTo>
                  <a:pt x="2844698" y="830847"/>
                </a:lnTo>
                <a:lnTo>
                  <a:pt x="2844698" y="805472"/>
                </a:lnTo>
                <a:lnTo>
                  <a:pt x="2819324" y="805472"/>
                </a:lnTo>
                <a:close/>
                <a:moveTo>
                  <a:pt x="3024035" y="1213866"/>
                </a:moveTo>
                <a:lnTo>
                  <a:pt x="3024035" y="1241298"/>
                </a:lnTo>
                <a:lnTo>
                  <a:pt x="2996603" y="1241298"/>
                </a:lnTo>
                <a:lnTo>
                  <a:pt x="2996603" y="1268730"/>
                </a:lnTo>
                <a:lnTo>
                  <a:pt x="3024035" y="1268730"/>
                </a:lnTo>
                <a:lnTo>
                  <a:pt x="3024035" y="1296162"/>
                </a:lnTo>
                <a:lnTo>
                  <a:pt x="3051467" y="1296162"/>
                </a:lnTo>
                <a:lnTo>
                  <a:pt x="3051467" y="1268730"/>
                </a:lnTo>
                <a:lnTo>
                  <a:pt x="3078899" y="1268730"/>
                </a:lnTo>
                <a:lnTo>
                  <a:pt x="3078899" y="1241298"/>
                </a:lnTo>
                <a:lnTo>
                  <a:pt x="3051467" y="1241298"/>
                </a:lnTo>
                <a:lnTo>
                  <a:pt x="3051467" y="1213866"/>
                </a:lnTo>
                <a:lnTo>
                  <a:pt x="3024035" y="1213866"/>
                </a:lnTo>
                <a:close/>
                <a:moveTo>
                  <a:pt x="2405786" y="799643"/>
                </a:moveTo>
                <a:lnTo>
                  <a:pt x="2405786" y="828789"/>
                </a:lnTo>
                <a:lnTo>
                  <a:pt x="2376640" y="828789"/>
                </a:lnTo>
                <a:lnTo>
                  <a:pt x="2376640" y="858279"/>
                </a:lnTo>
                <a:lnTo>
                  <a:pt x="2405786" y="858279"/>
                </a:lnTo>
                <a:lnTo>
                  <a:pt x="2405786" y="887425"/>
                </a:lnTo>
                <a:lnTo>
                  <a:pt x="2435276" y="887425"/>
                </a:lnTo>
                <a:lnTo>
                  <a:pt x="2435276" y="858279"/>
                </a:lnTo>
                <a:lnTo>
                  <a:pt x="2464423" y="858279"/>
                </a:lnTo>
                <a:lnTo>
                  <a:pt x="2464423" y="828789"/>
                </a:lnTo>
                <a:lnTo>
                  <a:pt x="2435276" y="828789"/>
                </a:lnTo>
                <a:lnTo>
                  <a:pt x="2435276" y="799643"/>
                </a:lnTo>
                <a:lnTo>
                  <a:pt x="2405786" y="799643"/>
                </a:lnTo>
                <a:close/>
                <a:moveTo>
                  <a:pt x="2955455" y="1077049"/>
                </a:moveTo>
                <a:lnTo>
                  <a:pt x="2955455" y="1104138"/>
                </a:lnTo>
                <a:lnTo>
                  <a:pt x="2928366" y="1104138"/>
                </a:lnTo>
                <a:lnTo>
                  <a:pt x="2928366" y="1131570"/>
                </a:lnTo>
                <a:lnTo>
                  <a:pt x="2955455" y="1131570"/>
                </a:lnTo>
                <a:lnTo>
                  <a:pt x="2955455" y="1158659"/>
                </a:lnTo>
                <a:lnTo>
                  <a:pt x="2982887" y="1158659"/>
                </a:lnTo>
                <a:lnTo>
                  <a:pt x="2982887" y="1131570"/>
                </a:lnTo>
                <a:lnTo>
                  <a:pt x="3009976" y="1131570"/>
                </a:lnTo>
                <a:lnTo>
                  <a:pt x="3009976" y="1104138"/>
                </a:lnTo>
                <a:lnTo>
                  <a:pt x="2982887" y="1104138"/>
                </a:lnTo>
                <a:lnTo>
                  <a:pt x="2982887" y="1077049"/>
                </a:lnTo>
                <a:lnTo>
                  <a:pt x="2955455" y="1077049"/>
                </a:lnTo>
                <a:close/>
                <a:moveTo>
                  <a:pt x="2887561" y="941261"/>
                </a:moveTo>
                <a:lnTo>
                  <a:pt x="2887561" y="967664"/>
                </a:lnTo>
                <a:lnTo>
                  <a:pt x="2861158" y="967664"/>
                </a:lnTo>
                <a:lnTo>
                  <a:pt x="2861158" y="993724"/>
                </a:lnTo>
                <a:lnTo>
                  <a:pt x="2887561" y="993724"/>
                </a:lnTo>
                <a:lnTo>
                  <a:pt x="2887561" y="1020128"/>
                </a:lnTo>
                <a:lnTo>
                  <a:pt x="2913622" y="1020128"/>
                </a:lnTo>
                <a:lnTo>
                  <a:pt x="2913622" y="993724"/>
                </a:lnTo>
                <a:lnTo>
                  <a:pt x="2940025" y="993724"/>
                </a:lnTo>
                <a:lnTo>
                  <a:pt x="2940025" y="967664"/>
                </a:lnTo>
                <a:lnTo>
                  <a:pt x="2913622" y="967664"/>
                </a:lnTo>
                <a:lnTo>
                  <a:pt x="2913622" y="941261"/>
                </a:lnTo>
                <a:lnTo>
                  <a:pt x="2887561" y="941261"/>
                </a:lnTo>
                <a:close/>
                <a:moveTo>
                  <a:pt x="2200732" y="664197"/>
                </a:moveTo>
                <a:lnTo>
                  <a:pt x="2200732" y="692315"/>
                </a:lnTo>
                <a:lnTo>
                  <a:pt x="2172614" y="692315"/>
                </a:lnTo>
                <a:lnTo>
                  <a:pt x="2172614" y="720433"/>
                </a:lnTo>
                <a:lnTo>
                  <a:pt x="2200732" y="720433"/>
                </a:lnTo>
                <a:lnTo>
                  <a:pt x="2200732" y="748551"/>
                </a:lnTo>
                <a:lnTo>
                  <a:pt x="2228850" y="748551"/>
                </a:lnTo>
                <a:lnTo>
                  <a:pt x="2228850" y="720433"/>
                </a:lnTo>
                <a:lnTo>
                  <a:pt x="2256968" y="720433"/>
                </a:lnTo>
                <a:lnTo>
                  <a:pt x="2256968" y="692315"/>
                </a:lnTo>
                <a:lnTo>
                  <a:pt x="2228850" y="692315"/>
                </a:lnTo>
                <a:lnTo>
                  <a:pt x="2228850" y="664197"/>
                </a:lnTo>
                <a:lnTo>
                  <a:pt x="2200732" y="664197"/>
                </a:lnTo>
                <a:close/>
                <a:moveTo>
                  <a:pt x="1858861" y="530123"/>
                </a:moveTo>
                <a:lnTo>
                  <a:pt x="1858861" y="556184"/>
                </a:lnTo>
                <a:lnTo>
                  <a:pt x="1832800" y="556184"/>
                </a:lnTo>
                <a:lnTo>
                  <a:pt x="1832800" y="582244"/>
                </a:lnTo>
                <a:lnTo>
                  <a:pt x="1858861" y="582244"/>
                </a:lnTo>
                <a:lnTo>
                  <a:pt x="1858861" y="608305"/>
                </a:lnTo>
                <a:lnTo>
                  <a:pt x="1884921" y="608305"/>
                </a:lnTo>
                <a:lnTo>
                  <a:pt x="1884921" y="582244"/>
                </a:lnTo>
                <a:lnTo>
                  <a:pt x="1910982" y="582244"/>
                </a:lnTo>
                <a:lnTo>
                  <a:pt x="1910982" y="556184"/>
                </a:lnTo>
                <a:lnTo>
                  <a:pt x="1884921" y="556184"/>
                </a:lnTo>
                <a:lnTo>
                  <a:pt x="1884921" y="530123"/>
                </a:lnTo>
                <a:lnTo>
                  <a:pt x="1858861" y="530123"/>
                </a:lnTo>
                <a:close/>
                <a:moveTo>
                  <a:pt x="2338235" y="665226"/>
                </a:moveTo>
                <a:lnTo>
                  <a:pt x="2338235" y="692658"/>
                </a:lnTo>
                <a:lnTo>
                  <a:pt x="2310803" y="692658"/>
                </a:lnTo>
                <a:lnTo>
                  <a:pt x="2310803" y="720090"/>
                </a:lnTo>
                <a:lnTo>
                  <a:pt x="2338235" y="720090"/>
                </a:lnTo>
                <a:lnTo>
                  <a:pt x="2338235" y="747522"/>
                </a:lnTo>
                <a:lnTo>
                  <a:pt x="2365667" y="747522"/>
                </a:lnTo>
                <a:lnTo>
                  <a:pt x="2365667" y="720090"/>
                </a:lnTo>
                <a:lnTo>
                  <a:pt x="2393099" y="720090"/>
                </a:lnTo>
                <a:lnTo>
                  <a:pt x="2393099" y="692658"/>
                </a:lnTo>
                <a:lnTo>
                  <a:pt x="2365667" y="692658"/>
                </a:lnTo>
                <a:lnTo>
                  <a:pt x="2365667" y="665226"/>
                </a:lnTo>
                <a:lnTo>
                  <a:pt x="2338235" y="665226"/>
                </a:lnTo>
                <a:close/>
                <a:moveTo>
                  <a:pt x="1721701" y="530466"/>
                </a:moveTo>
                <a:lnTo>
                  <a:pt x="1721701" y="556184"/>
                </a:lnTo>
                <a:lnTo>
                  <a:pt x="1695983" y="556184"/>
                </a:lnTo>
                <a:lnTo>
                  <a:pt x="1695983" y="582244"/>
                </a:lnTo>
                <a:lnTo>
                  <a:pt x="1721701" y="582244"/>
                </a:lnTo>
                <a:lnTo>
                  <a:pt x="1721701" y="607962"/>
                </a:lnTo>
                <a:lnTo>
                  <a:pt x="1747761" y="607962"/>
                </a:lnTo>
                <a:lnTo>
                  <a:pt x="1747761" y="582244"/>
                </a:lnTo>
                <a:lnTo>
                  <a:pt x="1773479" y="582244"/>
                </a:lnTo>
                <a:lnTo>
                  <a:pt x="1773479" y="556184"/>
                </a:lnTo>
                <a:lnTo>
                  <a:pt x="1747761" y="556184"/>
                </a:lnTo>
                <a:lnTo>
                  <a:pt x="1747761" y="530466"/>
                </a:lnTo>
                <a:lnTo>
                  <a:pt x="1721701" y="530466"/>
                </a:lnTo>
                <a:close/>
                <a:moveTo>
                  <a:pt x="1996021" y="530123"/>
                </a:moveTo>
                <a:lnTo>
                  <a:pt x="1996021" y="556184"/>
                </a:lnTo>
                <a:lnTo>
                  <a:pt x="1969960" y="556184"/>
                </a:lnTo>
                <a:lnTo>
                  <a:pt x="1969960" y="582244"/>
                </a:lnTo>
                <a:lnTo>
                  <a:pt x="1996021" y="582244"/>
                </a:lnTo>
                <a:lnTo>
                  <a:pt x="1996021" y="608305"/>
                </a:lnTo>
                <a:lnTo>
                  <a:pt x="2022081" y="608305"/>
                </a:lnTo>
                <a:lnTo>
                  <a:pt x="2022081" y="582244"/>
                </a:lnTo>
                <a:lnTo>
                  <a:pt x="2048142" y="582244"/>
                </a:lnTo>
                <a:lnTo>
                  <a:pt x="2048142" y="556184"/>
                </a:lnTo>
                <a:lnTo>
                  <a:pt x="2022081" y="556184"/>
                </a:lnTo>
                <a:lnTo>
                  <a:pt x="2022081" y="530123"/>
                </a:lnTo>
                <a:lnTo>
                  <a:pt x="1996021" y="530123"/>
                </a:lnTo>
                <a:close/>
                <a:moveTo>
                  <a:pt x="1926069" y="663512"/>
                </a:moveTo>
                <a:lnTo>
                  <a:pt x="1926069" y="691972"/>
                </a:lnTo>
                <a:lnTo>
                  <a:pt x="1897609" y="691972"/>
                </a:lnTo>
                <a:lnTo>
                  <a:pt x="1897609" y="720776"/>
                </a:lnTo>
                <a:lnTo>
                  <a:pt x="1926069" y="720776"/>
                </a:lnTo>
                <a:lnTo>
                  <a:pt x="1926069" y="749237"/>
                </a:lnTo>
                <a:lnTo>
                  <a:pt x="1954873" y="749237"/>
                </a:lnTo>
                <a:lnTo>
                  <a:pt x="1954873" y="720776"/>
                </a:lnTo>
                <a:lnTo>
                  <a:pt x="1983334" y="720776"/>
                </a:lnTo>
                <a:lnTo>
                  <a:pt x="1983334" y="691972"/>
                </a:lnTo>
                <a:lnTo>
                  <a:pt x="1954873" y="691972"/>
                </a:lnTo>
                <a:lnTo>
                  <a:pt x="1954873" y="663512"/>
                </a:lnTo>
                <a:lnTo>
                  <a:pt x="1926069" y="663512"/>
                </a:lnTo>
                <a:close/>
                <a:moveTo>
                  <a:pt x="3093987" y="1080478"/>
                </a:moveTo>
                <a:lnTo>
                  <a:pt x="3093987" y="1105510"/>
                </a:lnTo>
                <a:lnTo>
                  <a:pt x="3068955" y="1105510"/>
                </a:lnTo>
                <a:lnTo>
                  <a:pt x="3068955" y="1130198"/>
                </a:lnTo>
                <a:lnTo>
                  <a:pt x="3093987" y="1130198"/>
                </a:lnTo>
                <a:lnTo>
                  <a:pt x="3093987" y="1155230"/>
                </a:lnTo>
                <a:lnTo>
                  <a:pt x="3118676" y="1155230"/>
                </a:lnTo>
                <a:lnTo>
                  <a:pt x="3118676" y="1130198"/>
                </a:lnTo>
                <a:lnTo>
                  <a:pt x="3143707" y="1130198"/>
                </a:lnTo>
                <a:lnTo>
                  <a:pt x="3143707" y="1105510"/>
                </a:lnTo>
                <a:lnTo>
                  <a:pt x="3118676" y="1105510"/>
                </a:lnTo>
                <a:lnTo>
                  <a:pt x="3118676" y="1080478"/>
                </a:lnTo>
                <a:lnTo>
                  <a:pt x="3093987" y="1080478"/>
                </a:lnTo>
                <a:close/>
                <a:moveTo>
                  <a:pt x="2270684" y="531152"/>
                </a:moveTo>
                <a:lnTo>
                  <a:pt x="2270684" y="556527"/>
                </a:lnTo>
                <a:lnTo>
                  <a:pt x="2245309" y="556527"/>
                </a:lnTo>
                <a:lnTo>
                  <a:pt x="2245309" y="581901"/>
                </a:lnTo>
                <a:lnTo>
                  <a:pt x="2270684" y="581901"/>
                </a:lnTo>
                <a:lnTo>
                  <a:pt x="2270684" y="607276"/>
                </a:lnTo>
                <a:lnTo>
                  <a:pt x="2296058" y="607276"/>
                </a:lnTo>
                <a:lnTo>
                  <a:pt x="2296058" y="581901"/>
                </a:lnTo>
                <a:lnTo>
                  <a:pt x="2321433" y="581901"/>
                </a:lnTo>
                <a:lnTo>
                  <a:pt x="2321433" y="556527"/>
                </a:lnTo>
                <a:lnTo>
                  <a:pt x="2296058" y="556527"/>
                </a:lnTo>
                <a:lnTo>
                  <a:pt x="2296058" y="531152"/>
                </a:lnTo>
                <a:lnTo>
                  <a:pt x="2270684" y="531152"/>
                </a:lnTo>
                <a:close/>
                <a:moveTo>
                  <a:pt x="2133181" y="530466"/>
                </a:moveTo>
                <a:lnTo>
                  <a:pt x="2133181" y="556184"/>
                </a:lnTo>
                <a:lnTo>
                  <a:pt x="2107463" y="556184"/>
                </a:lnTo>
                <a:lnTo>
                  <a:pt x="2107463" y="582244"/>
                </a:lnTo>
                <a:lnTo>
                  <a:pt x="2133181" y="582244"/>
                </a:lnTo>
                <a:lnTo>
                  <a:pt x="2133181" y="607962"/>
                </a:lnTo>
                <a:lnTo>
                  <a:pt x="2159242" y="607962"/>
                </a:lnTo>
                <a:lnTo>
                  <a:pt x="2159242" y="582244"/>
                </a:lnTo>
                <a:lnTo>
                  <a:pt x="2184959" y="582244"/>
                </a:lnTo>
                <a:lnTo>
                  <a:pt x="2184959" y="556184"/>
                </a:lnTo>
                <a:lnTo>
                  <a:pt x="2159242" y="556184"/>
                </a:lnTo>
                <a:lnTo>
                  <a:pt x="2159242" y="530466"/>
                </a:lnTo>
                <a:lnTo>
                  <a:pt x="2133181" y="530466"/>
                </a:lnTo>
                <a:close/>
                <a:moveTo>
                  <a:pt x="2063572" y="663854"/>
                </a:moveTo>
                <a:lnTo>
                  <a:pt x="2063572" y="692315"/>
                </a:lnTo>
                <a:lnTo>
                  <a:pt x="2035111" y="692315"/>
                </a:lnTo>
                <a:lnTo>
                  <a:pt x="2035111" y="720433"/>
                </a:lnTo>
                <a:lnTo>
                  <a:pt x="2063572" y="720433"/>
                </a:lnTo>
                <a:lnTo>
                  <a:pt x="2063572" y="748894"/>
                </a:lnTo>
                <a:lnTo>
                  <a:pt x="2091690" y="748894"/>
                </a:lnTo>
                <a:lnTo>
                  <a:pt x="2091690" y="720433"/>
                </a:lnTo>
                <a:lnTo>
                  <a:pt x="2120151" y="720433"/>
                </a:lnTo>
                <a:lnTo>
                  <a:pt x="2120151" y="692315"/>
                </a:lnTo>
                <a:lnTo>
                  <a:pt x="2091690" y="692315"/>
                </a:lnTo>
                <a:lnTo>
                  <a:pt x="2091690" y="663854"/>
                </a:lnTo>
                <a:lnTo>
                  <a:pt x="2063572" y="663854"/>
                </a:lnTo>
                <a:close/>
                <a:moveTo>
                  <a:pt x="2778862" y="2673248"/>
                </a:moveTo>
                <a:lnTo>
                  <a:pt x="2778862" y="2642045"/>
                </a:lnTo>
                <a:lnTo>
                  <a:pt x="2810066" y="2642045"/>
                </a:lnTo>
                <a:lnTo>
                  <a:pt x="2810066" y="2611184"/>
                </a:lnTo>
                <a:lnTo>
                  <a:pt x="2778862" y="2611184"/>
                </a:lnTo>
                <a:lnTo>
                  <a:pt x="2778862" y="2579980"/>
                </a:lnTo>
                <a:lnTo>
                  <a:pt x="2748001" y="2579980"/>
                </a:lnTo>
                <a:lnTo>
                  <a:pt x="2748001" y="2611184"/>
                </a:lnTo>
                <a:lnTo>
                  <a:pt x="2716797" y="2611184"/>
                </a:lnTo>
                <a:lnTo>
                  <a:pt x="2716797" y="2642045"/>
                </a:lnTo>
                <a:lnTo>
                  <a:pt x="2748001" y="2642045"/>
                </a:lnTo>
                <a:lnTo>
                  <a:pt x="2748001" y="2673248"/>
                </a:lnTo>
                <a:lnTo>
                  <a:pt x="2778862" y="2673248"/>
                </a:lnTo>
                <a:close/>
                <a:moveTo>
                  <a:pt x="2298459" y="3083014"/>
                </a:moveTo>
                <a:lnTo>
                  <a:pt x="2298459" y="3053182"/>
                </a:lnTo>
                <a:lnTo>
                  <a:pt x="2328291" y="3053182"/>
                </a:lnTo>
                <a:lnTo>
                  <a:pt x="2328291" y="3023006"/>
                </a:lnTo>
                <a:lnTo>
                  <a:pt x="2298459" y="3023006"/>
                </a:lnTo>
                <a:lnTo>
                  <a:pt x="2298459" y="2993174"/>
                </a:lnTo>
                <a:lnTo>
                  <a:pt x="2268284" y="2993174"/>
                </a:lnTo>
                <a:lnTo>
                  <a:pt x="2268284" y="3023006"/>
                </a:lnTo>
                <a:lnTo>
                  <a:pt x="2238451" y="3023006"/>
                </a:lnTo>
                <a:lnTo>
                  <a:pt x="2238451" y="3053182"/>
                </a:lnTo>
                <a:lnTo>
                  <a:pt x="2268284" y="3053182"/>
                </a:lnTo>
                <a:lnTo>
                  <a:pt x="2268284" y="3083014"/>
                </a:lnTo>
                <a:lnTo>
                  <a:pt x="2298459" y="3083014"/>
                </a:lnTo>
                <a:close/>
                <a:moveTo>
                  <a:pt x="2641016" y="2945168"/>
                </a:moveTo>
                <a:lnTo>
                  <a:pt x="2641016" y="2915679"/>
                </a:lnTo>
                <a:lnTo>
                  <a:pt x="2670505" y="2915679"/>
                </a:lnTo>
                <a:lnTo>
                  <a:pt x="2670505" y="2886189"/>
                </a:lnTo>
                <a:lnTo>
                  <a:pt x="2641016" y="2886189"/>
                </a:lnTo>
                <a:lnTo>
                  <a:pt x="2641016" y="2856700"/>
                </a:lnTo>
                <a:lnTo>
                  <a:pt x="2611526" y="2856700"/>
                </a:lnTo>
                <a:lnTo>
                  <a:pt x="2611526" y="2886189"/>
                </a:lnTo>
                <a:lnTo>
                  <a:pt x="2582037" y="2886189"/>
                </a:lnTo>
                <a:lnTo>
                  <a:pt x="2582037" y="2915679"/>
                </a:lnTo>
                <a:lnTo>
                  <a:pt x="2611526" y="2915679"/>
                </a:lnTo>
                <a:lnTo>
                  <a:pt x="2611526" y="2945168"/>
                </a:lnTo>
                <a:lnTo>
                  <a:pt x="2641016" y="2945168"/>
                </a:lnTo>
                <a:close/>
                <a:moveTo>
                  <a:pt x="2709939" y="2809380"/>
                </a:moveTo>
                <a:lnTo>
                  <a:pt x="2709939" y="2778862"/>
                </a:lnTo>
                <a:lnTo>
                  <a:pt x="2740457" y="2778862"/>
                </a:lnTo>
                <a:lnTo>
                  <a:pt x="2740457" y="2748686"/>
                </a:lnTo>
                <a:lnTo>
                  <a:pt x="2709939" y="2748686"/>
                </a:lnTo>
                <a:lnTo>
                  <a:pt x="2709939" y="2718168"/>
                </a:lnTo>
                <a:lnTo>
                  <a:pt x="2679764" y="2718168"/>
                </a:lnTo>
                <a:lnTo>
                  <a:pt x="2679764" y="2748686"/>
                </a:lnTo>
                <a:lnTo>
                  <a:pt x="2649245" y="2748686"/>
                </a:lnTo>
                <a:lnTo>
                  <a:pt x="2649245" y="2778862"/>
                </a:lnTo>
                <a:lnTo>
                  <a:pt x="2679764" y="2778862"/>
                </a:lnTo>
                <a:lnTo>
                  <a:pt x="2679764" y="2809380"/>
                </a:lnTo>
                <a:lnTo>
                  <a:pt x="2709939" y="2809380"/>
                </a:lnTo>
                <a:close/>
                <a:moveTo>
                  <a:pt x="2846413" y="2807322"/>
                </a:moveTo>
                <a:lnTo>
                  <a:pt x="2846413" y="2778176"/>
                </a:lnTo>
                <a:lnTo>
                  <a:pt x="2875559" y="2778176"/>
                </a:lnTo>
                <a:lnTo>
                  <a:pt x="2875559" y="2749372"/>
                </a:lnTo>
                <a:lnTo>
                  <a:pt x="2846413" y="2749372"/>
                </a:lnTo>
                <a:lnTo>
                  <a:pt x="2846413" y="2720226"/>
                </a:lnTo>
                <a:lnTo>
                  <a:pt x="2817610" y="2720226"/>
                </a:lnTo>
                <a:lnTo>
                  <a:pt x="2817610" y="2749372"/>
                </a:lnTo>
                <a:lnTo>
                  <a:pt x="2788463" y="2749372"/>
                </a:lnTo>
                <a:lnTo>
                  <a:pt x="2788463" y="2778176"/>
                </a:lnTo>
                <a:lnTo>
                  <a:pt x="2817610" y="2778176"/>
                </a:lnTo>
                <a:lnTo>
                  <a:pt x="2817610" y="2807322"/>
                </a:lnTo>
                <a:lnTo>
                  <a:pt x="2846413" y="2807322"/>
                </a:lnTo>
                <a:close/>
                <a:moveTo>
                  <a:pt x="2573465" y="2811094"/>
                </a:moveTo>
                <a:lnTo>
                  <a:pt x="2573465" y="2779547"/>
                </a:lnTo>
                <a:lnTo>
                  <a:pt x="2605012" y="2779547"/>
                </a:lnTo>
                <a:lnTo>
                  <a:pt x="2605012" y="2748001"/>
                </a:lnTo>
                <a:lnTo>
                  <a:pt x="2573465" y="2748001"/>
                </a:lnTo>
                <a:lnTo>
                  <a:pt x="2573465" y="2716454"/>
                </a:lnTo>
                <a:lnTo>
                  <a:pt x="2541918" y="2716454"/>
                </a:lnTo>
                <a:lnTo>
                  <a:pt x="2541918" y="2748001"/>
                </a:lnTo>
                <a:lnTo>
                  <a:pt x="2510371" y="2748001"/>
                </a:lnTo>
                <a:lnTo>
                  <a:pt x="2510371" y="2779547"/>
                </a:lnTo>
                <a:lnTo>
                  <a:pt x="2541918" y="2779547"/>
                </a:lnTo>
                <a:lnTo>
                  <a:pt x="2541918" y="2811094"/>
                </a:lnTo>
                <a:lnTo>
                  <a:pt x="2573465" y="2811094"/>
                </a:lnTo>
                <a:close/>
                <a:moveTo>
                  <a:pt x="2435276" y="3081985"/>
                </a:moveTo>
                <a:lnTo>
                  <a:pt x="2435276" y="3052839"/>
                </a:lnTo>
                <a:lnTo>
                  <a:pt x="2464423" y="3052839"/>
                </a:lnTo>
                <a:lnTo>
                  <a:pt x="2464423" y="3023349"/>
                </a:lnTo>
                <a:lnTo>
                  <a:pt x="2435276" y="3023349"/>
                </a:lnTo>
                <a:lnTo>
                  <a:pt x="2435276" y="2994203"/>
                </a:lnTo>
                <a:lnTo>
                  <a:pt x="2405786" y="2994203"/>
                </a:lnTo>
                <a:lnTo>
                  <a:pt x="2405786" y="3023349"/>
                </a:lnTo>
                <a:lnTo>
                  <a:pt x="2376640" y="3023349"/>
                </a:lnTo>
                <a:lnTo>
                  <a:pt x="2376640" y="3052839"/>
                </a:lnTo>
                <a:lnTo>
                  <a:pt x="2405786" y="3052839"/>
                </a:lnTo>
                <a:lnTo>
                  <a:pt x="2405786" y="3081985"/>
                </a:lnTo>
                <a:lnTo>
                  <a:pt x="2435276" y="3081985"/>
                </a:lnTo>
                <a:close/>
                <a:moveTo>
                  <a:pt x="2915336" y="2670505"/>
                </a:moveTo>
                <a:lnTo>
                  <a:pt x="2915336" y="2641359"/>
                </a:lnTo>
                <a:lnTo>
                  <a:pt x="2944483" y="2641359"/>
                </a:lnTo>
                <a:lnTo>
                  <a:pt x="2944483" y="2611869"/>
                </a:lnTo>
                <a:lnTo>
                  <a:pt x="2915336" y="2611869"/>
                </a:lnTo>
                <a:lnTo>
                  <a:pt x="2915336" y="2582723"/>
                </a:lnTo>
                <a:lnTo>
                  <a:pt x="2885846" y="2582723"/>
                </a:lnTo>
                <a:lnTo>
                  <a:pt x="2885846" y="2611869"/>
                </a:lnTo>
                <a:lnTo>
                  <a:pt x="2856700" y="2611869"/>
                </a:lnTo>
                <a:lnTo>
                  <a:pt x="2856700" y="2641359"/>
                </a:lnTo>
                <a:lnTo>
                  <a:pt x="2885846" y="2641359"/>
                </a:lnTo>
                <a:lnTo>
                  <a:pt x="2885846" y="2670505"/>
                </a:lnTo>
                <a:lnTo>
                  <a:pt x="2915336" y="2670505"/>
                </a:lnTo>
                <a:close/>
                <a:moveTo>
                  <a:pt x="2367725" y="2947911"/>
                </a:moveTo>
                <a:lnTo>
                  <a:pt x="2367725" y="2916707"/>
                </a:lnTo>
                <a:lnTo>
                  <a:pt x="2398928" y="2916707"/>
                </a:lnTo>
                <a:lnTo>
                  <a:pt x="2398928" y="2885161"/>
                </a:lnTo>
                <a:lnTo>
                  <a:pt x="2367725" y="2885161"/>
                </a:lnTo>
                <a:lnTo>
                  <a:pt x="2367725" y="2853957"/>
                </a:lnTo>
                <a:lnTo>
                  <a:pt x="2336178" y="2853957"/>
                </a:lnTo>
                <a:lnTo>
                  <a:pt x="2336178" y="2885161"/>
                </a:lnTo>
                <a:lnTo>
                  <a:pt x="2304974" y="2885161"/>
                </a:lnTo>
                <a:lnTo>
                  <a:pt x="2304974" y="2916707"/>
                </a:lnTo>
                <a:lnTo>
                  <a:pt x="2336178" y="2916707"/>
                </a:lnTo>
                <a:lnTo>
                  <a:pt x="2336178" y="2947911"/>
                </a:lnTo>
                <a:lnTo>
                  <a:pt x="2367725" y="2947911"/>
                </a:lnTo>
                <a:close/>
                <a:moveTo>
                  <a:pt x="2504542" y="2946883"/>
                </a:moveTo>
                <a:lnTo>
                  <a:pt x="2504542" y="2916365"/>
                </a:lnTo>
                <a:lnTo>
                  <a:pt x="2535060" y="2916365"/>
                </a:lnTo>
                <a:lnTo>
                  <a:pt x="2535060" y="2885504"/>
                </a:lnTo>
                <a:lnTo>
                  <a:pt x="2504542" y="2885504"/>
                </a:lnTo>
                <a:lnTo>
                  <a:pt x="2504542" y="2854985"/>
                </a:lnTo>
                <a:lnTo>
                  <a:pt x="2473681" y="2854985"/>
                </a:lnTo>
                <a:lnTo>
                  <a:pt x="2473681" y="2885504"/>
                </a:lnTo>
                <a:lnTo>
                  <a:pt x="2443163" y="2885504"/>
                </a:lnTo>
                <a:lnTo>
                  <a:pt x="2443163" y="2916365"/>
                </a:lnTo>
                <a:lnTo>
                  <a:pt x="2473681" y="2916365"/>
                </a:lnTo>
                <a:lnTo>
                  <a:pt x="2473681" y="2946883"/>
                </a:lnTo>
                <a:lnTo>
                  <a:pt x="2504542" y="2946883"/>
                </a:lnTo>
                <a:close/>
                <a:moveTo>
                  <a:pt x="3299727" y="1491958"/>
                </a:moveTo>
                <a:lnTo>
                  <a:pt x="3299727" y="1516990"/>
                </a:lnTo>
                <a:lnTo>
                  <a:pt x="3274695" y="1516990"/>
                </a:lnTo>
                <a:lnTo>
                  <a:pt x="3274695" y="1541678"/>
                </a:lnTo>
                <a:lnTo>
                  <a:pt x="3299727" y="1541678"/>
                </a:lnTo>
                <a:lnTo>
                  <a:pt x="3299727" y="1566710"/>
                </a:lnTo>
                <a:lnTo>
                  <a:pt x="3324416" y="1566710"/>
                </a:lnTo>
                <a:lnTo>
                  <a:pt x="3324416" y="1541678"/>
                </a:lnTo>
                <a:lnTo>
                  <a:pt x="3349447" y="1541678"/>
                </a:lnTo>
                <a:lnTo>
                  <a:pt x="3349447" y="1516990"/>
                </a:lnTo>
                <a:lnTo>
                  <a:pt x="3324416" y="1516990"/>
                </a:lnTo>
                <a:lnTo>
                  <a:pt x="3324416" y="1491958"/>
                </a:lnTo>
                <a:lnTo>
                  <a:pt x="3299727" y="1491958"/>
                </a:lnTo>
                <a:close/>
                <a:moveTo>
                  <a:pt x="3299041" y="1764563"/>
                </a:moveTo>
                <a:lnTo>
                  <a:pt x="3299041" y="1790624"/>
                </a:lnTo>
                <a:lnTo>
                  <a:pt x="3272981" y="1790624"/>
                </a:lnTo>
                <a:lnTo>
                  <a:pt x="3272981" y="1816684"/>
                </a:lnTo>
                <a:lnTo>
                  <a:pt x="3299041" y="1816684"/>
                </a:lnTo>
                <a:lnTo>
                  <a:pt x="3299041" y="1842745"/>
                </a:lnTo>
                <a:lnTo>
                  <a:pt x="3325102" y="1842745"/>
                </a:lnTo>
                <a:lnTo>
                  <a:pt x="3325102" y="1816684"/>
                </a:lnTo>
                <a:lnTo>
                  <a:pt x="3351162" y="1816684"/>
                </a:lnTo>
                <a:lnTo>
                  <a:pt x="3351162" y="1790624"/>
                </a:lnTo>
                <a:lnTo>
                  <a:pt x="3325102" y="1790624"/>
                </a:lnTo>
                <a:lnTo>
                  <a:pt x="3325102" y="1764563"/>
                </a:lnTo>
                <a:lnTo>
                  <a:pt x="3299041" y="1764563"/>
                </a:lnTo>
                <a:close/>
                <a:moveTo>
                  <a:pt x="3162224" y="1216952"/>
                </a:moveTo>
                <a:lnTo>
                  <a:pt x="3162224" y="1242327"/>
                </a:lnTo>
                <a:lnTo>
                  <a:pt x="3136849" y="1242327"/>
                </a:lnTo>
                <a:lnTo>
                  <a:pt x="3136849" y="1267701"/>
                </a:lnTo>
                <a:lnTo>
                  <a:pt x="3162224" y="1267701"/>
                </a:lnTo>
                <a:lnTo>
                  <a:pt x="3162224" y="1293076"/>
                </a:lnTo>
                <a:lnTo>
                  <a:pt x="3187598" y="1293076"/>
                </a:lnTo>
                <a:lnTo>
                  <a:pt x="3187598" y="1267701"/>
                </a:lnTo>
                <a:lnTo>
                  <a:pt x="3212973" y="1267701"/>
                </a:lnTo>
                <a:lnTo>
                  <a:pt x="3212973" y="1242327"/>
                </a:lnTo>
                <a:lnTo>
                  <a:pt x="3187598" y="1242327"/>
                </a:lnTo>
                <a:lnTo>
                  <a:pt x="3187598" y="1216952"/>
                </a:lnTo>
                <a:lnTo>
                  <a:pt x="3162224" y="1216952"/>
                </a:lnTo>
                <a:close/>
                <a:moveTo>
                  <a:pt x="2983916" y="2533688"/>
                </a:moveTo>
                <a:lnTo>
                  <a:pt x="2983916" y="2504199"/>
                </a:lnTo>
                <a:lnTo>
                  <a:pt x="3013405" y="2504199"/>
                </a:lnTo>
                <a:lnTo>
                  <a:pt x="3013405" y="2474709"/>
                </a:lnTo>
                <a:lnTo>
                  <a:pt x="2983916" y="2474709"/>
                </a:lnTo>
                <a:lnTo>
                  <a:pt x="2983916" y="2445220"/>
                </a:lnTo>
                <a:lnTo>
                  <a:pt x="2954426" y="2445220"/>
                </a:lnTo>
                <a:lnTo>
                  <a:pt x="2954426" y="2474709"/>
                </a:lnTo>
                <a:lnTo>
                  <a:pt x="2924937" y="2474709"/>
                </a:lnTo>
                <a:lnTo>
                  <a:pt x="2924937" y="2504199"/>
                </a:lnTo>
                <a:lnTo>
                  <a:pt x="2954426" y="2504199"/>
                </a:lnTo>
                <a:lnTo>
                  <a:pt x="2954426" y="2533688"/>
                </a:lnTo>
                <a:lnTo>
                  <a:pt x="2983916" y="2533688"/>
                </a:lnTo>
                <a:close/>
                <a:moveTo>
                  <a:pt x="3325102" y="2117065"/>
                </a:moveTo>
                <a:lnTo>
                  <a:pt x="3325102" y="2091004"/>
                </a:lnTo>
                <a:lnTo>
                  <a:pt x="3351162" y="2091004"/>
                </a:lnTo>
                <a:lnTo>
                  <a:pt x="3351162" y="2064944"/>
                </a:lnTo>
                <a:lnTo>
                  <a:pt x="3325102" y="2064944"/>
                </a:lnTo>
                <a:lnTo>
                  <a:pt x="3325102" y="2038883"/>
                </a:lnTo>
                <a:lnTo>
                  <a:pt x="3299041" y="2038883"/>
                </a:lnTo>
                <a:lnTo>
                  <a:pt x="3299041" y="2064944"/>
                </a:lnTo>
                <a:lnTo>
                  <a:pt x="3272981" y="2064944"/>
                </a:lnTo>
                <a:lnTo>
                  <a:pt x="3272981" y="2091004"/>
                </a:lnTo>
                <a:lnTo>
                  <a:pt x="3299041" y="2091004"/>
                </a:lnTo>
                <a:lnTo>
                  <a:pt x="3299041" y="2117065"/>
                </a:lnTo>
                <a:lnTo>
                  <a:pt x="3325102" y="2117065"/>
                </a:lnTo>
                <a:close/>
                <a:moveTo>
                  <a:pt x="3230804" y="1354112"/>
                </a:moveTo>
                <a:lnTo>
                  <a:pt x="3230804" y="1379487"/>
                </a:lnTo>
                <a:lnTo>
                  <a:pt x="3205429" y="1379487"/>
                </a:lnTo>
                <a:lnTo>
                  <a:pt x="3205429" y="1404861"/>
                </a:lnTo>
                <a:lnTo>
                  <a:pt x="3230804" y="1404861"/>
                </a:lnTo>
                <a:lnTo>
                  <a:pt x="3230804" y="1430236"/>
                </a:lnTo>
                <a:lnTo>
                  <a:pt x="3256178" y="1430236"/>
                </a:lnTo>
                <a:lnTo>
                  <a:pt x="3256178" y="1404861"/>
                </a:lnTo>
                <a:lnTo>
                  <a:pt x="3281553" y="1404861"/>
                </a:lnTo>
                <a:lnTo>
                  <a:pt x="3281553" y="1379487"/>
                </a:lnTo>
                <a:lnTo>
                  <a:pt x="3256178" y="1379487"/>
                </a:lnTo>
                <a:lnTo>
                  <a:pt x="3256178" y="1354112"/>
                </a:lnTo>
                <a:lnTo>
                  <a:pt x="3230804" y="1354112"/>
                </a:lnTo>
                <a:close/>
                <a:moveTo>
                  <a:pt x="3051467" y="2668105"/>
                </a:moveTo>
                <a:lnTo>
                  <a:pt x="3051467" y="2640330"/>
                </a:lnTo>
                <a:lnTo>
                  <a:pt x="3079242" y="2640330"/>
                </a:lnTo>
                <a:lnTo>
                  <a:pt x="3079242" y="2612898"/>
                </a:lnTo>
                <a:lnTo>
                  <a:pt x="3051467" y="2612898"/>
                </a:lnTo>
                <a:lnTo>
                  <a:pt x="3051467" y="2585123"/>
                </a:lnTo>
                <a:lnTo>
                  <a:pt x="3024035" y="2585123"/>
                </a:lnTo>
                <a:lnTo>
                  <a:pt x="3024035" y="2612898"/>
                </a:lnTo>
                <a:lnTo>
                  <a:pt x="2996260" y="2612898"/>
                </a:lnTo>
                <a:lnTo>
                  <a:pt x="2996260" y="2640330"/>
                </a:lnTo>
                <a:lnTo>
                  <a:pt x="3024035" y="2640330"/>
                </a:lnTo>
                <a:lnTo>
                  <a:pt x="3024035" y="2668105"/>
                </a:lnTo>
                <a:lnTo>
                  <a:pt x="3051467" y="2668105"/>
                </a:lnTo>
                <a:close/>
                <a:moveTo>
                  <a:pt x="3256864" y="2255596"/>
                </a:moveTo>
                <a:lnTo>
                  <a:pt x="3256864" y="2228507"/>
                </a:lnTo>
                <a:lnTo>
                  <a:pt x="3283954" y="2228507"/>
                </a:lnTo>
                <a:lnTo>
                  <a:pt x="3283954" y="2201761"/>
                </a:lnTo>
                <a:lnTo>
                  <a:pt x="3256864" y="2201761"/>
                </a:lnTo>
                <a:lnTo>
                  <a:pt x="3256864" y="2174672"/>
                </a:lnTo>
                <a:lnTo>
                  <a:pt x="3230118" y="2174672"/>
                </a:lnTo>
                <a:lnTo>
                  <a:pt x="3230118" y="2201761"/>
                </a:lnTo>
                <a:lnTo>
                  <a:pt x="3203029" y="2201761"/>
                </a:lnTo>
                <a:lnTo>
                  <a:pt x="3203029" y="2228507"/>
                </a:lnTo>
                <a:lnTo>
                  <a:pt x="3230118" y="2228507"/>
                </a:lnTo>
                <a:lnTo>
                  <a:pt x="3230118" y="2255596"/>
                </a:lnTo>
                <a:lnTo>
                  <a:pt x="3256864" y="2255596"/>
                </a:lnTo>
                <a:close/>
                <a:moveTo>
                  <a:pt x="3120047" y="2530945"/>
                </a:moveTo>
                <a:lnTo>
                  <a:pt x="3120047" y="2503170"/>
                </a:lnTo>
                <a:lnTo>
                  <a:pt x="3147822" y="2503170"/>
                </a:lnTo>
                <a:lnTo>
                  <a:pt x="3147822" y="2475738"/>
                </a:lnTo>
                <a:lnTo>
                  <a:pt x="3120047" y="2475738"/>
                </a:lnTo>
                <a:lnTo>
                  <a:pt x="3120047" y="2447963"/>
                </a:lnTo>
                <a:lnTo>
                  <a:pt x="3092615" y="2447963"/>
                </a:lnTo>
                <a:lnTo>
                  <a:pt x="3092615" y="2475738"/>
                </a:lnTo>
                <a:lnTo>
                  <a:pt x="3064840" y="2475738"/>
                </a:lnTo>
                <a:lnTo>
                  <a:pt x="3064840" y="2503170"/>
                </a:lnTo>
                <a:lnTo>
                  <a:pt x="3092615" y="2503170"/>
                </a:lnTo>
                <a:lnTo>
                  <a:pt x="3092615" y="2530945"/>
                </a:lnTo>
                <a:lnTo>
                  <a:pt x="3120047" y="2530945"/>
                </a:lnTo>
                <a:close/>
                <a:moveTo>
                  <a:pt x="3188627" y="2393442"/>
                </a:moveTo>
                <a:lnTo>
                  <a:pt x="3188627" y="2366010"/>
                </a:lnTo>
                <a:lnTo>
                  <a:pt x="3216059" y="2366010"/>
                </a:lnTo>
                <a:lnTo>
                  <a:pt x="3216059" y="2338578"/>
                </a:lnTo>
                <a:lnTo>
                  <a:pt x="3188627" y="2338578"/>
                </a:lnTo>
                <a:lnTo>
                  <a:pt x="3188627" y="2311146"/>
                </a:lnTo>
                <a:lnTo>
                  <a:pt x="3161195" y="2311146"/>
                </a:lnTo>
                <a:lnTo>
                  <a:pt x="3161195" y="2338578"/>
                </a:lnTo>
                <a:lnTo>
                  <a:pt x="3133763" y="2338578"/>
                </a:lnTo>
                <a:lnTo>
                  <a:pt x="3133763" y="2366010"/>
                </a:lnTo>
                <a:lnTo>
                  <a:pt x="3161195" y="2366010"/>
                </a:lnTo>
                <a:lnTo>
                  <a:pt x="3161195" y="2393442"/>
                </a:lnTo>
                <a:lnTo>
                  <a:pt x="3188627" y="2393442"/>
                </a:lnTo>
                <a:close/>
                <a:moveTo>
                  <a:pt x="1581455" y="1069505"/>
                </a:moveTo>
                <a:lnTo>
                  <a:pt x="1581455" y="1101738"/>
                </a:lnTo>
                <a:lnTo>
                  <a:pt x="1549222" y="1101738"/>
                </a:lnTo>
                <a:lnTo>
                  <a:pt x="1549222" y="1133970"/>
                </a:lnTo>
                <a:lnTo>
                  <a:pt x="1581455" y="1133970"/>
                </a:lnTo>
                <a:lnTo>
                  <a:pt x="1581455" y="1166203"/>
                </a:lnTo>
                <a:lnTo>
                  <a:pt x="1613687" y="1166203"/>
                </a:lnTo>
                <a:lnTo>
                  <a:pt x="1613687" y="1133970"/>
                </a:lnTo>
                <a:lnTo>
                  <a:pt x="1645920" y="1133970"/>
                </a:lnTo>
                <a:lnTo>
                  <a:pt x="1645920" y="1101738"/>
                </a:lnTo>
                <a:lnTo>
                  <a:pt x="1613687" y="1101738"/>
                </a:lnTo>
                <a:lnTo>
                  <a:pt x="1613687" y="1069505"/>
                </a:lnTo>
                <a:lnTo>
                  <a:pt x="1581455" y="1069505"/>
                </a:lnTo>
                <a:close/>
                <a:moveTo>
                  <a:pt x="991324" y="3141993"/>
                </a:moveTo>
                <a:lnTo>
                  <a:pt x="969378" y="3141993"/>
                </a:lnTo>
                <a:lnTo>
                  <a:pt x="969378" y="3164281"/>
                </a:lnTo>
                <a:lnTo>
                  <a:pt x="947090" y="3164281"/>
                </a:lnTo>
                <a:lnTo>
                  <a:pt x="947090" y="3186227"/>
                </a:lnTo>
                <a:lnTo>
                  <a:pt x="969378" y="3186227"/>
                </a:lnTo>
                <a:lnTo>
                  <a:pt x="969378" y="3208515"/>
                </a:lnTo>
                <a:lnTo>
                  <a:pt x="991324" y="3208515"/>
                </a:lnTo>
                <a:lnTo>
                  <a:pt x="991324" y="3186227"/>
                </a:lnTo>
                <a:lnTo>
                  <a:pt x="1013612" y="3186227"/>
                </a:lnTo>
                <a:lnTo>
                  <a:pt x="1013612" y="3164281"/>
                </a:lnTo>
                <a:lnTo>
                  <a:pt x="991324" y="3164281"/>
                </a:lnTo>
                <a:lnTo>
                  <a:pt x="991324" y="3141993"/>
                </a:lnTo>
                <a:close/>
                <a:moveTo>
                  <a:pt x="1056475" y="3564446"/>
                </a:moveTo>
                <a:lnTo>
                  <a:pt x="1041387" y="3564446"/>
                </a:lnTo>
                <a:lnTo>
                  <a:pt x="1041387" y="3579190"/>
                </a:lnTo>
                <a:lnTo>
                  <a:pt x="1026643" y="3579190"/>
                </a:lnTo>
                <a:lnTo>
                  <a:pt x="1026643" y="3594278"/>
                </a:lnTo>
                <a:lnTo>
                  <a:pt x="1041387" y="3594278"/>
                </a:lnTo>
                <a:lnTo>
                  <a:pt x="1041387" y="3609023"/>
                </a:lnTo>
                <a:lnTo>
                  <a:pt x="1056475" y="3609023"/>
                </a:lnTo>
                <a:lnTo>
                  <a:pt x="1056475" y="3594278"/>
                </a:lnTo>
                <a:lnTo>
                  <a:pt x="1071220" y="3594278"/>
                </a:lnTo>
                <a:lnTo>
                  <a:pt x="1071220" y="3579190"/>
                </a:lnTo>
                <a:lnTo>
                  <a:pt x="1056475" y="3579190"/>
                </a:lnTo>
                <a:lnTo>
                  <a:pt x="1056475" y="3564446"/>
                </a:lnTo>
                <a:close/>
                <a:moveTo>
                  <a:pt x="1059218" y="3281553"/>
                </a:moveTo>
                <a:lnTo>
                  <a:pt x="1038644" y="3281553"/>
                </a:lnTo>
                <a:lnTo>
                  <a:pt x="1038644" y="3302127"/>
                </a:lnTo>
                <a:lnTo>
                  <a:pt x="1018070" y="3302127"/>
                </a:lnTo>
                <a:lnTo>
                  <a:pt x="1018070" y="3322701"/>
                </a:lnTo>
                <a:lnTo>
                  <a:pt x="1038644" y="3322701"/>
                </a:lnTo>
                <a:lnTo>
                  <a:pt x="1038644" y="3343275"/>
                </a:lnTo>
                <a:lnTo>
                  <a:pt x="1059218" y="3343275"/>
                </a:lnTo>
                <a:lnTo>
                  <a:pt x="1059218" y="3322701"/>
                </a:lnTo>
                <a:lnTo>
                  <a:pt x="1079792" y="3322701"/>
                </a:lnTo>
                <a:lnTo>
                  <a:pt x="1079792" y="3302127"/>
                </a:lnTo>
                <a:lnTo>
                  <a:pt x="1059218" y="3302127"/>
                </a:lnTo>
                <a:lnTo>
                  <a:pt x="1059218" y="3281553"/>
                </a:lnTo>
                <a:close/>
                <a:moveTo>
                  <a:pt x="988924" y="3424199"/>
                </a:moveTo>
                <a:lnTo>
                  <a:pt x="971779" y="3424199"/>
                </a:lnTo>
                <a:lnTo>
                  <a:pt x="971779" y="3441002"/>
                </a:lnTo>
                <a:lnTo>
                  <a:pt x="954976" y="3441002"/>
                </a:lnTo>
                <a:lnTo>
                  <a:pt x="954976" y="3458147"/>
                </a:lnTo>
                <a:lnTo>
                  <a:pt x="971779" y="3458147"/>
                </a:lnTo>
                <a:lnTo>
                  <a:pt x="971779" y="3474949"/>
                </a:lnTo>
                <a:lnTo>
                  <a:pt x="988924" y="3474949"/>
                </a:lnTo>
                <a:lnTo>
                  <a:pt x="988924" y="3458147"/>
                </a:lnTo>
                <a:lnTo>
                  <a:pt x="1005726" y="3458147"/>
                </a:lnTo>
                <a:lnTo>
                  <a:pt x="1005726" y="3441002"/>
                </a:lnTo>
                <a:lnTo>
                  <a:pt x="988924" y="3441002"/>
                </a:lnTo>
                <a:lnTo>
                  <a:pt x="988924" y="3424199"/>
                </a:lnTo>
                <a:close/>
                <a:moveTo>
                  <a:pt x="923430" y="3003118"/>
                </a:moveTo>
                <a:lnTo>
                  <a:pt x="900112" y="3003118"/>
                </a:lnTo>
                <a:lnTo>
                  <a:pt x="900112" y="3026435"/>
                </a:lnTo>
                <a:lnTo>
                  <a:pt x="876795" y="3026435"/>
                </a:lnTo>
                <a:lnTo>
                  <a:pt x="876795" y="3049753"/>
                </a:lnTo>
                <a:lnTo>
                  <a:pt x="900112" y="3049753"/>
                </a:lnTo>
                <a:lnTo>
                  <a:pt x="900112" y="3073070"/>
                </a:lnTo>
                <a:lnTo>
                  <a:pt x="923430" y="3073070"/>
                </a:lnTo>
                <a:lnTo>
                  <a:pt x="923430" y="3049753"/>
                </a:lnTo>
                <a:lnTo>
                  <a:pt x="946747" y="3049753"/>
                </a:lnTo>
                <a:lnTo>
                  <a:pt x="946747" y="3026435"/>
                </a:lnTo>
                <a:lnTo>
                  <a:pt x="923430" y="3026435"/>
                </a:lnTo>
                <a:lnTo>
                  <a:pt x="923430" y="3003118"/>
                </a:lnTo>
                <a:close/>
                <a:moveTo>
                  <a:pt x="1105510" y="3210916"/>
                </a:moveTo>
                <a:lnTo>
                  <a:pt x="1129513" y="3210916"/>
                </a:lnTo>
                <a:lnTo>
                  <a:pt x="1129513" y="3187256"/>
                </a:lnTo>
                <a:lnTo>
                  <a:pt x="1153173" y="3187256"/>
                </a:lnTo>
                <a:lnTo>
                  <a:pt x="1153173" y="3163253"/>
                </a:lnTo>
                <a:lnTo>
                  <a:pt x="1129513" y="3163253"/>
                </a:lnTo>
                <a:lnTo>
                  <a:pt x="1129513" y="3139592"/>
                </a:lnTo>
                <a:lnTo>
                  <a:pt x="1105510" y="3139592"/>
                </a:lnTo>
                <a:lnTo>
                  <a:pt x="1105510" y="3163253"/>
                </a:lnTo>
                <a:lnTo>
                  <a:pt x="1081849" y="3163253"/>
                </a:lnTo>
                <a:lnTo>
                  <a:pt x="1081849" y="3187256"/>
                </a:lnTo>
                <a:lnTo>
                  <a:pt x="1105510" y="3187256"/>
                </a:lnTo>
                <a:lnTo>
                  <a:pt x="1105510" y="3210916"/>
                </a:lnTo>
                <a:close/>
                <a:moveTo>
                  <a:pt x="1197064" y="3279153"/>
                </a:moveTo>
                <a:lnTo>
                  <a:pt x="1175118" y="3279153"/>
                </a:lnTo>
                <a:lnTo>
                  <a:pt x="1175118" y="3301441"/>
                </a:lnTo>
                <a:lnTo>
                  <a:pt x="1152830" y="3301441"/>
                </a:lnTo>
                <a:lnTo>
                  <a:pt x="1152830" y="3323387"/>
                </a:lnTo>
                <a:lnTo>
                  <a:pt x="1175118" y="3323387"/>
                </a:lnTo>
                <a:lnTo>
                  <a:pt x="1175118" y="3345675"/>
                </a:lnTo>
                <a:lnTo>
                  <a:pt x="1197064" y="3345675"/>
                </a:lnTo>
                <a:lnTo>
                  <a:pt x="1197064" y="3323387"/>
                </a:lnTo>
                <a:lnTo>
                  <a:pt x="1219352" y="3323387"/>
                </a:lnTo>
                <a:lnTo>
                  <a:pt x="1219352" y="3301441"/>
                </a:lnTo>
                <a:lnTo>
                  <a:pt x="1197064" y="3301441"/>
                </a:lnTo>
                <a:lnTo>
                  <a:pt x="1197064" y="3279153"/>
                </a:lnTo>
                <a:close/>
                <a:moveTo>
                  <a:pt x="1194321" y="3562045"/>
                </a:moveTo>
                <a:lnTo>
                  <a:pt x="1177861" y="3562045"/>
                </a:lnTo>
                <a:lnTo>
                  <a:pt x="1177861" y="3578504"/>
                </a:lnTo>
                <a:lnTo>
                  <a:pt x="1161402" y="3578504"/>
                </a:lnTo>
                <a:lnTo>
                  <a:pt x="1161402" y="3594964"/>
                </a:lnTo>
                <a:lnTo>
                  <a:pt x="1177861" y="3594964"/>
                </a:lnTo>
                <a:lnTo>
                  <a:pt x="1177861" y="3611423"/>
                </a:lnTo>
                <a:lnTo>
                  <a:pt x="1194321" y="3611423"/>
                </a:lnTo>
                <a:lnTo>
                  <a:pt x="1194321" y="3594964"/>
                </a:lnTo>
                <a:lnTo>
                  <a:pt x="1210780" y="3594964"/>
                </a:lnTo>
                <a:lnTo>
                  <a:pt x="1210780" y="3578504"/>
                </a:lnTo>
                <a:lnTo>
                  <a:pt x="1194321" y="3578504"/>
                </a:lnTo>
                <a:lnTo>
                  <a:pt x="1194321" y="3562045"/>
                </a:lnTo>
                <a:close/>
                <a:moveTo>
                  <a:pt x="921029" y="3284296"/>
                </a:moveTo>
                <a:lnTo>
                  <a:pt x="902513" y="3284296"/>
                </a:lnTo>
                <a:lnTo>
                  <a:pt x="902513" y="3303156"/>
                </a:lnTo>
                <a:lnTo>
                  <a:pt x="883653" y="3303156"/>
                </a:lnTo>
                <a:lnTo>
                  <a:pt x="883653" y="3321672"/>
                </a:lnTo>
                <a:lnTo>
                  <a:pt x="902513" y="3321672"/>
                </a:lnTo>
                <a:lnTo>
                  <a:pt x="902513" y="3340532"/>
                </a:lnTo>
                <a:lnTo>
                  <a:pt x="921029" y="3340532"/>
                </a:lnTo>
                <a:lnTo>
                  <a:pt x="921029" y="3321672"/>
                </a:lnTo>
                <a:lnTo>
                  <a:pt x="939889" y="3321672"/>
                </a:lnTo>
                <a:lnTo>
                  <a:pt x="939889" y="3303156"/>
                </a:lnTo>
                <a:lnTo>
                  <a:pt x="921029" y="3303156"/>
                </a:lnTo>
                <a:lnTo>
                  <a:pt x="921029" y="3284296"/>
                </a:lnTo>
                <a:close/>
                <a:moveTo>
                  <a:pt x="1123683" y="3705035"/>
                </a:moveTo>
                <a:lnTo>
                  <a:pt x="1111339" y="3705035"/>
                </a:lnTo>
                <a:lnTo>
                  <a:pt x="1111339" y="3717722"/>
                </a:lnTo>
                <a:lnTo>
                  <a:pt x="1098652" y="3717722"/>
                </a:lnTo>
                <a:lnTo>
                  <a:pt x="1098652" y="3730066"/>
                </a:lnTo>
                <a:lnTo>
                  <a:pt x="1111339" y="3730066"/>
                </a:lnTo>
                <a:lnTo>
                  <a:pt x="1111339" y="3742754"/>
                </a:lnTo>
                <a:lnTo>
                  <a:pt x="1123683" y="3742754"/>
                </a:lnTo>
                <a:lnTo>
                  <a:pt x="1123683" y="3730066"/>
                </a:lnTo>
                <a:lnTo>
                  <a:pt x="1136371" y="3730066"/>
                </a:lnTo>
                <a:lnTo>
                  <a:pt x="1136371" y="3717722"/>
                </a:lnTo>
                <a:lnTo>
                  <a:pt x="1123683" y="3717722"/>
                </a:lnTo>
                <a:lnTo>
                  <a:pt x="1123683" y="3705035"/>
                </a:lnTo>
                <a:close/>
                <a:moveTo>
                  <a:pt x="1126769" y="3421799"/>
                </a:moveTo>
                <a:lnTo>
                  <a:pt x="1108253" y="3421799"/>
                </a:lnTo>
                <a:lnTo>
                  <a:pt x="1108253" y="3440316"/>
                </a:lnTo>
                <a:lnTo>
                  <a:pt x="1089736" y="3440316"/>
                </a:lnTo>
                <a:lnTo>
                  <a:pt x="1089736" y="3458832"/>
                </a:lnTo>
                <a:lnTo>
                  <a:pt x="1108253" y="3458832"/>
                </a:lnTo>
                <a:lnTo>
                  <a:pt x="1108253" y="3477349"/>
                </a:lnTo>
                <a:lnTo>
                  <a:pt x="1126769" y="3477349"/>
                </a:lnTo>
                <a:lnTo>
                  <a:pt x="1126769" y="3458832"/>
                </a:lnTo>
                <a:lnTo>
                  <a:pt x="1145286" y="3458832"/>
                </a:lnTo>
                <a:lnTo>
                  <a:pt x="1145286" y="3440316"/>
                </a:lnTo>
                <a:lnTo>
                  <a:pt x="1126769" y="3440316"/>
                </a:lnTo>
                <a:lnTo>
                  <a:pt x="1126769" y="3421799"/>
                </a:lnTo>
                <a:close/>
                <a:moveTo>
                  <a:pt x="717004" y="2867673"/>
                </a:moveTo>
                <a:lnTo>
                  <a:pt x="695058" y="2867673"/>
                </a:lnTo>
                <a:lnTo>
                  <a:pt x="695058" y="2889961"/>
                </a:lnTo>
                <a:lnTo>
                  <a:pt x="672770" y="2889961"/>
                </a:lnTo>
                <a:lnTo>
                  <a:pt x="672770" y="2911907"/>
                </a:lnTo>
                <a:lnTo>
                  <a:pt x="695058" y="2911907"/>
                </a:lnTo>
                <a:lnTo>
                  <a:pt x="695058" y="2934195"/>
                </a:lnTo>
                <a:lnTo>
                  <a:pt x="717004" y="2934195"/>
                </a:lnTo>
                <a:lnTo>
                  <a:pt x="717004" y="2911907"/>
                </a:lnTo>
                <a:lnTo>
                  <a:pt x="739292" y="2911907"/>
                </a:lnTo>
                <a:lnTo>
                  <a:pt x="739292" y="2889961"/>
                </a:lnTo>
                <a:lnTo>
                  <a:pt x="717004" y="2889961"/>
                </a:lnTo>
                <a:lnTo>
                  <a:pt x="717004" y="2867673"/>
                </a:lnTo>
                <a:close/>
                <a:moveTo>
                  <a:pt x="714946" y="3148508"/>
                </a:moveTo>
                <a:lnTo>
                  <a:pt x="697116" y="3148508"/>
                </a:lnTo>
                <a:lnTo>
                  <a:pt x="697116" y="3166339"/>
                </a:lnTo>
                <a:lnTo>
                  <a:pt x="679285" y="3166339"/>
                </a:lnTo>
                <a:lnTo>
                  <a:pt x="679285" y="3184169"/>
                </a:lnTo>
                <a:lnTo>
                  <a:pt x="697116" y="3184169"/>
                </a:lnTo>
                <a:lnTo>
                  <a:pt x="697116" y="3202000"/>
                </a:lnTo>
                <a:lnTo>
                  <a:pt x="714946" y="3202000"/>
                </a:lnTo>
                <a:lnTo>
                  <a:pt x="714946" y="3184169"/>
                </a:lnTo>
                <a:lnTo>
                  <a:pt x="732777" y="3184169"/>
                </a:lnTo>
                <a:lnTo>
                  <a:pt x="732777" y="3166339"/>
                </a:lnTo>
                <a:lnTo>
                  <a:pt x="714946" y="3166339"/>
                </a:lnTo>
                <a:lnTo>
                  <a:pt x="714946" y="3148508"/>
                </a:lnTo>
                <a:close/>
                <a:moveTo>
                  <a:pt x="782841" y="3287382"/>
                </a:moveTo>
                <a:lnTo>
                  <a:pt x="766381" y="3287382"/>
                </a:lnTo>
                <a:lnTo>
                  <a:pt x="766381" y="3304184"/>
                </a:lnTo>
                <a:lnTo>
                  <a:pt x="749579" y="3304184"/>
                </a:lnTo>
                <a:lnTo>
                  <a:pt x="749579" y="3320644"/>
                </a:lnTo>
                <a:lnTo>
                  <a:pt x="766381" y="3320644"/>
                </a:lnTo>
                <a:lnTo>
                  <a:pt x="766381" y="3337446"/>
                </a:lnTo>
                <a:lnTo>
                  <a:pt x="782841" y="3337446"/>
                </a:lnTo>
                <a:lnTo>
                  <a:pt x="782841" y="3320644"/>
                </a:lnTo>
                <a:lnTo>
                  <a:pt x="799643" y="3320644"/>
                </a:lnTo>
                <a:lnTo>
                  <a:pt x="799643" y="3304184"/>
                </a:lnTo>
                <a:lnTo>
                  <a:pt x="782841" y="3304184"/>
                </a:lnTo>
                <a:lnTo>
                  <a:pt x="782841" y="3287382"/>
                </a:lnTo>
                <a:close/>
                <a:moveTo>
                  <a:pt x="648767" y="2729827"/>
                </a:moveTo>
                <a:lnTo>
                  <a:pt x="626135" y="2729827"/>
                </a:lnTo>
                <a:lnTo>
                  <a:pt x="626135" y="2752458"/>
                </a:lnTo>
                <a:lnTo>
                  <a:pt x="603504" y="2752458"/>
                </a:lnTo>
                <a:lnTo>
                  <a:pt x="603504" y="2775090"/>
                </a:lnTo>
                <a:lnTo>
                  <a:pt x="626135" y="2775090"/>
                </a:lnTo>
                <a:lnTo>
                  <a:pt x="626135" y="2797721"/>
                </a:lnTo>
                <a:lnTo>
                  <a:pt x="648767" y="2797721"/>
                </a:lnTo>
                <a:lnTo>
                  <a:pt x="648767" y="2775090"/>
                </a:lnTo>
                <a:lnTo>
                  <a:pt x="671398" y="2775090"/>
                </a:lnTo>
                <a:lnTo>
                  <a:pt x="671398" y="2752458"/>
                </a:lnTo>
                <a:lnTo>
                  <a:pt x="648767" y="2752458"/>
                </a:lnTo>
                <a:lnTo>
                  <a:pt x="648767" y="2729827"/>
                </a:lnTo>
                <a:close/>
                <a:moveTo>
                  <a:pt x="785241" y="3006204"/>
                </a:moveTo>
                <a:lnTo>
                  <a:pt x="763981" y="3006204"/>
                </a:lnTo>
                <a:lnTo>
                  <a:pt x="763981" y="3027464"/>
                </a:lnTo>
                <a:lnTo>
                  <a:pt x="742721" y="3027464"/>
                </a:lnTo>
                <a:lnTo>
                  <a:pt x="742721" y="3048724"/>
                </a:lnTo>
                <a:lnTo>
                  <a:pt x="763981" y="3048724"/>
                </a:lnTo>
                <a:lnTo>
                  <a:pt x="763981" y="3069984"/>
                </a:lnTo>
                <a:lnTo>
                  <a:pt x="785241" y="3069984"/>
                </a:lnTo>
                <a:lnTo>
                  <a:pt x="785241" y="3048724"/>
                </a:lnTo>
                <a:lnTo>
                  <a:pt x="806501" y="3048724"/>
                </a:lnTo>
                <a:lnTo>
                  <a:pt x="806501" y="3027464"/>
                </a:lnTo>
                <a:lnTo>
                  <a:pt x="785241" y="3027464"/>
                </a:lnTo>
                <a:lnTo>
                  <a:pt x="785241" y="3006204"/>
                </a:lnTo>
                <a:close/>
                <a:moveTo>
                  <a:pt x="850735" y="3427286"/>
                </a:moveTo>
                <a:lnTo>
                  <a:pt x="835647" y="3427286"/>
                </a:lnTo>
                <a:lnTo>
                  <a:pt x="835647" y="3442030"/>
                </a:lnTo>
                <a:lnTo>
                  <a:pt x="820903" y="3442030"/>
                </a:lnTo>
                <a:lnTo>
                  <a:pt x="820903" y="3457118"/>
                </a:lnTo>
                <a:lnTo>
                  <a:pt x="835647" y="3457118"/>
                </a:lnTo>
                <a:lnTo>
                  <a:pt x="835647" y="3471863"/>
                </a:lnTo>
                <a:lnTo>
                  <a:pt x="850735" y="3471863"/>
                </a:lnTo>
                <a:lnTo>
                  <a:pt x="850735" y="3457118"/>
                </a:lnTo>
                <a:lnTo>
                  <a:pt x="865480" y="3457118"/>
                </a:lnTo>
                <a:lnTo>
                  <a:pt x="865480" y="3442030"/>
                </a:lnTo>
                <a:lnTo>
                  <a:pt x="850735" y="3442030"/>
                </a:lnTo>
                <a:lnTo>
                  <a:pt x="850735" y="3427286"/>
                </a:lnTo>
                <a:close/>
                <a:moveTo>
                  <a:pt x="918286" y="3567189"/>
                </a:moveTo>
                <a:lnTo>
                  <a:pt x="905256" y="3567189"/>
                </a:lnTo>
                <a:lnTo>
                  <a:pt x="905256" y="3580219"/>
                </a:lnTo>
                <a:lnTo>
                  <a:pt x="892226" y="3580219"/>
                </a:lnTo>
                <a:lnTo>
                  <a:pt x="892226" y="3593249"/>
                </a:lnTo>
                <a:lnTo>
                  <a:pt x="905256" y="3593249"/>
                </a:lnTo>
                <a:lnTo>
                  <a:pt x="905256" y="3606279"/>
                </a:lnTo>
                <a:lnTo>
                  <a:pt x="918286" y="3606279"/>
                </a:lnTo>
                <a:lnTo>
                  <a:pt x="918286" y="3593249"/>
                </a:lnTo>
                <a:lnTo>
                  <a:pt x="931316" y="3593249"/>
                </a:lnTo>
                <a:lnTo>
                  <a:pt x="931316" y="3580219"/>
                </a:lnTo>
                <a:lnTo>
                  <a:pt x="918286" y="3580219"/>
                </a:lnTo>
                <a:lnTo>
                  <a:pt x="918286" y="3567189"/>
                </a:lnTo>
                <a:close/>
                <a:moveTo>
                  <a:pt x="1882178" y="3556216"/>
                </a:moveTo>
                <a:lnTo>
                  <a:pt x="1861604" y="3556216"/>
                </a:lnTo>
                <a:lnTo>
                  <a:pt x="1861604" y="3576447"/>
                </a:lnTo>
                <a:lnTo>
                  <a:pt x="1841373" y="3576447"/>
                </a:lnTo>
                <a:lnTo>
                  <a:pt x="1841373" y="3597021"/>
                </a:lnTo>
                <a:lnTo>
                  <a:pt x="1861604" y="3597021"/>
                </a:lnTo>
                <a:lnTo>
                  <a:pt x="1861604" y="3617252"/>
                </a:lnTo>
                <a:lnTo>
                  <a:pt x="1882178" y="3617252"/>
                </a:lnTo>
                <a:lnTo>
                  <a:pt x="1882178" y="3597021"/>
                </a:lnTo>
                <a:lnTo>
                  <a:pt x="1902409" y="3597021"/>
                </a:lnTo>
                <a:lnTo>
                  <a:pt x="1902409" y="3576447"/>
                </a:lnTo>
                <a:lnTo>
                  <a:pt x="1882178" y="3576447"/>
                </a:lnTo>
                <a:lnTo>
                  <a:pt x="1882178" y="3556216"/>
                </a:lnTo>
                <a:close/>
                <a:moveTo>
                  <a:pt x="830847" y="2937624"/>
                </a:moveTo>
                <a:lnTo>
                  <a:pt x="855535" y="2937624"/>
                </a:lnTo>
                <a:lnTo>
                  <a:pt x="855535" y="2913278"/>
                </a:lnTo>
                <a:lnTo>
                  <a:pt x="879881" y="2913278"/>
                </a:lnTo>
                <a:lnTo>
                  <a:pt x="879881" y="2888590"/>
                </a:lnTo>
                <a:lnTo>
                  <a:pt x="855535" y="2888590"/>
                </a:lnTo>
                <a:lnTo>
                  <a:pt x="855535" y="2864244"/>
                </a:lnTo>
                <a:lnTo>
                  <a:pt x="830847" y="2864244"/>
                </a:lnTo>
                <a:lnTo>
                  <a:pt x="830847" y="2888590"/>
                </a:lnTo>
                <a:lnTo>
                  <a:pt x="806501" y="2888590"/>
                </a:lnTo>
                <a:lnTo>
                  <a:pt x="806501" y="2913278"/>
                </a:lnTo>
                <a:lnTo>
                  <a:pt x="830847" y="2913278"/>
                </a:lnTo>
                <a:lnTo>
                  <a:pt x="830847" y="2937624"/>
                </a:lnTo>
                <a:close/>
                <a:moveTo>
                  <a:pt x="712546" y="3430029"/>
                </a:moveTo>
                <a:lnTo>
                  <a:pt x="699516" y="3430029"/>
                </a:lnTo>
                <a:lnTo>
                  <a:pt x="699516" y="3443059"/>
                </a:lnTo>
                <a:lnTo>
                  <a:pt x="686486" y="3443059"/>
                </a:lnTo>
                <a:lnTo>
                  <a:pt x="686486" y="3456089"/>
                </a:lnTo>
                <a:lnTo>
                  <a:pt x="699516" y="3456089"/>
                </a:lnTo>
                <a:lnTo>
                  <a:pt x="699516" y="3469119"/>
                </a:lnTo>
                <a:lnTo>
                  <a:pt x="712546" y="3469119"/>
                </a:lnTo>
                <a:lnTo>
                  <a:pt x="712546" y="3456089"/>
                </a:lnTo>
                <a:lnTo>
                  <a:pt x="725576" y="3456089"/>
                </a:lnTo>
                <a:lnTo>
                  <a:pt x="725576" y="3443059"/>
                </a:lnTo>
                <a:lnTo>
                  <a:pt x="712546" y="3443059"/>
                </a:lnTo>
                <a:lnTo>
                  <a:pt x="712546" y="3430029"/>
                </a:lnTo>
                <a:close/>
                <a:moveTo>
                  <a:pt x="1741246" y="3841166"/>
                </a:moveTo>
                <a:lnTo>
                  <a:pt x="1728216" y="3841166"/>
                </a:lnTo>
                <a:lnTo>
                  <a:pt x="1728216" y="3854539"/>
                </a:lnTo>
                <a:lnTo>
                  <a:pt x="1714843" y="3854539"/>
                </a:lnTo>
                <a:lnTo>
                  <a:pt x="1714843" y="3867569"/>
                </a:lnTo>
                <a:lnTo>
                  <a:pt x="1728216" y="3867569"/>
                </a:lnTo>
                <a:lnTo>
                  <a:pt x="1728216" y="3880942"/>
                </a:lnTo>
                <a:lnTo>
                  <a:pt x="1741246" y="3880942"/>
                </a:lnTo>
                <a:lnTo>
                  <a:pt x="1741246" y="3867569"/>
                </a:lnTo>
                <a:lnTo>
                  <a:pt x="1754619" y="3867569"/>
                </a:lnTo>
                <a:lnTo>
                  <a:pt x="1754619" y="3854539"/>
                </a:lnTo>
                <a:lnTo>
                  <a:pt x="1741246" y="3854539"/>
                </a:lnTo>
                <a:lnTo>
                  <a:pt x="1741246" y="3841166"/>
                </a:lnTo>
                <a:close/>
                <a:moveTo>
                  <a:pt x="1674381" y="3699205"/>
                </a:moveTo>
                <a:lnTo>
                  <a:pt x="1657921" y="3699205"/>
                </a:lnTo>
                <a:lnTo>
                  <a:pt x="1657921" y="3715664"/>
                </a:lnTo>
                <a:lnTo>
                  <a:pt x="1641462" y="3715664"/>
                </a:lnTo>
                <a:lnTo>
                  <a:pt x="1641462" y="3732124"/>
                </a:lnTo>
                <a:lnTo>
                  <a:pt x="1657921" y="3732124"/>
                </a:lnTo>
                <a:lnTo>
                  <a:pt x="1657921" y="3748583"/>
                </a:lnTo>
                <a:lnTo>
                  <a:pt x="1674381" y="3748583"/>
                </a:lnTo>
                <a:lnTo>
                  <a:pt x="1674381" y="3732124"/>
                </a:lnTo>
                <a:lnTo>
                  <a:pt x="1690840" y="3732124"/>
                </a:lnTo>
                <a:lnTo>
                  <a:pt x="1690840" y="3715664"/>
                </a:lnTo>
                <a:lnTo>
                  <a:pt x="1674381" y="3715664"/>
                </a:lnTo>
                <a:lnTo>
                  <a:pt x="1674381" y="3699205"/>
                </a:lnTo>
                <a:close/>
                <a:moveTo>
                  <a:pt x="1677467" y="3415627"/>
                </a:moveTo>
                <a:lnTo>
                  <a:pt x="1654835" y="3415627"/>
                </a:lnTo>
                <a:lnTo>
                  <a:pt x="1654835" y="3438258"/>
                </a:lnTo>
                <a:lnTo>
                  <a:pt x="1632204" y="3438258"/>
                </a:lnTo>
                <a:lnTo>
                  <a:pt x="1632204" y="3460890"/>
                </a:lnTo>
                <a:lnTo>
                  <a:pt x="1654835" y="3460890"/>
                </a:lnTo>
                <a:lnTo>
                  <a:pt x="1654835" y="3483521"/>
                </a:lnTo>
                <a:lnTo>
                  <a:pt x="1677467" y="3483521"/>
                </a:lnTo>
                <a:lnTo>
                  <a:pt x="1677467" y="3460890"/>
                </a:lnTo>
                <a:lnTo>
                  <a:pt x="1700098" y="3460890"/>
                </a:lnTo>
                <a:lnTo>
                  <a:pt x="1700098" y="3438258"/>
                </a:lnTo>
                <a:lnTo>
                  <a:pt x="1677467" y="3438258"/>
                </a:lnTo>
                <a:lnTo>
                  <a:pt x="1677467" y="3415627"/>
                </a:lnTo>
                <a:close/>
                <a:moveTo>
                  <a:pt x="1604086" y="3841852"/>
                </a:moveTo>
                <a:lnTo>
                  <a:pt x="1591056" y="3841852"/>
                </a:lnTo>
                <a:lnTo>
                  <a:pt x="1591056" y="3854539"/>
                </a:lnTo>
                <a:lnTo>
                  <a:pt x="1578369" y="3854539"/>
                </a:lnTo>
                <a:lnTo>
                  <a:pt x="1578369" y="3867569"/>
                </a:lnTo>
                <a:lnTo>
                  <a:pt x="1591056" y="3867569"/>
                </a:lnTo>
                <a:lnTo>
                  <a:pt x="1591056" y="3880256"/>
                </a:lnTo>
                <a:lnTo>
                  <a:pt x="1604086" y="3880256"/>
                </a:lnTo>
                <a:lnTo>
                  <a:pt x="1604086" y="3867569"/>
                </a:lnTo>
                <a:lnTo>
                  <a:pt x="1616773" y="3867569"/>
                </a:lnTo>
                <a:lnTo>
                  <a:pt x="1616773" y="3854539"/>
                </a:lnTo>
                <a:lnTo>
                  <a:pt x="1604086" y="3854539"/>
                </a:lnTo>
                <a:lnTo>
                  <a:pt x="1604086" y="3841852"/>
                </a:lnTo>
                <a:close/>
                <a:moveTo>
                  <a:pt x="1607172" y="3557588"/>
                </a:moveTo>
                <a:lnTo>
                  <a:pt x="1587970" y="3557588"/>
                </a:lnTo>
                <a:lnTo>
                  <a:pt x="1587970" y="3577133"/>
                </a:lnTo>
                <a:lnTo>
                  <a:pt x="1568425" y="3577133"/>
                </a:lnTo>
                <a:lnTo>
                  <a:pt x="1568425" y="3596335"/>
                </a:lnTo>
                <a:lnTo>
                  <a:pt x="1587970" y="3596335"/>
                </a:lnTo>
                <a:lnTo>
                  <a:pt x="1587970" y="3615881"/>
                </a:lnTo>
                <a:lnTo>
                  <a:pt x="1607172" y="3615881"/>
                </a:lnTo>
                <a:lnTo>
                  <a:pt x="1607172" y="3596335"/>
                </a:lnTo>
                <a:lnTo>
                  <a:pt x="1626718" y="3596335"/>
                </a:lnTo>
                <a:lnTo>
                  <a:pt x="1626718" y="3577133"/>
                </a:lnTo>
                <a:lnTo>
                  <a:pt x="1607172" y="3577133"/>
                </a:lnTo>
                <a:lnTo>
                  <a:pt x="1607172" y="3557588"/>
                </a:lnTo>
                <a:close/>
                <a:moveTo>
                  <a:pt x="1539964" y="3416313"/>
                </a:moveTo>
                <a:lnTo>
                  <a:pt x="1518018" y="3416313"/>
                </a:lnTo>
                <a:lnTo>
                  <a:pt x="1518018" y="3438601"/>
                </a:lnTo>
                <a:lnTo>
                  <a:pt x="1495730" y="3438601"/>
                </a:lnTo>
                <a:lnTo>
                  <a:pt x="1495730" y="3460547"/>
                </a:lnTo>
                <a:lnTo>
                  <a:pt x="1518018" y="3460547"/>
                </a:lnTo>
                <a:lnTo>
                  <a:pt x="1518018" y="3482835"/>
                </a:lnTo>
                <a:lnTo>
                  <a:pt x="1539964" y="3482835"/>
                </a:lnTo>
                <a:lnTo>
                  <a:pt x="1539964" y="3460547"/>
                </a:lnTo>
                <a:lnTo>
                  <a:pt x="1562252" y="3460547"/>
                </a:lnTo>
                <a:lnTo>
                  <a:pt x="1562252" y="3438601"/>
                </a:lnTo>
                <a:lnTo>
                  <a:pt x="1539964" y="3438601"/>
                </a:lnTo>
                <a:lnTo>
                  <a:pt x="1539964" y="3416313"/>
                </a:lnTo>
                <a:close/>
                <a:moveTo>
                  <a:pt x="1878749" y="3840480"/>
                </a:moveTo>
                <a:lnTo>
                  <a:pt x="1865033" y="3840480"/>
                </a:lnTo>
                <a:lnTo>
                  <a:pt x="1865033" y="3854196"/>
                </a:lnTo>
                <a:lnTo>
                  <a:pt x="1851317" y="3854196"/>
                </a:lnTo>
                <a:lnTo>
                  <a:pt x="1851317" y="3867912"/>
                </a:lnTo>
                <a:lnTo>
                  <a:pt x="1865033" y="3867912"/>
                </a:lnTo>
                <a:lnTo>
                  <a:pt x="1865033" y="3881628"/>
                </a:lnTo>
                <a:lnTo>
                  <a:pt x="1878749" y="3881628"/>
                </a:lnTo>
                <a:lnTo>
                  <a:pt x="1878749" y="3867912"/>
                </a:lnTo>
                <a:lnTo>
                  <a:pt x="1892465" y="3867912"/>
                </a:lnTo>
                <a:lnTo>
                  <a:pt x="1892465" y="3854196"/>
                </a:lnTo>
                <a:lnTo>
                  <a:pt x="1878749" y="3854196"/>
                </a:lnTo>
                <a:lnTo>
                  <a:pt x="1878749" y="3840480"/>
                </a:lnTo>
                <a:close/>
                <a:moveTo>
                  <a:pt x="1744675" y="3556902"/>
                </a:moveTo>
                <a:lnTo>
                  <a:pt x="1724787" y="3556902"/>
                </a:lnTo>
                <a:lnTo>
                  <a:pt x="1724787" y="3576790"/>
                </a:lnTo>
                <a:lnTo>
                  <a:pt x="1704899" y="3576790"/>
                </a:lnTo>
                <a:lnTo>
                  <a:pt x="1704899" y="3596678"/>
                </a:lnTo>
                <a:lnTo>
                  <a:pt x="1724787" y="3596678"/>
                </a:lnTo>
                <a:lnTo>
                  <a:pt x="1724787" y="3616566"/>
                </a:lnTo>
                <a:lnTo>
                  <a:pt x="1744675" y="3616566"/>
                </a:lnTo>
                <a:lnTo>
                  <a:pt x="1744675" y="3596678"/>
                </a:lnTo>
                <a:lnTo>
                  <a:pt x="1764563" y="3596678"/>
                </a:lnTo>
                <a:lnTo>
                  <a:pt x="1764563" y="3576790"/>
                </a:lnTo>
                <a:lnTo>
                  <a:pt x="1744675" y="3576790"/>
                </a:lnTo>
                <a:lnTo>
                  <a:pt x="1744675" y="3556902"/>
                </a:lnTo>
                <a:close/>
                <a:moveTo>
                  <a:pt x="1814970" y="3414598"/>
                </a:moveTo>
                <a:lnTo>
                  <a:pt x="1791652" y="3414598"/>
                </a:lnTo>
                <a:lnTo>
                  <a:pt x="1791652" y="3437915"/>
                </a:lnTo>
                <a:lnTo>
                  <a:pt x="1768335" y="3437915"/>
                </a:lnTo>
                <a:lnTo>
                  <a:pt x="1768335" y="3461233"/>
                </a:lnTo>
                <a:lnTo>
                  <a:pt x="1791652" y="3461233"/>
                </a:lnTo>
                <a:lnTo>
                  <a:pt x="1791652" y="3484550"/>
                </a:lnTo>
                <a:lnTo>
                  <a:pt x="1814970" y="3484550"/>
                </a:lnTo>
                <a:lnTo>
                  <a:pt x="1814970" y="3461233"/>
                </a:lnTo>
                <a:lnTo>
                  <a:pt x="1838287" y="3461233"/>
                </a:lnTo>
                <a:lnTo>
                  <a:pt x="1838287" y="3437915"/>
                </a:lnTo>
                <a:lnTo>
                  <a:pt x="1814970" y="3437915"/>
                </a:lnTo>
                <a:lnTo>
                  <a:pt x="1814970" y="3414598"/>
                </a:lnTo>
                <a:close/>
                <a:moveTo>
                  <a:pt x="1811884" y="3698519"/>
                </a:moveTo>
                <a:lnTo>
                  <a:pt x="1794739" y="3698519"/>
                </a:lnTo>
                <a:lnTo>
                  <a:pt x="1794739" y="3715322"/>
                </a:lnTo>
                <a:lnTo>
                  <a:pt x="1777936" y="3715322"/>
                </a:lnTo>
                <a:lnTo>
                  <a:pt x="1777936" y="3732467"/>
                </a:lnTo>
                <a:lnTo>
                  <a:pt x="1794739" y="3732467"/>
                </a:lnTo>
                <a:lnTo>
                  <a:pt x="1794739" y="3749269"/>
                </a:lnTo>
                <a:lnTo>
                  <a:pt x="1811884" y="3749269"/>
                </a:lnTo>
                <a:lnTo>
                  <a:pt x="1811884" y="3732467"/>
                </a:lnTo>
                <a:lnTo>
                  <a:pt x="1828686" y="3732467"/>
                </a:lnTo>
                <a:lnTo>
                  <a:pt x="1828686" y="3715322"/>
                </a:lnTo>
                <a:lnTo>
                  <a:pt x="1811884" y="3715322"/>
                </a:lnTo>
                <a:lnTo>
                  <a:pt x="1811884" y="3698519"/>
                </a:lnTo>
                <a:close/>
                <a:moveTo>
                  <a:pt x="1402461" y="3417684"/>
                </a:moveTo>
                <a:lnTo>
                  <a:pt x="1381201" y="3417684"/>
                </a:lnTo>
                <a:lnTo>
                  <a:pt x="1381201" y="3438944"/>
                </a:lnTo>
                <a:lnTo>
                  <a:pt x="1359941" y="3438944"/>
                </a:lnTo>
                <a:lnTo>
                  <a:pt x="1359941" y="3460204"/>
                </a:lnTo>
                <a:lnTo>
                  <a:pt x="1381201" y="3460204"/>
                </a:lnTo>
                <a:lnTo>
                  <a:pt x="1381201" y="3481464"/>
                </a:lnTo>
                <a:lnTo>
                  <a:pt x="1402461" y="3481464"/>
                </a:lnTo>
                <a:lnTo>
                  <a:pt x="1402461" y="3460204"/>
                </a:lnTo>
                <a:lnTo>
                  <a:pt x="1423721" y="3460204"/>
                </a:lnTo>
                <a:lnTo>
                  <a:pt x="1423721" y="3438944"/>
                </a:lnTo>
                <a:lnTo>
                  <a:pt x="1402461" y="3438944"/>
                </a:lnTo>
                <a:lnTo>
                  <a:pt x="1402461" y="3417684"/>
                </a:lnTo>
                <a:close/>
                <a:moveTo>
                  <a:pt x="1334910" y="3277438"/>
                </a:moveTo>
                <a:lnTo>
                  <a:pt x="1311592" y="3277438"/>
                </a:lnTo>
                <a:lnTo>
                  <a:pt x="1311592" y="3300755"/>
                </a:lnTo>
                <a:lnTo>
                  <a:pt x="1288275" y="3300755"/>
                </a:lnTo>
                <a:lnTo>
                  <a:pt x="1288275" y="3324073"/>
                </a:lnTo>
                <a:lnTo>
                  <a:pt x="1311592" y="3324073"/>
                </a:lnTo>
                <a:lnTo>
                  <a:pt x="1311592" y="3347390"/>
                </a:lnTo>
                <a:lnTo>
                  <a:pt x="1334910" y="3347390"/>
                </a:lnTo>
                <a:lnTo>
                  <a:pt x="1334910" y="3324073"/>
                </a:lnTo>
                <a:lnTo>
                  <a:pt x="1358227" y="3324073"/>
                </a:lnTo>
                <a:lnTo>
                  <a:pt x="1358227" y="3300755"/>
                </a:lnTo>
                <a:lnTo>
                  <a:pt x="1334910" y="3300755"/>
                </a:lnTo>
                <a:lnTo>
                  <a:pt x="1334910" y="3277438"/>
                </a:lnTo>
                <a:close/>
                <a:moveTo>
                  <a:pt x="1399375" y="3701263"/>
                </a:moveTo>
                <a:lnTo>
                  <a:pt x="1384287" y="3701263"/>
                </a:lnTo>
                <a:lnTo>
                  <a:pt x="1384287" y="3716350"/>
                </a:lnTo>
                <a:lnTo>
                  <a:pt x="1369200" y="3716350"/>
                </a:lnTo>
                <a:lnTo>
                  <a:pt x="1369200" y="3731438"/>
                </a:lnTo>
                <a:lnTo>
                  <a:pt x="1384287" y="3731438"/>
                </a:lnTo>
                <a:lnTo>
                  <a:pt x="1384287" y="3746525"/>
                </a:lnTo>
                <a:lnTo>
                  <a:pt x="1399375" y="3746525"/>
                </a:lnTo>
                <a:lnTo>
                  <a:pt x="1399375" y="3731438"/>
                </a:lnTo>
                <a:lnTo>
                  <a:pt x="1414462" y="3731438"/>
                </a:lnTo>
                <a:lnTo>
                  <a:pt x="1414462" y="3716350"/>
                </a:lnTo>
                <a:lnTo>
                  <a:pt x="1399375" y="3716350"/>
                </a:lnTo>
                <a:lnTo>
                  <a:pt x="1399375" y="3701263"/>
                </a:lnTo>
                <a:close/>
                <a:moveTo>
                  <a:pt x="1332166" y="3560331"/>
                </a:moveTo>
                <a:lnTo>
                  <a:pt x="1314336" y="3560331"/>
                </a:lnTo>
                <a:lnTo>
                  <a:pt x="1314336" y="3577819"/>
                </a:lnTo>
                <a:lnTo>
                  <a:pt x="1296848" y="3577819"/>
                </a:lnTo>
                <a:lnTo>
                  <a:pt x="1296848" y="3595649"/>
                </a:lnTo>
                <a:lnTo>
                  <a:pt x="1314336" y="3595649"/>
                </a:lnTo>
                <a:lnTo>
                  <a:pt x="1314336" y="3613137"/>
                </a:lnTo>
                <a:lnTo>
                  <a:pt x="1332166" y="3613137"/>
                </a:lnTo>
                <a:lnTo>
                  <a:pt x="1332166" y="3595649"/>
                </a:lnTo>
                <a:lnTo>
                  <a:pt x="1349654" y="3595649"/>
                </a:lnTo>
                <a:lnTo>
                  <a:pt x="1349654" y="3577819"/>
                </a:lnTo>
                <a:lnTo>
                  <a:pt x="1332166" y="3577819"/>
                </a:lnTo>
                <a:lnTo>
                  <a:pt x="1332166" y="3560331"/>
                </a:lnTo>
                <a:close/>
                <a:moveTo>
                  <a:pt x="1264615" y="3419399"/>
                </a:moveTo>
                <a:lnTo>
                  <a:pt x="1244727" y="3419399"/>
                </a:lnTo>
                <a:lnTo>
                  <a:pt x="1244727" y="3439630"/>
                </a:lnTo>
                <a:lnTo>
                  <a:pt x="1224496" y="3439630"/>
                </a:lnTo>
                <a:lnTo>
                  <a:pt x="1224496" y="3459518"/>
                </a:lnTo>
                <a:lnTo>
                  <a:pt x="1244727" y="3459518"/>
                </a:lnTo>
                <a:lnTo>
                  <a:pt x="1244727" y="3479749"/>
                </a:lnTo>
                <a:lnTo>
                  <a:pt x="1264615" y="3479749"/>
                </a:lnTo>
                <a:lnTo>
                  <a:pt x="1264615" y="3459518"/>
                </a:lnTo>
                <a:lnTo>
                  <a:pt x="1284846" y="3459518"/>
                </a:lnTo>
                <a:lnTo>
                  <a:pt x="1284846" y="3439630"/>
                </a:lnTo>
                <a:lnTo>
                  <a:pt x="1264615" y="3439630"/>
                </a:lnTo>
                <a:lnTo>
                  <a:pt x="1264615" y="3419399"/>
                </a:lnTo>
                <a:close/>
                <a:moveTo>
                  <a:pt x="1536878" y="3699891"/>
                </a:moveTo>
                <a:lnTo>
                  <a:pt x="1521104" y="3699891"/>
                </a:lnTo>
                <a:lnTo>
                  <a:pt x="1521104" y="3716007"/>
                </a:lnTo>
                <a:lnTo>
                  <a:pt x="1504988" y="3716007"/>
                </a:lnTo>
                <a:lnTo>
                  <a:pt x="1504988" y="3731781"/>
                </a:lnTo>
                <a:lnTo>
                  <a:pt x="1521104" y="3731781"/>
                </a:lnTo>
                <a:lnTo>
                  <a:pt x="1521104" y="3747897"/>
                </a:lnTo>
                <a:lnTo>
                  <a:pt x="1536878" y="3747897"/>
                </a:lnTo>
                <a:lnTo>
                  <a:pt x="1536878" y="3731781"/>
                </a:lnTo>
                <a:lnTo>
                  <a:pt x="1552994" y="3731781"/>
                </a:lnTo>
                <a:lnTo>
                  <a:pt x="1552994" y="3716007"/>
                </a:lnTo>
                <a:lnTo>
                  <a:pt x="1536878" y="3716007"/>
                </a:lnTo>
                <a:lnTo>
                  <a:pt x="1536878" y="3699891"/>
                </a:lnTo>
                <a:close/>
                <a:moveTo>
                  <a:pt x="1466583" y="3842880"/>
                </a:moveTo>
                <a:lnTo>
                  <a:pt x="1454239" y="3842880"/>
                </a:lnTo>
                <a:lnTo>
                  <a:pt x="1454239" y="3854882"/>
                </a:lnTo>
                <a:lnTo>
                  <a:pt x="1442237" y="3854882"/>
                </a:lnTo>
                <a:lnTo>
                  <a:pt x="1442237" y="3867226"/>
                </a:lnTo>
                <a:lnTo>
                  <a:pt x="1454239" y="3867226"/>
                </a:lnTo>
                <a:lnTo>
                  <a:pt x="1454239" y="3879228"/>
                </a:lnTo>
                <a:lnTo>
                  <a:pt x="1466583" y="3879228"/>
                </a:lnTo>
                <a:lnTo>
                  <a:pt x="1466583" y="3867226"/>
                </a:lnTo>
                <a:lnTo>
                  <a:pt x="1478585" y="3867226"/>
                </a:lnTo>
                <a:lnTo>
                  <a:pt x="1478585" y="3854882"/>
                </a:lnTo>
                <a:lnTo>
                  <a:pt x="1466583" y="3854882"/>
                </a:lnTo>
                <a:lnTo>
                  <a:pt x="1466583" y="3842880"/>
                </a:lnTo>
                <a:close/>
                <a:moveTo>
                  <a:pt x="1261529" y="3703320"/>
                </a:moveTo>
                <a:lnTo>
                  <a:pt x="1247813" y="3703320"/>
                </a:lnTo>
                <a:lnTo>
                  <a:pt x="1247813" y="3717036"/>
                </a:lnTo>
                <a:lnTo>
                  <a:pt x="1234097" y="3717036"/>
                </a:lnTo>
                <a:lnTo>
                  <a:pt x="1234097" y="3730752"/>
                </a:lnTo>
                <a:lnTo>
                  <a:pt x="1247813" y="3730752"/>
                </a:lnTo>
                <a:lnTo>
                  <a:pt x="1247813" y="3744468"/>
                </a:lnTo>
                <a:lnTo>
                  <a:pt x="1261529" y="3744468"/>
                </a:lnTo>
                <a:lnTo>
                  <a:pt x="1261529" y="3730752"/>
                </a:lnTo>
                <a:lnTo>
                  <a:pt x="1275245" y="3730752"/>
                </a:lnTo>
                <a:lnTo>
                  <a:pt x="1275245" y="3717036"/>
                </a:lnTo>
                <a:lnTo>
                  <a:pt x="1261529" y="3717036"/>
                </a:lnTo>
                <a:lnTo>
                  <a:pt x="1261529" y="3703320"/>
                </a:lnTo>
                <a:close/>
                <a:moveTo>
                  <a:pt x="1469669" y="3558616"/>
                </a:moveTo>
                <a:lnTo>
                  <a:pt x="1451153" y="3558616"/>
                </a:lnTo>
                <a:lnTo>
                  <a:pt x="1451153" y="3577476"/>
                </a:lnTo>
                <a:lnTo>
                  <a:pt x="1432293" y="3577476"/>
                </a:lnTo>
                <a:lnTo>
                  <a:pt x="1432293" y="3595992"/>
                </a:lnTo>
                <a:lnTo>
                  <a:pt x="1451153" y="3595992"/>
                </a:lnTo>
                <a:lnTo>
                  <a:pt x="1451153" y="3614852"/>
                </a:lnTo>
                <a:lnTo>
                  <a:pt x="1469669" y="3614852"/>
                </a:lnTo>
                <a:lnTo>
                  <a:pt x="1469669" y="3595992"/>
                </a:lnTo>
                <a:lnTo>
                  <a:pt x="1488529" y="3595992"/>
                </a:lnTo>
                <a:lnTo>
                  <a:pt x="1488529" y="3577476"/>
                </a:lnTo>
                <a:lnTo>
                  <a:pt x="1469669" y="3577476"/>
                </a:lnTo>
                <a:lnTo>
                  <a:pt x="1469669" y="3558616"/>
                </a:lnTo>
                <a:close/>
                <a:moveTo>
                  <a:pt x="1448067" y="3349104"/>
                </a:moveTo>
                <a:lnTo>
                  <a:pt x="1472755" y="3349104"/>
                </a:lnTo>
                <a:lnTo>
                  <a:pt x="1472755" y="3324758"/>
                </a:lnTo>
                <a:lnTo>
                  <a:pt x="1497101" y="3324758"/>
                </a:lnTo>
                <a:lnTo>
                  <a:pt x="1497101" y="3300070"/>
                </a:lnTo>
                <a:lnTo>
                  <a:pt x="1472755" y="3300070"/>
                </a:lnTo>
                <a:lnTo>
                  <a:pt x="1472755" y="3275724"/>
                </a:lnTo>
                <a:lnTo>
                  <a:pt x="1448067" y="3275724"/>
                </a:lnTo>
                <a:lnTo>
                  <a:pt x="1448067" y="3300070"/>
                </a:lnTo>
                <a:lnTo>
                  <a:pt x="1423721" y="3300070"/>
                </a:lnTo>
                <a:lnTo>
                  <a:pt x="1423721" y="3324758"/>
                </a:lnTo>
                <a:lnTo>
                  <a:pt x="1448067" y="3324758"/>
                </a:lnTo>
                <a:lnTo>
                  <a:pt x="1448067" y="3349104"/>
                </a:lnTo>
                <a:close/>
                <a:moveTo>
                  <a:pt x="853135" y="3145079"/>
                </a:moveTo>
                <a:lnTo>
                  <a:pt x="833247" y="3145079"/>
                </a:lnTo>
                <a:lnTo>
                  <a:pt x="833247" y="3165310"/>
                </a:lnTo>
                <a:lnTo>
                  <a:pt x="813016" y="3165310"/>
                </a:lnTo>
                <a:lnTo>
                  <a:pt x="813016" y="3185198"/>
                </a:lnTo>
                <a:lnTo>
                  <a:pt x="833247" y="3185198"/>
                </a:lnTo>
                <a:lnTo>
                  <a:pt x="833247" y="3205429"/>
                </a:lnTo>
                <a:lnTo>
                  <a:pt x="853135" y="3205429"/>
                </a:lnTo>
                <a:lnTo>
                  <a:pt x="853135" y="3185198"/>
                </a:lnTo>
                <a:lnTo>
                  <a:pt x="873366" y="3185198"/>
                </a:lnTo>
                <a:lnTo>
                  <a:pt x="873366" y="3165310"/>
                </a:lnTo>
                <a:lnTo>
                  <a:pt x="853135" y="3165310"/>
                </a:lnTo>
                <a:lnTo>
                  <a:pt x="853135" y="3145079"/>
                </a:lnTo>
                <a:close/>
                <a:moveTo>
                  <a:pt x="233172" y="2742514"/>
                </a:moveTo>
                <a:lnTo>
                  <a:pt x="218770" y="2742514"/>
                </a:lnTo>
                <a:lnTo>
                  <a:pt x="218770" y="2756573"/>
                </a:lnTo>
                <a:lnTo>
                  <a:pt x="204711" y="2756573"/>
                </a:lnTo>
                <a:lnTo>
                  <a:pt x="204711" y="2770975"/>
                </a:lnTo>
                <a:lnTo>
                  <a:pt x="218770" y="2770975"/>
                </a:lnTo>
                <a:lnTo>
                  <a:pt x="218770" y="2785034"/>
                </a:lnTo>
                <a:lnTo>
                  <a:pt x="233172" y="2785034"/>
                </a:lnTo>
                <a:lnTo>
                  <a:pt x="233172" y="2770975"/>
                </a:lnTo>
                <a:lnTo>
                  <a:pt x="247231" y="2770975"/>
                </a:lnTo>
                <a:lnTo>
                  <a:pt x="247231" y="2756573"/>
                </a:lnTo>
                <a:lnTo>
                  <a:pt x="233172" y="2756573"/>
                </a:lnTo>
                <a:lnTo>
                  <a:pt x="233172" y="2742514"/>
                </a:lnTo>
                <a:close/>
                <a:moveTo>
                  <a:pt x="234201" y="2464422"/>
                </a:moveTo>
                <a:lnTo>
                  <a:pt x="217742" y="2464422"/>
                </a:lnTo>
                <a:lnTo>
                  <a:pt x="217742" y="2481224"/>
                </a:lnTo>
                <a:lnTo>
                  <a:pt x="200939" y="2481224"/>
                </a:lnTo>
                <a:lnTo>
                  <a:pt x="200939" y="2497684"/>
                </a:lnTo>
                <a:lnTo>
                  <a:pt x="217742" y="2497684"/>
                </a:lnTo>
                <a:lnTo>
                  <a:pt x="217742" y="2514486"/>
                </a:lnTo>
                <a:lnTo>
                  <a:pt x="234201" y="2514486"/>
                </a:lnTo>
                <a:lnTo>
                  <a:pt x="234201" y="2497684"/>
                </a:lnTo>
                <a:lnTo>
                  <a:pt x="251003" y="2497684"/>
                </a:lnTo>
                <a:lnTo>
                  <a:pt x="251003" y="2481224"/>
                </a:lnTo>
                <a:lnTo>
                  <a:pt x="234201" y="2481224"/>
                </a:lnTo>
                <a:lnTo>
                  <a:pt x="234201" y="2464422"/>
                </a:lnTo>
                <a:close/>
                <a:moveTo>
                  <a:pt x="165278" y="2328634"/>
                </a:moveTo>
                <a:lnTo>
                  <a:pt x="149504" y="2328634"/>
                </a:lnTo>
                <a:lnTo>
                  <a:pt x="149504" y="2344407"/>
                </a:lnTo>
                <a:lnTo>
                  <a:pt x="133731" y="2344407"/>
                </a:lnTo>
                <a:lnTo>
                  <a:pt x="133731" y="2360181"/>
                </a:lnTo>
                <a:lnTo>
                  <a:pt x="149504" y="2360181"/>
                </a:lnTo>
                <a:lnTo>
                  <a:pt x="149504" y="2375954"/>
                </a:lnTo>
                <a:lnTo>
                  <a:pt x="165278" y="2375954"/>
                </a:lnTo>
                <a:lnTo>
                  <a:pt x="165278" y="2360181"/>
                </a:lnTo>
                <a:lnTo>
                  <a:pt x="181051" y="2360181"/>
                </a:lnTo>
                <a:lnTo>
                  <a:pt x="181051" y="2344407"/>
                </a:lnTo>
                <a:lnTo>
                  <a:pt x="165278" y="2344407"/>
                </a:lnTo>
                <a:lnTo>
                  <a:pt x="165278" y="2328634"/>
                </a:lnTo>
                <a:close/>
                <a:moveTo>
                  <a:pt x="165964" y="2052599"/>
                </a:moveTo>
                <a:lnTo>
                  <a:pt x="148819" y="2052599"/>
                </a:lnTo>
                <a:lnTo>
                  <a:pt x="148819" y="2069402"/>
                </a:lnTo>
                <a:lnTo>
                  <a:pt x="132017" y="2069402"/>
                </a:lnTo>
                <a:lnTo>
                  <a:pt x="132017" y="2086547"/>
                </a:lnTo>
                <a:lnTo>
                  <a:pt x="148819" y="2086547"/>
                </a:lnTo>
                <a:lnTo>
                  <a:pt x="148819" y="2103349"/>
                </a:lnTo>
                <a:lnTo>
                  <a:pt x="165964" y="2103349"/>
                </a:lnTo>
                <a:lnTo>
                  <a:pt x="165964" y="2086547"/>
                </a:lnTo>
                <a:lnTo>
                  <a:pt x="182766" y="2086547"/>
                </a:lnTo>
                <a:lnTo>
                  <a:pt x="182766" y="2069402"/>
                </a:lnTo>
                <a:lnTo>
                  <a:pt x="165964" y="2069402"/>
                </a:lnTo>
                <a:lnTo>
                  <a:pt x="165964" y="2052599"/>
                </a:lnTo>
                <a:close/>
                <a:moveTo>
                  <a:pt x="165964" y="1778279"/>
                </a:moveTo>
                <a:lnTo>
                  <a:pt x="148819" y="1778279"/>
                </a:lnTo>
                <a:lnTo>
                  <a:pt x="148819" y="1795082"/>
                </a:lnTo>
                <a:lnTo>
                  <a:pt x="132017" y="1795082"/>
                </a:lnTo>
                <a:lnTo>
                  <a:pt x="132017" y="1812227"/>
                </a:lnTo>
                <a:lnTo>
                  <a:pt x="148819" y="1812227"/>
                </a:lnTo>
                <a:lnTo>
                  <a:pt x="148819" y="1829029"/>
                </a:lnTo>
                <a:lnTo>
                  <a:pt x="165964" y="1829029"/>
                </a:lnTo>
                <a:lnTo>
                  <a:pt x="165964" y="1812227"/>
                </a:lnTo>
                <a:lnTo>
                  <a:pt x="182766" y="1812227"/>
                </a:lnTo>
                <a:lnTo>
                  <a:pt x="182766" y="1795082"/>
                </a:lnTo>
                <a:lnTo>
                  <a:pt x="165964" y="1795082"/>
                </a:lnTo>
                <a:lnTo>
                  <a:pt x="165964" y="1778279"/>
                </a:lnTo>
                <a:close/>
                <a:moveTo>
                  <a:pt x="304495" y="2047799"/>
                </a:moveTo>
                <a:lnTo>
                  <a:pt x="284607" y="2047799"/>
                </a:lnTo>
                <a:lnTo>
                  <a:pt x="284607" y="2068030"/>
                </a:lnTo>
                <a:lnTo>
                  <a:pt x="264376" y="2068030"/>
                </a:lnTo>
                <a:lnTo>
                  <a:pt x="264376" y="2087918"/>
                </a:lnTo>
                <a:lnTo>
                  <a:pt x="284607" y="2087918"/>
                </a:lnTo>
                <a:lnTo>
                  <a:pt x="284607" y="2108149"/>
                </a:lnTo>
                <a:lnTo>
                  <a:pt x="304495" y="2108149"/>
                </a:lnTo>
                <a:lnTo>
                  <a:pt x="304495" y="2087918"/>
                </a:lnTo>
                <a:lnTo>
                  <a:pt x="324726" y="2087918"/>
                </a:lnTo>
                <a:lnTo>
                  <a:pt x="324726" y="2068030"/>
                </a:lnTo>
                <a:lnTo>
                  <a:pt x="304495" y="2068030"/>
                </a:lnTo>
                <a:lnTo>
                  <a:pt x="304495" y="2047799"/>
                </a:lnTo>
                <a:close/>
                <a:moveTo>
                  <a:pt x="304152" y="2323833"/>
                </a:moveTo>
                <a:lnTo>
                  <a:pt x="284950" y="2323833"/>
                </a:lnTo>
                <a:lnTo>
                  <a:pt x="284950" y="2342693"/>
                </a:lnTo>
                <a:lnTo>
                  <a:pt x="266090" y="2342693"/>
                </a:lnTo>
                <a:lnTo>
                  <a:pt x="266090" y="2361895"/>
                </a:lnTo>
                <a:lnTo>
                  <a:pt x="284950" y="2361895"/>
                </a:lnTo>
                <a:lnTo>
                  <a:pt x="284950" y="2380755"/>
                </a:lnTo>
                <a:lnTo>
                  <a:pt x="304152" y="2380755"/>
                </a:lnTo>
                <a:lnTo>
                  <a:pt x="304152" y="2361895"/>
                </a:lnTo>
                <a:lnTo>
                  <a:pt x="323012" y="2361895"/>
                </a:lnTo>
                <a:lnTo>
                  <a:pt x="323012" y="2342693"/>
                </a:lnTo>
                <a:lnTo>
                  <a:pt x="304152" y="2342693"/>
                </a:lnTo>
                <a:lnTo>
                  <a:pt x="304152" y="2323833"/>
                </a:lnTo>
                <a:close/>
                <a:moveTo>
                  <a:pt x="303124" y="2600897"/>
                </a:moveTo>
                <a:lnTo>
                  <a:pt x="285979" y="2600897"/>
                </a:lnTo>
                <a:lnTo>
                  <a:pt x="285979" y="2618042"/>
                </a:lnTo>
                <a:lnTo>
                  <a:pt x="268834" y="2618042"/>
                </a:lnTo>
                <a:lnTo>
                  <a:pt x="268834" y="2635187"/>
                </a:lnTo>
                <a:lnTo>
                  <a:pt x="285979" y="2635187"/>
                </a:lnTo>
                <a:lnTo>
                  <a:pt x="285979" y="2652332"/>
                </a:lnTo>
                <a:lnTo>
                  <a:pt x="303124" y="2652332"/>
                </a:lnTo>
                <a:lnTo>
                  <a:pt x="303124" y="2635187"/>
                </a:lnTo>
                <a:lnTo>
                  <a:pt x="320269" y="2635187"/>
                </a:lnTo>
                <a:lnTo>
                  <a:pt x="320269" y="2618042"/>
                </a:lnTo>
                <a:lnTo>
                  <a:pt x="303124" y="2618042"/>
                </a:lnTo>
                <a:lnTo>
                  <a:pt x="303124" y="2600897"/>
                </a:lnTo>
                <a:close/>
                <a:moveTo>
                  <a:pt x="235229" y="1912696"/>
                </a:moveTo>
                <a:lnTo>
                  <a:pt x="216713" y="1912696"/>
                </a:lnTo>
                <a:lnTo>
                  <a:pt x="216713" y="1931556"/>
                </a:lnTo>
                <a:lnTo>
                  <a:pt x="197853" y="1931556"/>
                </a:lnTo>
                <a:lnTo>
                  <a:pt x="197853" y="1950072"/>
                </a:lnTo>
                <a:lnTo>
                  <a:pt x="216713" y="1950072"/>
                </a:lnTo>
                <a:lnTo>
                  <a:pt x="216713" y="1968932"/>
                </a:lnTo>
                <a:lnTo>
                  <a:pt x="235229" y="1968932"/>
                </a:lnTo>
                <a:lnTo>
                  <a:pt x="235229" y="1950072"/>
                </a:lnTo>
                <a:lnTo>
                  <a:pt x="254089" y="1950072"/>
                </a:lnTo>
                <a:lnTo>
                  <a:pt x="254089" y="1931556"/>
                </a:lnTo>
                <a:lnTo>
                  <a:pt x="235229" y="1931556"/>
                </a:lnTo>
                <a:lnTo>
                  <a:pt x="235229" y="1912696"/>
                </a:lnTo>
                <a:close/>
                <a:moveTo>
                  <a:pt x="301409" y="2880017"/>
                </a:moveTo>
                <a:lnTo>
                  <a:pt x="287693" y="2880017"/>
                </a:lnTo>
                <a:lnTo>
                  <a:pt x="287693" y="2894076"/>
                </a:lnTo>
                <a:lnTo>
                  <a:pt x="273634" y="2894076"/>
                </a:lnTo>
                <a:lnTo>
                  <a:pt x="273634" y="2907792"/>
                </a:lnTo>
                <a:lnTo>
                  <a:pt x="287693" y="2907792"/>
                </a:lnTo>
                <a:lnTo>
                  <a:pt x="287693" y="2921851"/>
                </a:lnTo>
                <a:lnTo>
                  <a:pt x="301409" y="2921851"/>
                </a:lnTo>
                <a:lnTo>
                  <a:pt x="301409" y="2907792"/>
                </a:lnTo>
                <a:lnTo>
                  <a:pt x="315468" y="2907792"/>
                </a:lnTo>
                <a:lnTo>
                  <a:pt x="315468" y="2894076"/>
                </a:lnTo>
                <a:lnTo>
                  <a:pt x="301409" y="2894076"/>
                </a:lnTo>
                <a:lnTo>
                  <a:pt x="301409" y="2880017"/>
                </a:lnTo>
                <a:close/>
                <a:moveTo>
                  <a:pt x="235229" y="2187702"/>
                </a:moveTo>
                <a:lnTo>
                  <a:pt x="216713" y="2187702"/>
                </a:lnTo>
                <a:lnTo>
                  <a:pt x="216713" y="2205876"/>
                </a:lnTo>
                <a:lnTo>
                  <a:pt x="198539" y="2205876"/>
                </a:lnTo>
                <a:lnTo>
                  <a:pt x="198539" y="2224392"/>
                </a:lnTo>
                <a:lnTo>
                  <a:pt x="216713" y="2224392"/>
                </a:lnTo>
                <a:lnTo>
                  <a:pt x="216713" y="2242566"/>
                </a:lnTo>
                <a:lnTo>
                  <a:pt x="235229" y="2242566"/>
                </a:lnTo>
                <a:lnTo>
                  <a:pt x="235229" y="2224392"/>
                </a:lnTo>
                <a:lnTo>
                  <a:pt x="253403" y="2224392"/>
                </a:lnTo>
                <a:lnTo>
                  <a:pt x="253403" y="2205876"/>
                </a:lnTo>
                <a:lnTo>
                  <a:pt x="235229" y="2205876"/>
                </a:lnTo>
                <a:lnTo>
                  <a:pt x="235229" y="2187702"/>
                </a:lnTo>
                <a:close/>
                <a:moveTo>
                  <a:pt x="27089" y="2057743"/>
                </a:moveTo>
                <a:lnTo>
                  <a:pt x="13373" y="2057743"/>
                </a:lnTo>
                <a:lnTo>
                  <a:pt x="13373" y="2071116"/>
                </a:lnTo>
                <a:lnTo>
                  <a:pt x="0" y="2071116"/>
                </a:lnTo>
                <a:lnTo>
                  <a:pt x="0" y="2084832"/>
                </a:lnTo>
                <a:lnTo>
                  <a:pt x="13373" y="2084832"/>
                </a:lnTo>
                <a:lnTo>
                  <a:pt x="13373" y="2098205"/>
                </a:lnTo>
                <a:lnTo>
                  <a:pt x="27089" y="2098205"/>
                </a:lnTo>
                <a:lnTo>
                  <a:pt x="27089" y="2084832"/>
                </a:lnTo>
                <a:lnTo>
                  <a:pt x="40462" y="2084832"/>
                </a:lnTo>
                <a:lnTo>
                  <a:pt x="40462" y="2071116"/>
                </a:lnTo>
                <a:lnTo>
                  <a:pt x="27089" y="2071116"/>
                </a:lnTo>
                <a:lnTo>
                  <a:pt x="27089" y="2057743"/>
                </a:lnTo>
                <a:close/>
                <a:moveTo>
                  <a:pt x="164249" y="2605697"/>
                </a:moveTo>
                <a:lnTo>
                  <a:pt x="150533" y="2605697"/>
                </a:lnTo>
                <a:lnTo>
                  <a:pt x="150533" y="2619756"/>
                </a:lnTo>
                <a:lnTo>
                  <a:pt x="136474" y="2619756"/>
                </a:lnTo>
                <a:lnTo>
                  <a:pt x="136474" y="2633472"/>
                </a:lnTo>
                <a:lnTo>
                  <a:pt x="150533" y="2633472"/>
                </a:lnTo>
                <a:lnTo>
                  <a:pt x="150533" y="2647531"/>
                </a:lnTo>
                <a:lnTo>
                  <a:pt x="164249" y="2647531"/>
                </a:lnTo>
                <a:lnTo>
                  <a:pt x="164249" y="2633472"/>
                </a:lnTo>
                <a:lnTo>
                  <a:pt x="178308" y="2633472"/>
                </a:lnTo>
                <a:lnTo>
                  <a:pt x="178308" y="2619756"/>
                </a:lnTo>
                <a:lnTo>
                  <a:pt x="164249" y="2619756"/>
                </a:lnTo>
                <a:lnTo>
                  <a:pt x="164249" y="2605697"/>
                </a:lnTo>
                <a:close/>
                <a:moveTo>
                  <a:pt x="26403" y="2333435"/>
                </a:moveTo>
                <a:lnTo>
                  <a:pt x="14059" y="2333435"/>
                </a:lnTo>
                <a:lnTo>
                  <a:pt x="14059" y="2346122"/>
                </a:lnTo>
                <a:lnTo>
                  <a:pt x="1372" y="2346122"/>
                </a:lnTo>
                <a:lnTo>
                  <a:pt x="1372" y="2358466"/>
                </a:lnTo>
                <a:lnTo>
                  <a:pt x="14059" y="2358466"/>
                </a:lnTo>
                <a:lnTo>
                  <a:pt x="14059" y="2371154"/>
                </a:lnTo>
                <a:lnTo>
                  <a:pt x="26403" y="2371154"/>
                </a:lnTo>
                <a:lnTo>
                  <a:pt x="26403" y="2358466"/>
                </a:lnTo>
                <a:lnTo>
                  <a:pt x="39091" y="2358466"/>
                </a:lnTo>
                <a:lnTo>
                  <a:pt x="39091" y="2346122"/>
                </a:lnTo>
                <a:lnTo>
                  <a:pt x="26403" y="2346122"/>
                </a:lnTo>
                <a:lnTo>
                  <a:pt x="26403" y="2333435"/>
                </a:lnTo>
                <a:close/>
                <a:moveTo>
                  <a:pt x="81267" y="1688783"/>
                </a:moveTo>
                <a:lnTo>
                  <a:pt x="96355" y="1688783"/>
                </a:lnTo>
                <a:lnTo>
                  <a:pt x="96355" y="1674038"/>
                </a:lnTo>
                <a:lnTo>
                  <a:pt x="111100" y="1674038"/>
                </a:lnTo>
                <a:lnTo>
                  <a:pt x="111100" y="1658950"/>
                </a:lnTo>
                <a:lnTo>
                  <a:pt x="96355" y="1658950"/>
                </a:lnTo>
                <a:lnTo>
                  <a:pt x="96355" y="1644206"/>
                </a:lnTo>
                <a:lnTo>
                  <a:pt x="81267" y="1644206"/>
                </a:lnTo>
                <a:lnTo>
                  <a:pt x="81267" y="1658950"/>
                </a:lnTo>
                <a:lnTo>
                  <a:pt x="66523" y="1658950"/>
                </a:lnTo>
                <a:lnTo>
                  <a:pt x="66523" y="1674038"/>
                </a:lnTo>
                <a:lnTo>
                  <a:pt x="81267" y="1674038"/>
                </a:lnTo>
                <a:lnTo>
                  <a:pt x="81267" y="1688783"/>
                </a:lnTo>
                <a:close/>
                <a:moveTo>
                  <a:pt x="81953" y="1412405"/>
                </a:moveTo>
                <a:lnTo>
                  <a:pt x="95669" y="1412405"/>
                </a:lnTo>
                <a:lnTo>
                  <a:pt x="95669" y="1399032"/>
                </a:lnTo>
                <a:lnTo>
                  <a:pt x="109042" y="1399032"/>
                </a:lnTo>
                <a:lnTo>
                  <a:pt x="109042" y="1385316"/>
                </a:lnTo>
                <a:lnTo>
                  <a:pt x="95669" y="1385316"/>
                </a:lnTo>
                <a:lnTo>
                  <a:pt x="95669" y="1371943"/>
                </a:lnTo>
                <a:lnTo>
                  <a:pt x="81953" y="1371943"/>
                </a:lnTo>
                <a:lnTo>
                  <a:pt x="81953" y="1385316"/>
                </a:lnTo>
                <a:lnTo>
                  <a:pt x="68580" y="1385316"/>
                </a:lnTo>
                <a:lnTo>
                  <a:pt x="68580" y="1399032"/>
                </a:lnTo>
                <a:lnTo>
                  <a:pt x="81953" y="1399032"/>
                </a:lnTo>
                <a:lnTo>
                  <a:pt x="81953" y="1412405"/>
                </a:lnTo>
                <a:close/>
                <a:moveTo>
                  <a:pt x="27089" y="1783423"/>
                </a:moveTo>
                <a:lnTo>
                  <a:pt x="13373" y="1783423"/>
                </a:lnTo>
                <a:lnTo>
                  <a:pt x="13373" y="1796796"/>
                </a:lnTo>
                <a:lnTo>
                  <a:pt x="0" y="1796796"/>
                </a:lnTo>
                <a:lnTo>
                  <a:pt x="0" y="1810512"/>
                </a:lnTo>
                <a:lnTo>
                  <a:pt x="13373" y="1810512"/>
                </a:lnTo>
                <a:lnTo>
                  <a:pt x="13373" y="1823885"/>
                </a:lnTo>
                <a:lnTo>
                  <a:pt x="27089" y="1823885"/>
                </a:lnTo>
                <a:lnTo>
                  <a:pt x="27089" y="1810512"/>
                </a:lnTo>
                <a:lnTo>
                  <a:pt x="40462" y="1810512"/>
                </a:lnTo>
                <a:lnTo>
                  <a:pt x="40462" y="1796796"/>
                </a:lnTo>
                <a:lnTo>
                  <a:pt x="27089" y="1796796"/>
                </a:lnTo>
                <a:lnTo>
                  <a:pt x="27089" y="1783423"/>
                </a:lnTo>
                <a:close/>
                <a:moveTo>
                  <a:pt x="96355" y="1917840"/>
                </a:moveTo>
                <a:lnTo>
                  <a:pt x="81267" y="1917840"/>
                </a:lnTo>
                <a:lnTo>
                  <a:pt x="81267" y="1933270"/>
                </a:lnTo>
                <a:lnTo>
                  <a:pt x="65837" y="1933270"/>
                </a:lnTo>
                <a:lnTo>
                  <a:pt x="65837" y="1948358"/>
                </a:lnTo>
                <a:lnTo>
                  <a:pt x="81267" y="1948358"/>
                </a:lnTo>
                <a:lnTo>
                  <a:pt x="81267" y="1963788"/>
                </a:lnTo>
                <a:lnTo>
                  <a:pt x="96355" y="1963788"/>
                </a:lnTo>
                <a:lnTo>
                  <a:pt x="96355" y="1948358"/>
                </a:lnTo>
                <a:lnTo>
                  <a:pt x="111785" y="1948358"/>
                </a:lnTo>
                <a:lnTo>
                  <a:pt x="111785" y="1933270"/>
                </a:lnTo>
                <a:lnTo>
                  <a:pt x="96355" y="1933270"/>
                </a:lnTo>
                <a:lnTo>
                  <a:pt x="96355" y="1917840"/>
                </a:lnTo>
                <a:close/>
                <a:moveTo>
                  <a:pt x="96012" y="2193188"/>
                </a:moveTo>
                <a:lnTo>
                  <a:pt x="81610" y="2193188"/>
                </a:lnTo>
                <a:lnTo>
                  <a:pt x="81610" y="2207933"/>
                </a:lnTo>
                <a:lnTo>
                  <a:pt x="66866" y="2207933"/>
                </a:lnTo>
                <a:lnTo>
                  <a:pt x="66866" y="2222335"/>
                </a:lnTo>
                <a:lnTo>
                  <a:pt x="81610" y="2222335"/>
                </a:lnTo>
                <a:lnTo>
                  <a:pt x="81610" y="2237080"/>
                </a:lnTo>
                <a:lnTo>
                  <a:pt x="96012" y="2237080"/>
                </a:lnTo>
                <a:lnTo>
                  <a:pt x="96012" y="2222335"/>
                </a:lnTo>
                <a:lnTo>
                  <a:pt x="110757" y="2222335"/>
                </a:lnTo>
                <a:lnTo>
                  <a:pt x="110757" y="2207933"/>
                </a:lnTo>
                <a:lnTo>
                  <a:pt x="96012" y="2207933"/>
                </a:lnTo>
                <a:lnTo>
                  <a:pt x="96012" y="2193188"/>
                </a:lnTo>
                <a:close/>
                <a:moveTo>
                  <a:pt x="95326" y="2469566"/>
                </a:moveTo>
                <a:lnTo>
                  <a:pt x="82296" y="2469566"/>
                </a:lnTo>
                <a:lnTo>
                  <a:pt x="82296" y="2482939"/>
                </a:lnTo>
                <a:lnTo>
                  <a:pt x="68923" y="2482939"/>
                </a:lnTo>
                <a:lnTo>
                  <a:pt x="68923" y="2495969"/>
                </a:lnTo>
                <a:lnTo>
                  <a:pt x="82296" y="2495969"/>
                </a:lnTo>
                <a:lnTo>
                  <a:pt x="82296" y="2509342"/>
                </a:lnTo>
                <a:lnTo>
                  <a:pt x="95326" y="2509342"/>
                </a:lnTo>
                <a:lnTo>
                  <a:pt x="95326" y="2495969"/>
                </a:lnTo>
                <a:lnTo>
                  <a:pt x="108699" y="2495969"/>
                </a:lnTo>
                <a:lnTo>
                  <a:pt x="108699" y="2482939"/>
                </a:lnTo>
                <a:lnTo>
                  <a:pt x="95326" y="2482939"/>
                </a:lnTo>
                <a:lnTo>
                  <a:pt x="95326" y="2469566"/>
                </a:lnTo>
                <a:close/>
                <a:moveTo>
                  <a:pt x="440284" y="2875559"/>
                </a:moveTo>
                <a:lnTo>
                  <a:pt x="423139" y="2875559"/>
                </a:lnTo>
                <a:lnTo>
                  <a:pt x="423139" y="2892362"/>
                </a:lnTo>
                <a:lnTo>
                  <a:pt x="406336" y="2892362"/>
                </a:lnTo>
                <a:lnTo>
                  <a:pt x="406336" y="2909507"/>
                </a:lnTo>
                <a:lnTo>
                  <a:pt x="423139" y="2909507"/>
                </a:lnTo>
                <a:lnTo>
                  <a:pt x="423139" y="2926309"/>
                </a:lnTo>
                <a:lnTo>
                  <a:pt x="440284" y="2926309"/>
                </a:lnTo>
                <a:lnTo>
                  <a:pt x="440284" y="2909507"/>
                </a:lnTo>
                <a:lnTo>
                  <a:pt x="457086" y="2909507"/>
                </a:lnTo>
                <a:lnTo>
                  <a:pt x="457086" y="2892362"/>
                </a:lnTo>
                <a:lnTo>
                  <a:pt x="440284" y="2892362"/>
                </a:lnTo>
                <a:lnTo>
                  <a:pt x="440284" y="2875559"/>
                </a:lnTo>
                <a:close/>
                <a:moveTo>
                  <a:pt x="510235" y="2733599"/>
                </a:moveTo>
                <a:lnTo>
                  <a:pt x="490347" y="2733599"/>
                </a:lnTo>
                <a:lnTo>
                  <a:pt x="490347" y="2753830"/>
                </a:lnTo>
                <a:lnTo>
                  <a:pt x="470116" y="2753830"/>
                </a:lnTo>
                <a:lnTo>
                  <a:pt x="470116" y="2773718"/>
                </a:lnTo>
                <a:lnTo>
                  <a:pt x="490347" y="2773718"/>
                </a:lnTo>
                <a:lnTo>
                  <a:pt x="490347" y="2793949"/>
                </a:lnTo>
                <a:lnTo>
                  <a:pt x="510235" y="2793949"/>
                </a:lnTo>
                <a:lnTo>
                  <a:pt x="510235" y="2773718"/>
                </a:lnTo>
                <a:lnTo>
                  <a:pt x="530466" y="2773718"/>
                </a:lnTo>
                <a:lnTo>
                  <a:pt x="530466" y="2753830"/>
                </a:lnTo>
                <a:lnTo>
                  <a:pt x="510235" y="2753830"/>
                </a:lnTo>
                <a:lnTo>
                  <a:pt x="510235" y="2733599"/>
                </a:lnTo>
                <a:close/>
                <a:moveTo>
                  <a:pt x="508521" y="3013748"/>
                </a:moveTo>
                <a:lnTo>
                  <a:pt x="492061" y="3013748"/>
                </a:lnTo>
                <a:lnTo>
                  <a:pt x="492061" y="3029864"/>
                </a:lnTo>
                <a:lnTo>
                  <a:pt x="475945" y="3029864"/>
                </a:lnTo>
                <a:lnTo>
                  <a:pt x="475945" y="3046324"/>
                </a:lnTo>
                <a:lnTo>
                  <a:pt x="492061" y="3046324"/>
                </a:lnTo>
                <a:lnTo>
                  <a:pt x="492061" y="3062440"/>
                </a:lnTo>
                <a:lnTo>
                  <a:pt x="508521" y="3062440"/>
                </a:lnTo>
                <a:lnTo>
                  <a:pt x="508521" y="3046324"/>
                </a:lnTo>
                <a:lnTo>
                  <a:pt x="524637" y="3046324"/>
                </a:lnTo>
                <a:lnTo>
                  <a:pt x="524637" y="3029864"/>
                </a:lnTo>
                <a:lnTo>
                  <a:pt x="508521" y="3029864"/>
                </a:lnTo>
                <a:lnTo>
                  <a:pt x="508521" y="3013748"/>
                </a:lnTo>
                <a:close/>
                <a:moveTo>
                  <a:pt x="511607" y="2455507"/>
                </a:moveTo>
                <a:lnTo>
                  <a:pt x="488975" y="2455507"/>
                </a:lnTo>
                <a:lnTo>
                  <a:pt x="488975" y="2478138"/>
                </a:lnTo>
                <a:lnTo>
                  <a:pt x="466344" y="2478138"/>
                </a:lnTo>
                <a:lnTo>
                  <a:pt x="466344" y="2500770"/>
                </a:lnTo>
                <a:lnTo>
                  <a:pt x="488975" y="2500770"/>
                </a:lnTo>
                <a:lnTo>
                  <a:pt x="488975" y="2523401"/>
                </a:lnTo>
                <a:lnTo>
                  <a:pt x="511607" y="2523401"/>
                </a:lnTo>
                <a:lnTo>
                  <a:pt x="511607" y="2500770"/>
                </a:lnTo>
                <a:lnTo>
                  <a:pt x="534238" y="2500770"/>
                </a:lnTo>
                <a:lnTo>
                  <a:pt x="534238" y="2478138"/>
                </a:lnTo>
                <a:lnTo>
                  <a:pt x="511607" y="2478138"/>
                </a:lnTo>
                <a:lnTo>
                  <a:pt x="511607" y="2455507"/>
                </a:lnTo>
                <a:close/>
                <a:moveTo>
                  <a:pt x="506120" y="3294583"/>
                </a:moveTo>
                <a:lnTo>
                  <a:pt x="494462" y="3294583"/>
                </a:lnTo>
                <a:lnTo>
                  <a:pt x="494462" y="3306585"/>
                </a:lnTo>
                <a:lnTo>
                  <a:pt x="482460" y="3306585"/>
                </a:lnTo>
                <a:lnTo>
                  <a:pt x="482460" y="3318243"/>
                </a:lnTo>
                <a:lnTo>
                  <a:pt x="494462" y="3318243"/>
                </a:lnTo>
                <a:lnTo>
                  <a:pt x="494462" y="3330245"/>
                </a:lnTo>
                <a:lnTo>
                  <a:pt x="506120" y="3330245"/>
                </a:lnTo>
                <a:lnTo>
                  <a:pt x="506120" y="3318243"/>
                </a:lnTo>
                <a:lnTo>
                  <a:pt x="518122" y="3318243"/>
                </a:lnTo>
                <a:lnTo>
                  <a:pt x="518122" y="3306585"/>
                </a:lnTo>
                <a:lnTo>
                  <a:pt x="506120" y="3306585"/>
                </a:lnTo>
                <a:lnTo>
                  <a:pt x="506120" y="3294583"/>
                </a:lnTo>
                <a:close/>
                <a:moveTo>
                  <a:pt x="442684" y="2319376"/>
                </a:moveTo>
                <a:lnTo>
                  <a:pt x="420738" y="2319376"/>
                </a:lnTo>
                <a:lnTo>
                  <a:pt x="420738" y="2341321"/>
                </a:lnTo>
                <a:lnTo>
                  <a:pt x="398793" y="2341321"/>
                </a:lnTo>
                <a:lnTo>
                  <a:pt x="398793" y="2363267"/>
                </a:lnTo>
                <a:lnTo>
                  <a:pt x="420738" y="2363267"/>
                </a:lnTo>
                <a:lnTo>
                  <a:pt x="420738" y="2385212"/>
                </a:lnTo>
                <a:lnTo>
                  <a:pt x="442684" y="2385212"/>
                </a:lnTo>
                <a:lnTo>
                  <a:pt x="442684" y="2363267"/>
                </a:lnTo>
                <a:lnTo>
                  <a:pt x="464629" y="2363267"/>
                </a:lnTo>
                <a:lnTo>
                  <a:pt x="464629" y="2341321"/>
                </a:lnTo>
                <a:lnTo>
                  <a:pt x="442684" y="2341321"/>
                </a:lnTo>
                <a:lnTo>
                  <a:pt x="442684" y="2319376"/>
                </a:lnTo>
                <a:close/>
                <a:moveTo>
                  <a:pt x="580187" y="2592324"/>
                </a:moveTo>
                <a:lnTo>
                  <a:pt x="557555" y="2592324"/>
                </a:lnTo>
                <a:lnTo>
                  <a:pt x="557555" y="2615298"/>
                </a:lnTo>
                <a:lnTo>
                  <a:pt x="534581" y="2615298"/>
                </a:lnTo>
                <a:lnTo>
                  <a:pt x="534581" y="2637930"/>
                </a:lnTo>
                <a:lnTo>
                  <a:pt x="557555" y="2637930"/>
                </a:lnTo>
                <a:lnTo>
                  <a:pt x="557555" y="2660904"/>
                </a:lnTo>
                <a:lnTo>
                  <a:pt x="580187" y="2660904"/>
                </a:lnTo>
                <a:lnTo>
                  <a:pt x="580187" y="2637930"/>
                </a:lnTo>
                <a:lnTo>
                  <a:pt x="603161" y="2637930"/>
                </a:lnTo>
                <a:lnTo>
                  <a:pt x="603161" y="2615298"/>
                </a:lnTo>
                <a:lnTo>
                  <a:pt x="580187" y="2615298"/>
                </a:lnTo>
                <a:lnTo>
                  <a:pt x="580187" y="2592324"/>
                </a:lnTo>
                <a:close/>
                <a:moveTo>
                  <a:pt x="644652" y="3290811"/>
                </a:moveTo>
                <a:lnTo>
                  <a:pt x="630250" y="3290811"/>
                </a:lnTo>
                <a:lnTo>
                  <a:pt x="630250" y="3305213"/>
                </a:lnTo>
                <a:lnTo>
                  <a:pt x="615848" y="3305213"/>
                </a:lnTo>
                <a:lnTo>
                  <a:pt x="615848" y="3319615"/>
                </a:lnTo>
                <a:lnTo>
                  <a:pt x="630250" y="3319615"/>
                </a:lnTo>
                <a:lnTo>
                  <a:pt x="630250" y="3334017"/>
                </a:lnTo>
                <a:lnTo>
                  <a:pt x="644652" y="3334017"/>
                </a:lnTo>
                <a:lnTo>
                  <a:pt x="644652" y="3319615"/>
                </a:lnTo>
                <a:lnTo>
                  <a:pt x="659054" y="3319615"/>
                </a:lnTo>
                <a:lnTo>
                  <a:pt x="659054" y="3305213"/>
                </a:lnTo>
                <a:lnTo>
                  <a:pt x="644652" y="3305213"/>
                </a:lnTo>
                <a:lnTo>
                  <a:pt x="644652" y="3290811"/>
                </a:lnTo>
                <a:close/>
                <a:moveTo>
                  <a:pt x="576758" y="3151937"/>
                </a:moveTo>
                <a:lnTo>
                  <a:pt x="560984" y="3151937"/>
                </a:lnTo>
                <a:lnTo>
                  <a:pt x="560984" y="3167367"/>
                </a:lnTo>
                <a:lnTo>
                  <a:pt x="545554" y="3167367"/>
                </a:lnTo>
                <a:lnTo>
                  <a:pt x="545554" y="3183141"/>
                </a:lnTo>
                <a:lnTo>
                  <a:pt x="560984" y="3183141"/>
                </a:lnTo>
                <a:lnTo>
                  <a:pt x="560984" y="3198571"/>
                </a:lnTo>
                <a:lnTo>
                  <a:pt x="576758" y="3198571"/>
                </a:lnTo>
                <a:lnTo>
                  <a:pt x="576758" y="3183141"/>
                </a:lnTo>
                <a:lnTo>
                  <a:pt x="592188" y="3183141"/>
                </a:lnTo>
                <a:lnTo>
                  <a:pt x="592188" y="3167367"/>
                </a:lnTo>
                <a:lnTo>
                  <a:pt x="576758" y="3167367"/>
                </a:lnTo>
                <a:lnTo>
                  <a:pt x="576758" y="3151937"/>
                </a:lnTo>
                <a:close/>
                <a:moveTo>
                  <a:pt x="578815" y="2871445"/>
                </a:moveTo>
                <a:lnTo>
                  <a:pt x="558927" y="2871445"/>
                </a:lnTo>
                <a:lnTo>
                  <a:pt x="558927" y="2890990"/>
                </a:lnTo>
                <a:lnTo>
                  <a:pt x="539382" y="2890990"/>
                </a:lnTo>
                <a:lnTo>
                  <a:pt x="539382" y="2910878"/>
                </a:lnTo>
                <a:lnTo>
                  <a:pt x="558927" y="2910878"/>
                </a:lnTo>
                <a:lnTo>
                  <a:pt x="558927" y="2930423"/>
                </a:lnTo>
                <a:lnTo>
                  <a:pt x="578815" y="2930423"/>
                </a:lnTo>
                <a:lnTo>
                  <a:pt x="578815" y="2910878"/>
                </a:lnTo>
                <a:lnTo>
                  <a:pt x="598360" y="2910878"/>
                </a:lnTo>
                <a:lnTo>
                  <a:pt x="598360" y="2890990"/>
                </a:lnTo>
                <a:lnTo>
                  <a:pt x="578815" y="2890990"/>
                </a:lnTo>
                <a:lnTo>
                  <a:pt x="578815" y="2871445"/>
                </a:lnTo>
                <a:close/>
                <a:moveTo>
                  <a:pt x="373761" y="2183244"/>
                </a:moveTo>
                <a:lnTo>
                  <a:pt x="352501" y="2183244"/>
                </a:lnTo>
                <a:lnTo>
                  <a:pt x="352501" y="2204504"/>
                </a:lnTo>
                <a:lnTo>
                  <a:pt x="331241" y="2204504"/>
                </a:lnTo>
                <a:lnTo>
                  <a:pt x="331241" y="2225764"/>
                </a:lnTo>
                <a:lnTo>
                  <a:pt x="352501" y="2225764"/>
                </a:lnTo>
                <a:lnTo>
                  <a:pt x="352501" y="2247024"/>
                </a:lnTo>
                <a:lnTo>
                  <a:pt x="373761" y="2247024"/>
                </a:lnTo>
                <a:lnTo>
                  <a:pt x="373761" y="2225764"/>
                </a:lnTo>
                <a:lnTo>
                  <a:pt x="395021" y="2225764"/>
                </a:lnTo>
                <a:lnTo>
                  <a:pt x="395021" y="2204504"/>
                </a:lnTo>
                <a:lnTo>
                  <a:pt x="373761" y="2204504"/>
                </a:lnTo>
                <a:lnTo>
                  <a:pt x="373761" y="2183244"/>
                </a:lnTo>
                <a:close/>
                <a:moveTo>
                  <a:pt x="371704" y="2738057"/>
                </a:moveTo>
                <a:lnTo>
                  <a:pt x="354559" y="2738057"/>
                </a:lnTo>
                <a:lnTo>
                  <a:pt x="354559" y="2755202"/>
                </a:lnTo>
                <a:lnTo>
                  <a:pt x="337414" y="2755202"/>
                </a:lnTo>
                <a:lnTo>
                  <a:pt x="337414" y="2772347"/>
                </a:lnTo>
                <a:lnTo>
                  <a:pt x="354559" y="2772347"/>
                </a:lnTo>
                <a:lnTo>
                  <a:pt x="354559" y="2789492"/>
                </a:lnTo>
                <a:lnTo>
                  <a:pt x="371704" y="2789492"/>
                </a:lnTo>
                <a:lnTo>
                  <a:pt x="371704" y="2772347"/>
                </a:lnTo>
                <a:lnTo>
                  <a:pt x="388849" y="2772347"/>
                </a:lnTo>
                <a:lnTo>
                  <a:pt x="388849" y="2755202"/>
                </a:lnTo>
                <a:lnTo>
                  <a:pt x="371704" y="2755202"/>
                </a:lnTo>
                <a:lnTo>
                  <a:pt x="371704" y="2738057"/>
                </a:lnTo>
                <a:close/>
                <a:moveTo>
                  <a:pt x="373075" y="2459965"/>
                </a:moveTo>
                <a:lnTo>
                  <a:pt x="353187" y="2459965"/>
                </a:lnTo>
                <a:lnTo>
                  <a:pt x="353187" y="2479510"/>
                </a:lnTo>
                <a:lnTo>
                  <a:pt x="333642" y="2479510"/>
                </a:lnTo>
                <a:lnTo>
                  <a:pt x="333642" y="2499398"/>
                </a:lnTo>
                <a:lnTo>
                  <a:pt x="353187" y="2499398"/>
                </a:lnTo>
                <a:lnTo>
                  <a:pt x="353187" y="2518943"/>
                </a:lnTo>
                <a:lnTo>
                  <a:pt x="373075" y="2518943"/>
                </a:lnTo>
                <a:lnTo>
                  <a:pt x="373075" y="2499398"/>
                </a:lnTo>
                <a:lnTo>
                  <a:pt x="392620" y="2499398"/>
                </a:lnTo>
                <a:lnTo>
                  <a:pt x="392620" y="2479510"/>
                </a:lnTo>
                <a:lnTo>
                  <a:pt x="373075" y="2479510"/>
                </a:lnTo>
                <a:lnTo>
                  <a:pt x="373075" y="2459965"/>
                </a:lnTo>
                <a:close/>
                <a:moveTo>
                  <a:pt x="304495" y="1773479"/>
                </a:moveTo>
                <a:lnTo>
                  <a:pt x="284607" y="1773479"/>
                </a:lnTo>
                <a:lnTo>
                  <a:pt x="284607" y="1793710"/>
                </a:lnTo>
                <a:lnTo>
                  <a:pt x="264376" y="1793710"/>
                </a:lnTo>
                <a:lnTo>
                  <a:pt x="264376" y="1813598"/>
                </a:lnTo>
                <a:lnTo>
                  <a:pt x="284607" y="1813598"/>
                </a:lnTo>
                <a:lnTo>
                  <a:pt x="284607" y="1833829"/>
                </a:lnTo>
                <a:lnTo>
                  <a:pt x="304495" y="1833829"/>
                </a:lnTo>
                <a:lnTo>
                  <a:pt x="304495" y="1813598"/>
                </a:lnTo>
                <a:lnTo>
                  <a:pt x="324726" y="1813598"/>
                </a:lnTo>
                <a:lnTo>
                  <a:pt x="324726" y="1793710"/>
                </a:lnTo>
                <a:lnTo>
                  <a:pt x="304495" y="1793710"/>
                </a:lnTo>
                <a:lnTo>
                  <a:pt x="304495" y="1773479"/>
                </a:lnTo>
                <a:close/>
                <a:moveTo>
                  <a:pt x="369989" y="3017520"/>
                </a:moveTo>
                <a:lnTo>
                  <a:pt x="356273" y="3017520"/>
                </a:lnTo>
                <a:lnTo>
                  <a:pt x="356273" y="3031236"/>
                </a:lnTo>
                <a:lnTo>
                  <a:pt x="342557" y="3031236"/>
                </a:lnTo>
                <a:lnTo>
                  <a:pt x="342557" y="3044952"/>
                </a:lnTo>
                <a:lnTo>
                  <a:pt x="356273" y="3044952"/>
                </a:lnTo>
                <a:lnTo>
                  <a:pt x="356273" y="3058668"/>
                </a:lnTo>
                <a:lnTo>
                  <a:pt x="369989" y="3058668"/>
                </a:lnTo>
                <a:lnTo>
                  <a:pt x="369989" y="3044952"/>
                </a:lnTo>
                <a:lnTo>
                  <a:pt x="383705" y="3044952"/>
                </a:lnTo>
                <a:lnTo>
                  <a:pt x="383705" y="3031236"/>
                </a:lnTo>
                <a:lnTo>
                  <a:pt x="369989" y="3031236"/>
                </a:lnTo>
                <a:lnTo>
                  <a:pt x="369989" y="3017520"/>
                </a:lnTo>
                <a:close/>
                <a:moveTo>
                  <a:pt x="441655" y="2596439"/>
                </a:moveTo>
                <a:lnTo>
                  <a:pt x="421767" y="2596439"/>
                </a:lnTo>
                <a:lnTo>
                  <a:pt x="421767" y="2616670"/>
                </a:lnTo>
                <a:lnTo>
                  <a:pt x="401536" y="2616670"/>
                </a:lnTo>
                <a:lnTo>
                  <a:pt x="401536" y="2636558"/>
                </a:lnTo>
                <a:lnTo>
                  <a:pt x="421767" y="2636558"/>
                </a:lnTo>
                <a:lnTo>
                  <a:pt x="421767" y="2656789"/>
                </a:lnTo>
                <a:lnTo>
                  <a:pt x="441655" y="2656789"/>
                </a:lnTo>
                <a:lnTo>
                  <a:pt x="441655" y="2636558"/>
                </a:lnTo>
                <a:lnTo>
                  <a:pt x="461886" y="2636558"/>
                </a:lnTo>
                <a:lnTo>
                  <a:pt x="461886" y="2616670"/>
                </a:lnTo>
                <a:lnTo>
                  <a:pt x="441655" y="2616670"/>
                </a:lnTo>
                <a:lnTo>
                  <a:pt x="441655" y="2596439"/>
                </a:lnTo>
                <a:close/>
                <a:moveTo>
                  <a:pt x="438226" y="3156052"/>
                </a:moveTo>
                <a:lnTo>
                  <a:pt x="425196" y="3156052"/>
                </a:lnTo>
                <a:lnTo>
                  <a:pt x="425196" y="3168739"/>
                </a:lnTo>
                <a:lnTo>
                  <a:pt x="412509" y="3168739"/>
                </a:lnTo>
                <a:lnTo>
                  <a:pt x="412509" y="3181769"/>
                </a:lnTo>
                <a:lnTo>
                  <a:pt x="425196" y="3181769"/>
                </a:lnTo>
                <a:lnTo>
                  <a:pt x="425196" y="3194456"/>
                </a:lnTo>
                <a:lnTo>
                  <a:pt x="438226" y="3194456"/>
                </a:lnTo>
                <a:lnTo>
                  <a:pt x="438226" y="3181769"/>
                </a:lnTo>
                <a:lnTo>
                  <a:pt x="450913" y="3181769"/>
                </a:lnTo>
                <a:lnTo>
                  <a:pt x="450913" y="3168739"/>
                </a:lnTo>
                <a:lnTo>
                  <a:pt x="438226" y="3168739"/>
                </a:lnTo>
                <a:lnTo>
                  <a:pt x="438226" y="3156052"/>
                </a:lnTo>
                <a:close/>
                <a:moveTo>
                  <a:pt x="647052" y="3009633"/>
                </a:moveTo>
                <a:lnTo>
                  <a:pt x="627850" y="3009633"/>
                </a:lnTo>
                <a:lnTo>
                  <a:pt x="627850" y="3028493"/>
                </a:lnTo>
                <a:lnTo>
                  <a:pt x="608990" y="3028493"/>
                </a:lnTo>
                <a:lnTo>
                  <a:pt x="608990" y="3047695"/>
                </a:lnTo>
                <a:lnTo>
                  <a:pt x="627850" y="3047695"/>
                </a:lnTo>
                <a:lnTo>
                  <a:pt x="627850" y="3066555"/>
                </a:lnTo>
                <a:lnTo>
                  <a:pt x="647052" y="3066555"/>
                </a:lnTo>
                <a:lnTo>
                  <a:pt x="647052" y="3047695"/>
                </a:lnTo>
                <a:lnTo>
                  <a:pt x="665912" y="3047695"/>
                </a:lnTo>
                <a:lnTo>
                  <a:pt x="665912" y="3028493"/>
                </a:lnTo>
                <a:lnTo>
                  <a:pt x="647052" y="3028493"/>
                </a:lnTo>
                <a:lnTo>
                  <a:pt x="647052" y="3009633"/>
                </a:lnTo>
                <a:close/>
                <a:moveTo>
                  <a:pt x="420052" y="2112607"/>
                </a:moveTo>
                <a:lnTo>
                  <a:pt x="443370" y="2112607"/>
                </a:lnTo>
                <a:lnTo>
                  <a:pt x="443370" y="2089633"/>
                </a:lnTo>
                <a:lnTo>
                  <a:pt x="466344" y="2089633"/>
                </a:lnTo>
                <a:lnTo>
                  <a:pt x="466344" y="2066315"/>
                </a:lnTo>
                <a:lnTo>
                  <a:pt x="443370" y="2066315"/>
                </a:lnTo>
                <a:lnTo>
                  <a:pt x="443370" y="2043341"/>
                </a:lnTo>
                <a:lnTo>
                  <a:pt x="420052" y="2043341"/>
                </a:lnTo>
                <a:lnTo>
                  <a:pt x="420052" y="2066315"/>
                </a:lnTo>
                <a:lnTo>
                  <a:pt x="397078" y="2066315"/>
                </a:lnTo>
                <a:lnTo>
                  <a:pt x="397078" y="2089633"/>
                </a:lnTo>
                <a:lnTo>
                  <a:pt x="420052" y="2089633"/>
                </a:lnTo>
                <a:lnTo>
                  <a:pt x="420052" y="2112607"/>
                </a:lnTo>
                <a:close/>
                <a:moveTo>
                  <a:pt x="374104" y="1907896"/>
                </a:moveTo>
                <a:lnTo>
                  <a:pt x="352158" y="1907896"/>
                </a:lnTo>
                <a:lnTo>
                  <a:pt x="352158" y="1929841"/>
                </a:lnTo>
                <a:lnTo>
                  <a:pt x="330213" y="1929841"/>
                </a:lnTo>
                <a:lnTo>
                  <a:pt x="330213" y="1951787"/>
                </a:lnTo>
                <a:lnTo>
                  <a:pt x="352158" y="1951787"/>
                </a:lnTo>
                <a:lnTo>
                  <a:pt x="352158" y="1973732"/>
                </a:lnTo>
                <a:lnTo>
                  <a:pt x="374104" y="1973732"/>
                </a:lnTo>
                <a:lnTo>
                  <a:pt x="374104" y="1951787"/>
                </a:lnTo>
                <a:lnTo>
                  <a:pt x="396049" y="1951787"/>
                </a:lnTo>
                <a:lnTo>
                  <a:pt x="396049" y="1929841"/>
                </a:lnTo>
                <a:lnTo>
                  <a:pt x="374104" y="1929841"/>
                </a:lnTo>
                <a:lnTo>
                  <a:pt x="374104" y="1907896"/>
                </a:lnTo>
                <a:close/>
                <a:moveTo>
                  <a:pt x="14059" y="1547851"/>
                </a:moveTo>
                <a:lnTo>
                  <a:pt x="26403" y="1547851"/>
                </a:lnTo>
                <a:lnTo>
                  <a:pt x="26403" y="1535506"/>
                </a:lnTo>
                <a:lnTo>
                  <a:pt x="38748" y="1535506"/>
                </a:lnTo>
                <a:lnTo>
                  <a:pt x="38748" y="1523162"/>
                </a:lnTo>
                <a:lnTo>
                  <a:pt x="26403" y="1523162"/>
                </a:lnTo>
                <a:lnTo>
                  <a:pt x="26403" y="1510817"/>
                </a:lnTo>
                <a:lnTo>
                  <a:pt x="14059" y="1510817"/>
                </a:lnTo>
                <a:lnTo>
                  <a:pt x="14059" y="1523162"/>
                </a:lnTo>
                <a:lnTo>
                  <a:pt x="1715" y="1523162"/>
                </a:lnTo>
                <a:lnTo>
                  <a:pt x="1715" y="1535506"/>
                </a:lnTo>
                <a:lnTo>
                  <a:pt x="14059" y="1535506"/>
                </a:lnTo>
                <a:lnTo>
                  <a:pt x="14059" y="1547851"/>
                </a:lnTo>
                <a:close/>
                <a:moveTo>
                  <a:pt x="1949044" y="3698177"/>
                </a:moveTo>
                <a:lnTo>
                  <a:pt x="1931899" y="3698177"/>
                </a:lnTo>
                <a:lnTo>
                  <a:pt x="1931899" y="3715322"/>
                </a:lnTo>
                <a:lnTo>
                  <a:pt x="1914754" y="3715322"/>
                </a:lnTo>
                <a:lnTo>
                  <a:pt x="1914754" y="3732467"/>
                </a:lnTo>
                <a:lnTo>
                  <a:pt x="1931899" y="3732467"/>
                </a:lnTo>
                <a:lnTo>
                  <a:pt x="1931899" y="3749612"/>
                </a:lnTo>
                <a:lnTo>
                  <a:pt x="1949044" y="3749612"/>
                </a:lnTo>
                <a:lnTo>
                  <a:pt x="1949044" y="3732467"/>
                </a:lnTo>
                <a:lnTo>
                  <a:pt x="1966189" y="3732467"/>
                </a:lnTo>
                <a:lnTo>
                  <a:pt x="1966189" y="3715322"/>
                </a:lnTo>
                <a:lnTo>
                  <a:pt x="1949044" y="3715322"/>
                </a:lnTo>
                <a:lnTo>
                  <a:pt x="1949044" y="3698177"/>
                </a:lnTo>
                <a:close/>
                <a:moveTo>
                  <a:pt x="3460890" y="1769021"/>
                </a:moveTo>
                <a:lnTo>
                  <a:pt x="3437573" y="1769021"/>
                </a:lnTo>
                <a:lnTo>
                  <a:pt x="3437573" y="1791995"/>
                </a:lnTo>
                <a:lnTo>
                  <a:pt x="3414598" y="1791995"/>
                </a:lnTo>
                <a:lnTo>
                  <a:pt x="3414598" y="1815313"/>
                </a:lnTo>
                <a:lnTo>
                  <a:pt x="3437573" y="1815313"/>
                </a:lnTo>
                <a:lnTo>
                  <a:pt x="3437573" y="1838287"/>
                </a:lnTo>
                <a:lnTo>
                  <a:pt x="3460890" y="1838287"/>
                </a:lnTo>
                <a:lnTo>
                  <a:pt x="3460890" y="1815313"/>
                </a:lnTo>
                <a:lnTo>
                  <a:pt x="3483864" y="1815313"/>
                </a:lnTo>
                <a:lnTo>
                  <a:pt x="3483864" y="1791995"/>
                </a:lnTo>
                <a:lnTo>
                  <a:pt x="3460890" y="1791995"/>
                </a:lnTo>
                <a:lnTo>
                  <a:pt x="3460890" y="1769021"/>
                </a:lnTo>
                <a:close/>
                <a:moveTo>
                  <a:pt x="3455746" y="3156052"/>
                </a:moveTo>
                <a:lnTo>
                  <a:pt x="3442716" y="3156052"/>
                </a:lnTo>
                <a:lnTo>
                  <a:pt x="3442716" y="3168739"/>
                </a:lnTo>
                <a:lnTo>
                  <a:pt x="3430029" y="3168739"/>
                </a:lnTo>
                <a:lnTo>
                  <a:pt x="3430029" y="3181769"/>
                </a:lnTo>
                <a:lnTo>
                  <a:pt x="3442716" y="3181769"/>
                </a:lnTo>
                <a:lnTo>
                  <a:pt x="3442716" y="3194456"/>
                </a:lnTo>
                <a:lnTo>
                  <a:pt x="3455746" y="3194456"/>
                </a:lnTo>
                <a:lnTo>
                  <a:pt x="3455746" y="3181769"/>
                </a:lnTo>
                <a:lnTo>
                  <a:pt x="3468434" y="3181769"/>
                </a:lnTo>
                <a:lnTo>
                  <a:pt x="3468434" y="3168739"/>
                </a:lnTo>
                <a:lnTo>
                  <a:pt x="3455746" y="3168739"/>
                </a:lnTo>
                <a:lnTo>
                  <a:pt x="3455746" y="3156052"/>
                </a:lnTo>
                <a:close/>
                <a:moveTo>
                  <a:pt x="3459175" y="2596439"/>
                </a:moveTo>
                <a:lnTo>
                  <a:pt x="3439287" y="2596439"/>
                </a:lnTo>
                <a:lnTo>
                  <a:pt x="3439287" y="2616670"/>
                </a:lnTo>
                <a:lnTo>
                  <a:pt x="3419056" y="2616670"/>
                </a:lnTo>
                <a:lnTo>
                  <a:pt x="3419056" y="2636558"/>
                </a:lnTo>
                <a:lnTo>
                  <a:pt x="3439287" y="2636558"/>
                </a:lnTo>
                <a:lnTo>
                  <a:pt x="3439287" y="2656789"/>
                </a:lnTo>
                <a:lnTo>
                  <a:pt x="3459175" y="2656789"/>
                </a:lnTo>
                <a:lnTo>
                  <a:pt x="3459175" y="2636558"/>
                </a:lnTo>
                <a:lnTo>
                  <a:pt x="3479407" y="2636558"/>
                </a:lnTo>
                <a:lnTo>
                  <a:pt x="3479407" y="2616670"/>
                </a:lnTo>
                <a:lnTo>
                  <a:pt x="3459175" y="2616670"/>
                </a:lnTo>
                <a:lnTo>
                  <a:pt x="3459175" y="2596439"/>
                </a:lnTo>
                <a:close/>
                <a:moveTo>
                  <a:pt x="3457804" y="2875559"/>
                </a:moveTo>
                <a:lnTo>
                  <a:pt x="3440659" y="2875559"/>
                </a:lnTo>
                <a:lnTo>
                  <a:pt x="3440659" y="2892362"/>
                </a:lnTo>
                <a:lnTo>
                  <a:pt x="3423857" y="2892362"/>
                </a:lnTo>
                <a:lnTo>
                  <a:pt x="3423857" y="2909507"/>
                </a:lnTo>
                <a:lnTo>
                  <a:pt x="3440659" y="2909507"/>
                </a:lnTo>
                <a:lnTo>
                  <a:pt x="3440659" y="2926309"/>
                </a:lnTo>
                <a:lnTo>
                  <a:pt x="3457804" y="2926309"/>
                </a:lnTo>
                <a:lnTo>
                  <a:pt x="3457804" y="2909507"/>
                </a:lnTo>
                <a:lnTo>
                  <a:pt x="3474606" y="2909507"/>
                </a:lnTo>
                <a:lnTo>
                  <a:pt x="3474606" y="2892362"/>
                </a:lnTo>
                <a:lnTo>
                  <a:pt x="3457804" y="2892362"/>
                </a:lnTo>
                <a:lnTo>
                  <a:pt x="3457804" y="2875559"/>
                </a:lnTo>
                <a:close/>
                <a:moveTo>
                  <a:pt x="3460204" y="2319033"/>
                </a:moveTo>
                <a:lnTo>
                  <a:pt x="3438259" y="2319033"/>
                </a:lnTo>
                <a:lnTo>
                  <a:pt x="3438259" y="2341321"/>
                </a:lnTo>
                <a:lnTo>
                  <a:pt x="3415970" y="2341321"/>
                </a:lnTo>
                <a:lnTo>
                  <a:pt x="3415970" y="2363267"/>
                </a:lnTo>
                <a:lnTo>
                  <a:pt x="3438259" y="2363267"/>
                </a:lnTo>
                <a:lnTo>
                  <a:pt x="3438259" y="2385555"/>
                </a:lnTo>
                <a:lnTo>
                  <a:pt x="3460204" y="2385555"/>
                </a:lnTo>
                <a:lnTo>
                  <a:pt x="3460204" y="2363267"/>
                </a:lnTo>
                <a:lnTo>
                  <a:pt x="3482492" y="2363267"/>
                </a:lnTo>
                <a:lnTo>
                  <a:pt x="3482492" y="2341321"/>
                </a:lnTo>
                <a:lnTo>
                  <a:pt x="3460204" y="2341321"/>
                </a:lnTo>
                <a:lnTo>
                  <a:pt x="3460204" y="2319033"/>
                </a:lnTo>
                <a:close/>
                <a:moveTo>
                  <a:pt x="3528441" y="2183244"/>
                </a:moveTo>
                <a:lnTo>
                  <a:pt x="3507181" y="2183244"/>
                </a:lnTo>
                <a:lnTo>
                  <a:pt x="3507181" y="2204504"/>
                </a:lnTo>
                <a:lnTo>
                  <a:pt x="3485921" y="2204504"/>
                </a:lnTo>
                <a:lnTo>
                  <a:pt x="3485921" y="2225764"/>
                </a:lnTo>
                <a:lnTo>
                  <a:pt x="3507181" y="2225764"/>
                </a:lnTo>
                <a:lnTo>
                  <a:pt x="3507181" y="2247024"/>
                </a:lnTo>
                <a:lnTo>
                  <a:pt x="3528441" y="2247024"/>
                </a:lnTo>
                <a:lnTo>
                  <a:pt x="3528441" y="2225764"/>
                </a:lnTo>
                <a:lnTo>
                  <a:pt x="3549701" y="2225764"/>
                </a:lnTo>
                <a:lnTo>
                  <a:pt x="3549701" y="2204504"/>
                </a:lnTo>
                <a:lnTo>
                  <a:pt x="3528441" y="2204504"/>
                </a:lnTo>
                <a:lnTo>
                  <a:pt x="3528441" y="2183244"/>
                </a:lnTo>
                <a:close/>
                <a:moveTo>
                  <a:pt x="3250692" y="3290811"/>
                </a:moveTo>
                <a:lnTo>
                  <a:pt x="3236290" y="3290811"/>
                </a:lnTo>
                <a:lnTo>
                  <a:pt x="3236290" y="3305213"/>
                </a:lnTo>
                <a:lnTo>
                  <a:pt x="3221888" y="3305213"/>
                </a:lnTo>
                <a:lnTo>
                  <a:pt x="3221888" y="3319615"/>
                </a:lnTo>
                <a:lnTo>
                  <a:pt x="3236290" y="3319615"/>
                </a:lnTo>
                <a:lnTo>
                  <a:pt x="3236290" y="3334017"/>
                </a:lnTo>
                <a:lnTo>
                  <a:pt x="3250692" y="3334017"/>
                </a:lnTo>
                <a:lnTo>
                  <a:pt x="3250692" y="3319615"/>
                </a:lnTo>
                <a:lnTo>
                  <a:pt x="3265094" y="3319615"/>
                </a:lnTo>
                <a:lnTo>
                  <a:pt x="3265094" y="3305213"/>
                </a:lnTo>
                <a:lnTo>
                  <a:pt x="3250692" y="3305213"/>
                </a:lnTo>
                <a:lnTo>
                  <a:pt x="3250692" y="3290811"/>
                </a:lnTo>
                <a:close/>
                <a:moveTo>
                  <a:pt x="3524669" y="3017863"/>
                </a:moveTo>
                <a:lnTo>
                  <a:pt x="3510953" y="3017863"/>
                </a:lnTo>
                <a:lnTo>
                  <a:pt x="3510953" y="3031236"/>
                </a:lnTo>
                <a:lnTo>
                  <a:pt x="3497580" y="3031236"/>
                </a:lnTo>
                <a:lnTo>
                  <a:pt x="3497580" y="3044952"/>
                </a:lnTo>
                <a:lnTo>
                  <a:pt x="3510953" y="3044952"/>
                </a:lnTo>
                <a:lnTo>
                  <a:pt x="3510953" y="3058325"/>
                </a:lnTo>
                <a:lnTo>
                  <a:pt x="3524669" y="3058325"/>
                </a:lnTo>
                <a:lnTo>
                  <a:pt x="3524669" y="3044952"/>
                </a:lnTo>
                <a:lnTo>
                  <a:pt x="3538042" y="3044952"/>
                </a:lnTo>
                <a:lnTo>
                  <a:pt x="3538042" y="3031236"/>
                </a:lnTo>
                <a:lnTo>
                  <a:pt x="3524669" y="3031236"/>
                </a:lnTo>
                <a:lnTo>
                  <a:pt x="3524669" y="3017863"/>
                </a:lnTo>
                <a:close/>
                <a:moveTo>
                  <a:pt x="3526384" y="2738057"/>
                </a:moveTo>
                <a:lnTo>
                  <a:pt x="3509239" y="2738057"/>
                </a:lnTo>
                <a:lnTo>
                  <a:pt x="3509239" y="2755202"/>
                </a:lnTo>
                <a:lnTo>
                  <a:pt x="3492094" y="2755202"/>
                </a:lnTo>
                <a:lnTo>
                  <a:pt x="3492094" y="2772347"/>
                </a:lnTo>
                <a:lnTo>
                  <a:pt x="3509239" y="2772347"/>
                </a:lnTo>
                <a:lnTo>
                  <a:pt x="3509239" y="2789492"/>
                </a:lnTo>
                <a:lnTo>
                  <a:pt x="3526384" y="2789492"/>
                </a:lnTo>
                <a:lnTo>
                  <a:pt x="3526384" y="2772347"/>
                </a:lnTo>
                <a:lnTo>
                  <a:pt x="3543529" y="2772347"/>
                </a:lnTo>
                <a:lnTo>
                  <a:pt x="3543529" y="2755202"/>
                </a:lnTo>
                <a:lnTo>
                  <a:pt x="3526384" y="2755202"/>
                </a:lnTo>
                <a:lnTo>
                  <a:pt x="3526384" y="2738057"/>
                </a:lnTo>
                <a:close/>
                <a:moveTo>
                  <a:pt x="3460890" y="2043341"/>
                </a:moveTo>
                <a:lnTo>
                  <a:pt x="3437573" y="2043341"/>
                </a:lnTo>
                <a:lnTo>
                  <a:pt x="3437573" y="2066315"/>
                </a:lnTo>
                <a:lnTo>
                  <a:pt x="3414598" y="2066315"/>
                </a:lnTo>
                <a:lnTo>
                  <a:pt x="3414598" y="2089633"/>
                </a:lnTo>
                <a:lnTo>
                  <a:pt x="3437573" y="2089633"/>
                </a:lnTo>
                <a:lnTo>
                  <a:pt x="3437573" y="2112607"/>
                </a:lnTo>
                <a:lnTo>
                  <a:pt x="3460890" y="2112607"/>
                </a:lnTo>
                <a:lnTo>
                  <a:pt x="3460890" y="2089633"/>
                </a:lnTo>
                <a:lnTo>
                  <a:pt x="3483864" y="2089633"/>
                </a:lnTo>
                <a:lnTo>
                  <a:pt x="3483864" y="2066315"/>
                </a:lnTo>
                <a:lnTo>
                  <a:pt x="3460890" y="2066315"/>
                </a:lnTo>
                <a:lnTo>
                  <a:pt x="3460890" y="2043341"/>
                </a:lnTo>
                <a:close/>
                <a:moveTo>
                  <a:pt x="3254807" y="2729827"/>
                </a:moveTo>
                <a:lnTo>
                  <a:pt x="3232175" y="2729827"/>
                </a:lnTo>
                <a:lnTo>
                  <a:pt x="3232175" y="2752458"/>
                </a:lnTo>
                <a:lnTo>
                  <a:pt x="3209544" y="2752458"/>
                </a:lnTo>
                <a:lnTo>
                  <a:pt x="3209544" y="2775090"/>
                </a:lnTo>
                <a:lnTo>
                  <a:pt x="3232175" y="2775090"/>
                </a:lnTo>
                <a:lnTo>
                  <a:pt x="3232175" y="2797721"/>
                </a:lnTo>
                <a:lnTo>
                  <a:pt x="3254807" y="2797721"/>
                </a:lnTo>
                <a:lnTo>
                  <a:pt x="3254807" y="2775090"/>
                </a:lnTo>
                <a:lnTo>
                  <a:pt x="3277438" y="2775090"/>
                </a:lnTo>
                <a:lnTo>
                  <a:pt x="3277438" y="2752458"/>
                </a:lnTo>
                <a:lnTo>
                  <a:pt x="3254807" y="2752458"/>
                </a:lnTo>
                <a:lnTo>
                  <a:pt x="3254807" y="2729827"/>
                </a:lnTo>
                <a:close/>
                <a:moveTo>
                  <a:pt x="3319958" y="3151937"/>
                </a:moveTo>
                <a:lnTo>
                  <a:pt x="3304184" y="3151937"/>
                </a:lnTo>
                <a:lnTo>
                  <a:pt x="3304184" y="3167367"/>
                </a:lnTo>
                <a:lnTo>
                  <a:pt x="3288754" y="3167367"/>
                </a:lnTo>
                <a:lnTo>
                  <a:pt x="3288754" y="3183141"/>
                </a:lnTo>
                <a:lnTo>
                  <a:pt x="3304184" y="3183141"/>
                </a:lnTo>
                <a:lnTo>
                  <a:pt x="3304184" y="3198571"/>
                </a:lnTo>
                <a:lnTo>
                  <a:pt x="3319958" y="3198571"/>
                </a:lnTo>
                <a:lnTo>
                  <a:pt x="3319958" y="3183141"/>
                </a:lnTo>
                <a:lnTo>
                  <a:pt x="3335389" y="3183141"/>
                </a:lnTo>
                <a:lnTo>
                  <a:pt x="3335389" y="3167367"/>
                </a:lnTo>
                <a:lnTo>
                  <a:pt x="3319958" y="3167367"/>
                </a:lnTo>
                <a:lnTo>
                  <a:pt x="3319958" y="3151937"/>
                </a:lnTo>
                <a:close/>
                <a:moveTo>
                  <a:pt x="3322015" y="2871445"/>
                </a:moveTo>
                <a:lnTo>
                  <a:pt x="3302127" y="2871445"/>
                </a:lnTo>
                <a:lnTo>
                  <a:pt x="3302127" y="2890990"/>
                </a:lnTo>
                <a:lnTo>
                  <a:pt x="3282582" y="2890990"/>
                </a:lnTo>
                <a:lnTo>
                  <a:pt x="3282582" y="2910878"/>
                </a:lnTo>
                <a:lnTo>
                  <a:pt x="3302127" y="2910878"/>
                </a:lnTo>
                <a:lnTo>
                  <a:pt x="3302127" y="2930423"/>
                </a:lnTo>
                <a:lnTo>
                  <a:pt x="3322015" y="2930423"/>
                </a:lnTo>
                <a:lnTo>
                  <a:pt x="3322015" y="2910878"/>
                </a:lnTo>
                <a:lnTo>
                  <a:pt x="3341561" y="2910878"/>
                </a:lnTo>
                <a:lnTo>
                  <a:pt x="3341561" y="2890990"/>
                </a:lnTo>
                <a:lnTo>
                  <a:pt x="3322015" y="2890990"/>
                </a:lnTo>
                <a:lnTo>
                  <a:pt x="3322015" y="2871445"/>
                </a:lnTo>
                <a:close/>
                <a:moveTo>
                  <a:pt x="3253093" y="3009633"/>
                </a:moveTo>
                <a:lnTo>
                  <a:pt x="3233890" y="3009633"/>
                </a:lnTo>
                <a:lnTo>
                  <a:pt x="3233890" y="3028493"/>
                </a:lnTo>
                <a:lnTo>
                  <a:pt x="3215030" y="3028493"/>
                </a:lnTo>
                <a:lnTo>
                  <a:pt x="3215030" y="3047695"/>
                </a:lnTo>
                <a:lnTo>
                  <a:pt x="3233890" y="3047695"/>
                </a:lnTo>
                <a:lnTo>
                  <a:pt x="3233890" y="3066555"/>
                </a:lnTo>
                <a:lnTo>
                  <a:pt x="3253093" y="3066555"/>
                </a:lnTo>
                <a:lnTo>
                  <a:pt x="3253093" y="3047695"/>
                </a:lnTo>
                <a:lnTo>
                  <a:pt x="3271952" y="3047695"/>
                </a:lnTo>
                <a:lnTo>
                  <a:pt x="3271952" y="3028493"/>
                </a:lnTo>
                <a:lnTo>
                  <a:pt x="3253093" y="3028493"/>
                </a:lnTo>
                <a:lnTo>
                  <a:pt x="3253093" y="3009633"/>
                </a:lnTo>
                <a:close/>
                <a:moveTo>
                  <a:pt x="3323387" y="2592667"/>
                </a:moveTo>
                <a:lnTo>
                  <a:pt x="3300755" y="2592667"/>
                </a:lnTo>
                <a:lnTo>
                  <a:pt x="3300755" y="2615298"/>
                </a:lnTo>
                <a:lnTo>
                  <a:pt x="3278124" y="2615298"/>
                </a:lnTo>
                <a:lnTo>
                  <a:pt x="3278124" y="2637930"/>
                </a:lnTo>
                <a:lnTo>
                  <a:pt x="3300755" y="2637930"/>
                </a:lnTo>
                <a:lnTo>
                  <a:pt x="3300755" y="2660561"/>
                </a:lnTo>
                <a:lnTo>
                  <a:pt x="3323387" y="2660561"/>
                </a:lnTo>
                <a:lnTo>
                  <a:pt x="3323387" y="2637930"/>
                </a:lnTo>
                <a:lnTo>
                  <a:pt x="3346018" y="2637930"/>
                </a:lnTo>
                <a:lnTo>
                  <a:pt x="3346018" y="2615298"/>
                </a:lnTo>
                <a:lnTo>
                  <a:pt x="3323387" y="2615298"/>
                </a:lnTo>
                <a:lnTo>
                  <a:pt x="3323387" y="2592667"/>
                </a:lnTo>
                <a:close/>
                <a:moveTo>
                  <a:pt x="3388881" y="3013405"/>
                </a:moveTo>
                <a:lnTo>
                  <a:pt x="3372422" y="3013405"/>
                </a:lnTo>
                <a:lnTo>
                  <a:pt x="3372422" y="3029864"/>
                </a:lnTo>
                <a:lnTo>
                  <a:pt x="3355963" y="3029864"/>
                </a:lnTo>
                <a:lnTo>
                  <a:pt x="3355963" y="3046324"/>
                </a:lnTo>
                <a:lnTo>
                  <a:pt x="3372422" y="3046324"/>
                </a:lnTo>
                <a:lnTo>
                  <a:pt x="3372422" y="3062783"/>
                </a:lnTo>
                <a:lnTo>
                  <a:pt x="3388881" y="3062783"/>
                </a:lnTo>
                <a:lnTo>
                  <a:pt x="3388881" y="3046324"/>
                </a:lnTo>
                <a:lnTo>
                  <a:pt x="3405340" y="3046324"/>
                </a:lnTo>
                <a:lnTo>
                  <a:pt x="3405340" y="3029864"/>
                </a:lnTo>
                <a:lnTo>
                  <a:pt x="3388881" y="3029864"/>
                </a:lnTo>
                <a:lnTo>
                  <a:pt x="3388881" y="3013405"/>
                </a:lnTo>
                <a:close/>
                <a:moveTo>
                  <a:pt x="3391967" y="2455507"/>
                </a:moveTo>
                <a:lnTo>
                  <a:pt x="3369335" y="2455507"/>
                </a:lnTo>
                <a:lnTo>
                  <a:pt x="3369335" y="2478138"/>
                </a:lnTo>
                <a:lnTo>
                  <a:pt x="3346704" y="2478138"/>
                </a:lnTo>
                <a:lnTo>
                  <a:pt x="3346704" y="2500770"/>
                </a:lnTo>
                <a:lnTo>
                  <a:pt x="3369335" y="2500770"/>
                </a:lnTo>
                <a:lnTo>
                  <a:pt x="3369335" y="2523401"/>
                </a:lnTo>
                <a:lnTo>
                  <a:pt x="3391967" y="2523401"/>
                </a:lnTo>
                <a:lnTo>
                  <a:pt x="3391967" y="2500770"/>
                </a:lnTo>
                <a:lnTo>
                  <a:pt x="3414598" y="2500770"/>
                </a:lnTo>
                <a:lnTo>
                  <a:pt x="3414598" y="2478138"/>
                </a:lnTo>
                <a:lnTo>
                  <a:pt x="3391967" y="2478138"/>
                </a:lnTo>
                <a:lnTo>
                  <a:pt x="3391967" y="2455507"/>
                </a:lnTo>
                <a:close/>
                <a:moveTo>
                  <a:pt x="3390595" y="2733599"/>
                </a:moveTo>
                <a:lnTo>
                  <a:pt x="3370707" y="2733599"/>
                </a:lnTo>
                <a:lnTo>
                  <a:pt x="3370707" y="2753830"/>
                </a:lnTo>
                <a:lnTo>
                  <a:pt x="3350476" y="2753830"/>
                </a:lnTo>
                <a:lnTo>
                  <a:pt x="3350476" y="2773718"/>
                </a:lnTo>
                <a:lnTo>
                  <a:pt x="3370707" y="2773718"/>
                </a:lnTo>
                <a:lnTo>
                  <a:pt x="3370707" y="2793949"/>
                </a:lnTo>
                <a:lnTo>
                  <a:pt x="3390595" y="2793949"/>
                </a:lnTo>
                <a:lnTo>
                  <a:pt x="3390595" y="2773718"/>
                </a:lnTo>
                <a:lnTo>
                  <a:pt x="3410827" y="2773718"/>
                </a:lnTo>
                <a:lnTo>
                  <a:pt x="3410827" y="2753830"/>
                </a:lnTo>
                <a:lnTo>
                  <a:pt x="3390595" y="2753830"/>
                </a:lnTo>
                <a:lnTo>
                  <a:pt x="3390595" y="2733599"/>
                </a:lnTo>
                <a:close/>
                <a:moveTo>
                  <a:pt x="3386480" y="3294583"/>
                </a:moveTo>
                <a:lnTo>
                  <a:pt x="3374822" y="3294583"/>
                </a:lnTo>
                <a:lnTo>
                  <a:pt x="3374822" y="3306585"/>
                </a:lnTo>
                <a:lnTo>
                  <a:pt x="3362821" y="3306585"/>
                </a:lnTo>
                <a:lnTo>
                  <a:pt x="3362821" y="3318243"/>
                </a:lnTo>
                <a:lnTo>
                  <a:pt x="3374822" y="3318243"/>
                </a:lnTo>
                <a:lnTo>
                  <a:pt x="3374822" y="3330245"/>
                </a:lnTo>
                <a:lnTo>
                  <a:pt x="3386480" y="3330245"/>
                </a:lnTo>
                <a:lnTo>
                  <a:pt x="3386480" y="3318243"/>
                </a:lnTo>
                <a:lnTo>
                  <a:pt x="3398482" y="3318243"/>
                </a:lnTo>
                <a:lnTo>
                  <a:pt x="3398482" y="3306585"/>
                </a:lnTo>
                <a:lnTo>
                  <a:pt x="3386480" y="3306585"/>
                </a:lnTo>
                <a:lnTo>
                  <a:pt x="3386480" y="3294583"/>
                </a:lnTo>
                <a:close/>
                <a:moveTo>
                  <a:pt x="3527755" y="2459965"/>
                </a:moveTo>
                <a:lnTo>
                  <a:pt x="3507867" y="2459965"/>
                </a:lnTo>
                <a:lnTo>
                  <a:pt x="3507867" y="2479510"/>
                </a:lnTo>
                <a:lnTo>
                  <a:pt x="3488322" y="2479510"/>
                </a:lnTo>
                <a:lnTo>
                  <a:pt x="3488322" y="2499398"/>
                </a:lnTo>
                <a:lnTo>
                  <a:pt x="3507867" y="2499398"/>
                </a:lnTo>
                <a:lnTo>
                  <a:pt x="3507867" y="2518943"/>
                </a:lnTo>
                <a:lnTo>
                  <a:pt x="3527755" y="2518943"/>
                </a:lnTo>
                <a:lnTo>
                  <a:pt x="3527755" y="2499398"/>
                </a:lnTo>
                <a:lnTo>
                  <a:pt x="3547301" y="2499398"/>
                </a:lnTo>
                <a:lnTo>
                  <a:pt x="3547301" y="2479510"/>
                </a:lnTo>
                <a:lnTo>
                  <a:pt x="3527755" y="2479510"/>
                </a:lnTo>
                <a:lnTo>
                  <a:pt x="3527755" y="2459965"/>
                </a:lnTo>
                <a:close/>
                <a:moveTo>
                  <a:pt x="3799675" y="2192846"/>
                </a:moveTo>
                <a:lnTo>
                  <a:pt x="3784588" y="2192846"/>
                </a:lnTo>
                <a:lnTo>
                  <a:pt x="3784588" y="2207590"/>
                </a:lnTo>
                <a:lnTo>
                  <a:pt x="3769843" y="2207590"/>
                </a:lnTo>
                <a:lnTo>
                  <a:pt x="3769843" y="2222678"/>
                </a:lnTo>
                <a:lnTo>
                  <a:pt x="3784588" y="2222678"/>
                </a:lnTo>
                <a:lnTo>
                  <a:pt x="3784588" y="2237423"/>
                </a:lnTo>
                <a:lnTo>
                  <a:pt x="3799675" y="2237423"/>
                </a:lnTo>
                <a:lnTo>
                  <a:pt x="3799675" y="2222678"/>
                </a:lnTo>
                <a:lnTo>
                  <a:pt x="3814420" y="2222678"/>
                </a:lnTo>
                <a:lnTo>
                  <a:pt x="3814420" y="2207590"/>
                </a:lnTo>
                <a:lnTo>
                  <a:pt x="3799675" y="2207590"/>
                </a:lnTo>
                <a:lnTo>
                  <a:pt x="3799675" y="2192846"/>
                </a:lnTo>
                <a:close/>
                <a:moveTo>
                  <a:pt x="3798646" y="2469566"/>
                </a:moveTo>
                <a:lnTo>
                  <a:pt x="3785616" y="2469566"/>
                </a:lnTo>
                <a:lnTo>
                  <a:pt x="3785616" y="2482939"/>
                </a:lnTo>
                <a:lnTo>
                  <a:pt x="3772243" y="2482939"/>
                </a:lnTo>
                <a:lnTo>
                  <a:pt x="3772243" y="2495969"/>
                </a:lnTo>
                <a:lnTo>
                  <a:pt x="3785616" y="2495969"/>
                </a:lnTo>
                <a:lnTo>
                  <a:pt x="3785616" y="2509342"/>
                </a:lnTo>
                <a:lnTo>
                  <a:pt x="3798646" y="2509342"/>
                </a:lnTo>
                <a:lnTo>
                  <a:pt x="3798646" y="2495969"/>
                </a:lnTo>
                <a:lnTo>
                  <a:pt x="3812020" y="2495969"/>
                </a:lnTo>
                <a:lnTo>
                  <a:pt x="3812020" y="2482939"/>
                </a:lnTo>
                <a:lnTo>
                  <a:pt x="3798646" y="2482939"/>
                </a:lnTo>
                <a:lnTo>
                  <a:pt x="3798646" y="2469566"/>
                </a:lnTo>
                <a:close/>
                <a:moveTo>
                  <a:pt x="3799675" y="1917840"/>
                </a:moveTo>
                <a:lnTo>
                  <a:pt x="3784588" y="1917840"/>
                </a:lnTo>
                <a:lnTo>
                  <a:pt x="3784588" y="1933270"/>
                </a:lnTo>
                <a:lnTo>
                  <a:pt x="3769157" y="1933270"/>
                </a:lnTo>
                <a:lnTo>
                  <a:pt x="3769157" y="1948358"/>
                </a:lnTo>
                <a:lnTo>
                  <a:pt x="3784588" y="1948358"/>
                </a:lnTo>
                <a:lnTo>
                  <a:pt x="3784588" y="1963788"/>
                </a:lnTo>
                <a:lnTo>
                  <a:pt x="3799675" y="1963788"/>
                </a:lnTo>
                <a:lnTo>
                  <a:pt x="3799675" y="1948358"/>
                </a:lnTo>
                <a:lnTo>
                  <a:pt x="3815105" y="1948358"/>
                </a:lnTo>
                <a:lnTo>
                  <a:pt x="3815105" y="1933270"/>
                </a:lnTo>
                <a:lnTo>
                  <a:pt x="3799675" y="1933270"/>
                </a:lnTo>
                <a:lnTo>
                  <a:pt x="3799675" y="1917840"/>
                </a:lnTo>
                <a:close/>
                <a:moveTo>
                  <a:pt x="3732124" y="2052599"/>
                </a:moveTo>
                <a:lnTo>
                  <a:pt x="3714979" y="2052599"/>
                </a:lnTo>
                <a:lnTo>
                  <a:pt x="3714979" y="2069402"/>
                </a:lnTo>
                <a:lnTo>
                  <a:pt x="3698177" y="2069402"/>
                </a:lnTo>
                <a:lnTo>
                  <a:pt x="3698177" y="2086547"/>
                </a:lnTo>
                <a:lnTo>
                  <a:pt x="3714979" y="2086547"/>
                </a:lnTo>
                <a:lnTo>
                  <a:pt x="3714979" y="2103349"/>
                </a:lnTo>
                <a:lnTo>
                  <a:pt x="3732124" y="2103349"/>
                </a:lnTo>
                <a:lnTo>
                  <a:pt x="3732124" y="2086547"/>
                </a:lnTo>
                <a:lnTo>
                  <a:pt x="3748926" y="2086547"/>
                </a:lnTo>
                <a:lnTo>
                  <a:pt x="3748926" y="2069402"/>
                </a:lnTo>
                <a:lnTo>
                  <a:pt x="3732124" y="2069402"/>
                </a:lnTo>
                <a:lnTo>
                  <a:pt x="3732124" y="2052599"/>
                </a:lnTo>
                <a:close/>
                <a:moveTo>
                  <a:pt x="3593249" y="2880017"/>
                </a:moveTo>
                <a:lnTo>
                  <a:pt x="3579533" y="2880017"/>
                </a:lnTo>
                <a:lnTo>
                  <a:pt x="3579533" y="2894076"/>
                </a:lnTo>
                <a:lnTo>
                  <a:pt x="3565474" y="2894076"/>
                </a:lnTo>
                <a:lnTo>
                  <a:pt x="3565474" y="2907792"/>
                </a:lnTo>
                <a:lnTo>
                  <a:pt x="3579533" y="2907792"/>
                </a:lnTo>
                <a:lnTo>
                  <a:pt x="3579533" y="2921851"/>
                </a:lnTo>
                <a:lnTo>
                  <a:pt x="3593249" y="2921851"/>
                </a:lnTo>
                <a:lnTo>
                  <a:pt x="3593249" y="2907792"/>
                </a:lnTo>
                <a:lnTo>
                  <a:pt x="3607308" y="2907792"/>
                </a:lnTo>
                <a:lnTo>
                  <a:pt x="3607308" y="2894076"/>
                </a:lnTo>
                <a:lnTo>
                  <a:pt x="3593249" y="2894076"/>
                </a:lnTo>
                <a:lnTo>
                  <a:pt x="3593249" y="2880017"/>
                </a:lnTo>
                <a:close/>
                <a:moveTo>
                  <a:pt x="3732124" y="1778279"/>
                </a:moveTo>
                <a:lnTo>
                  <a:pt x="3714979" y="1778279"/>
                </a:lnTo>
                <a:lnTo>
                  <a:pt x="3714979" y="1795082"/>
                </a:lnTo>
                <a:lnTo>
                  <a:pt x="3698177" y="1795082"/>
                </a:lnTo>
                <a:lnTo>
                  <a:pt x="3698177" y="1812227"/>
                </a:lnTo>
                <a:lnTo>
                  <a:pt x="3714979" y="1812227"/>
                </a:lnTo>
                <a:lnTo>
                  <a:pt x="3714979" y="1829029"/>
                </a:lnTo>
                <a:lnTo>
                  <a:pt x="3732124" y="1829029"/>
                </a:lnTo>
                <a:lnTo>
                  <a:pt x="3732124" y="1812227"/>
                </a:lnTo>
                <a:lnTo>
                  <a:pt x="3748926" y="1812227"/>
                </a:lnTo>
                <a:lnTo>
                  <a:pt x="3748926" y="1795082"/>
                </a:lnTo>
                <a:lnTo>
                  <a:pt x="3732124" y="1795082"/>
                </a:lnTo>
                <a:lnTo>
                  <a:pt x="3732124" y="1778279"/>
                </a:lnTo>
                <a:close/>
                <a:moveTo>
                  <a:pt x="3866884" y="2333435"/>
                </a:moveTo>
                <a:lnTo>
                  <a:pt x="3854539" y="2333435"/>
                </a:lnTo>
                <a:lnTo>
                  <a:pt x="3854539" y="2346122"/>
                </a:lnTo>
                <a:lnTo>
                  <a:pt x="3841852" y="2346122"/>
                </a:lnTo>
                <a:lnTo>
                  <a:pt x="3841852" y="2358466"/>
                </a:lnTo>
                <a:lnTo>
                  <a:pt x="3854539" y="2358466"/>
                </a:lnTo>
                <a:lnTo>
                  <a:pt x="3854539" y="2371154"/>
                </a:lnTo>
                <a:lnTo>
                  <a:pt x="3866884" y="2371154"/>
                </a:lnTo>
                <a:lnTo>
                  <a:pt x="3866884" y="2358466"/>
                </a:lnTo>
                <a:lnTo>
                  <a:pt x="3879571" y="2358466"/>
                </a:lnTo>
                <a:lnTo>
                  <a:pt x="3879571" y="2346122"/>
                </a:lnTo>
                <a:lnTo>
                  <a:pt x="3866884" y="2346122"/>
                </a:lnTo>
                <a:lnTo>
                  <a:pt x="3866884" y="2333435"/>
                </a:lnTo>
                <a:close/>
                <a:moveTo>
                  <a:pt x="3947122" y="1934985"/>
                </a:moveTo>
                <a:lnTo>
                  <a:pt x="3935120" y="1934985"/>
                </a:lnTo>
                <a:lnTo>
                  <a:pt x="3935120" y="1922983"/>
                </a:lnTo>
                <a:lnTo>
                  <a:pt x="3923462" y="1922983"/>
                </a:lnTo>
                <a:lnTo>
                  <a:pt x="3923462" y="1934985"/>
                </a:lnTo>
                <a:lnTo>
                  <a:pt x="3911461" y="1934985"/>
                </a:lnTo>
                <a:lnTo>
                  <a:pt x="3911461" y="1946643"/>
                </a:lnTo>
                <a:lnTo>
                  <a:pt x="3923462" y="1946643"/>
                </a:lnTo>
                <a:lnTo>
                  <a:pt x="3923462" y="1958645"/>
                </a:lnTo>
                <a:lnTo>
                  <a:pt x="3935120" y="1958645"/>
                </a:lnTo>
                <a:lnTo>
                  <a:pt x="3935120" y="1946643"/>
                </a:lnTo>
                <a:lnTo>
                  <a:pt x="3947122" y="1946643"/>
                </a:lnTo>
                <a:cubicBezTo>
                  <a:pt x="3947122" y="1944586"/>
                  <a:pt x="3947122" y="1942871"/>
                  <a:pt x="3947122" y="1940814"/>
                </a:cubicBezTo>
                <a:cubicBezTo>
                  <a:pt x="3947122" y="1938757"/>
                  <a:pt x="3947122" y="1937042"/>
                  <a:pt x="3947122" y="1934985"/>
                </a:cubicBezTo>
                <a:close/>
                <a:moveTo>
                  <a:pt x="3867569" y="1783423"/>
                </a:moveTo>
                <a:lnTo>
                  <a:pt x="3853853" y="1783423"/>
                </a:lnTo>
                <a:lnTo>
                  <a:pt x="3853853" y="1796796"/>
                </a:lnTo>
                <a:lnTo>
                  <a:pt x="3840480" y="1796796"/>
                </a:lnTo>
                <a:lnTo>
                  <a:pt x="3840480" y="1810512"/>
                </a:lnTo>
                <a:lnTo>
                  <a:pt x="3853853" y="1810512"/>
                </a:lnTo>
                <a:lnTo>
                  <a:pt x="3853853" y="1823885"/>
                </a:lnTo>
                <a:lnTo>
                  <a:pt x="3867569" y="1823885"/>
                </a:lnTo>
                <a:lnTo>
                  <a:pt x="3867569" y="1810512"/>
                </a:lnTo>
                <a:lnTo>
                  <a:pt x="3880942" y="1810512"/>
                </a:lnTo>
                <a:lnTo>
                  <a:pt x="3880942" y="1796796"/>
                </a:lnTo>
                <a:lnTo>
                  <a:pt x="3867569" y="1796796"/>
                </a:lnTo>
                <a:lnTo>
                  <a:pt x="3867569" y="1783423"/>
                </a:lnTo>
                <a:close/>
                <a:moveTo>
                  <a:pt x="3867569" y="2057743"/>
                </a:moveTo>
                <a:lnTo>
                  <a:pt x="3853853" y="2057743"/>
                </a:lnTo>
                <a:lnTo>
                  <a:pt x="3853853" y="2071116"/>
                </a:lnTo>
                <a:lnTo>
                  <a:pt x="3840480" y="2071116"/>
                </a:lnTo>
                <a:lnTo>
                  <a:pt x="3840480" y="2084832"/>
                </a:lnTo>
                <a:lnTo>
                  <a:pt x="3853853" y="2084832"/>
                </a:lnTo>
                <a:lnTo>
                  <a:pt x="3853853" y="2098205"/>
                </a:lnTo>
                <a:lnTo>
                  <a:pt x="3867569" y="2098205"/>
                </a:lnTo>
                <a:lnTo>
                  <a:pt x="3867569" y="2084832"/>
                </a:lnTo>
                <a:lnTo>
                  <a:pt x="3880942" y="2084832"/>
                </a:lnTo>
                <a:lnTo>
                  <a:pt x="3880942" y="2071116"/>
                </a:lnTo>
                <a:lnTo>
                  <a:pt x="3867569" y="2071116"/>
                </a:lnTo>
                <a:lnTo>
                  <a:pt x="3867569" y="2057743"/>
                </a:lnTo>
                <a:close/>
                <a:moveTo>
                  <a:pt x="3731438" y="2328634"/>
                </a:moveTo>
                <a:lnTo>
                  <a:pt x="3715664" y="2328634"/>
                </a:lnTo>
                <a:lnTo>
                  <a:pt x="3715664" y="2344407"/>
                </a:lnTo>
                <a:lnTo>
                  <a:pt x="3699891" y="2344407"/>
                </a:lnTo>
                <a:lnTo>
                  <a:pt x="3699891" y="2360181"/>
                </a:lnTo>
                <a:lnTo>
                  <a:pt x="3715664" y="2360181"/>
                </a:lnTo>
                <a:lnTo>
                  <a:pt x="3715664" y="2375954"/>
                </a:lnTo>
                <a:lnTo>
                  <a:pt x="3731438" y="2375954"/>
                </a:lnTo>
                <a:lnTo>
                  <a:pt x="3731438" y="2360181"/>
                </a:lnTo>
                <a:lnTo>
                  <a:pt x="3747211" y="2360181"/>
                </a:lnTo>
                <a:lnTo>
                  <a:pt x="3747211" y="2344407"/>
                </a:lnTo>
                <a:lnTo>
                  <a:pt x="3731438" y="2344407"/>
                </a:lnTo>
                <a:lnTo>
                  <a:pt x="3731438" y="2328634"/>
                </a:lnTo>
                <a:close/>
                <a:moveTo>
                  <a:pt x="3596335" y="1773479"/>
                </a:moveTo>
                <a:lnTo>
                  <a:pt x="3576447" y="1773479"/>
                </a:lnTo>
                <a:lnTo>
                  <a:pt x="3576447" y="1793710"/>
                </a:lnTo>
                <a:lnTo>
                  <a:pt x="3556216" y="1793710"/>
                </a:lnTo>
                <a:lnTo>
                  <a:pt x="3556216" y="1813598"/>
                </a:lnTo>
                <a:lnTo>
                  <a:pt x="3576447" y="1813598"/>
                </a:lnTo>
                <a:lnTo>
                  <a:pt x="3576447" y="1833829"/>
                </a:lnTo>
                <a:lnTo>
                  <a:pt x="3596335" y="1833829"/>
                </a:lnTo>
                <a:lnTo>
                  <a:pt x="3596335" y="1813598"/>
                </a:lnTo>
                <a:lnTo>
                  <a:pt x="3616567" y="1813598"/>
                </a:lnTo>
                <a:lnTo>
                  <a:pt x="3616567" y="1793710"/>
                </a:lnTo>
                <a:lnTo>
                  <a:pt x="3596335" y="1793710"/>
                </a:lnTo>
                <a:lnTo>
                  <a:pt x="3596335" y="1773479"/>
                </a:lnTo>
                <a:close/>
                <a:moveTo>
                  <a:pt x="3595993" y="2323833"/>
                </a:moveTo>
                <a:lnTo>
                  <a:pt x="3576790" y="2323833"/>
                </a:lnTo>
                <a:lnTo>
                  <a:pt x="3576790" y="2342693"/>
                </a:lnTo>
                <a:lnTo>
                  <a:pt x="3557930" y="2342693"/>
                </a:lnTo>
                <a:lnTo>
                  <a:pt x="3557930" y="2361895"/>
                </a:lnTo>
                <a:lnTo>
                  <a:pt x="3576790" y="2361895"/>
                </a:lnTo>
                <a:lnTo>
                  <a:pt x="3576790" y="2380755"/>
                </a:lnTo>
                <a:lnTo>
                  <a:pt x="3595993" y="2380755"/>
                </a:lnTo>
                <a:lnTo>
                  <a:pt x="3595993" y="2361895"/>
                </a:lnTo>
                <a:lnTo>
                  <a:pt x="3614852" y="2361895"/>
                </a:lnTo>
                <a:lnTo>
                  <a:pt x="3614852" y="2342693"/>
                </a:lnTo>
                <a:lnTo>
                  <a:pt x="3595993" y="2342693"/>
                </a:lnTo>
                <a:lnTo>
                  <a:pt x="3595993" y="2323833"/>
                </a:lnTo>
                <a:close/>
                <a:moveTo>
                  <a:pt x="3596335" y="2047799"/>
                </a:moveTo>
                <a:lnTo>
                  <a:pt x="3576447" y="2047799"/>
                </a:lnTo>
                <a:lnTo>
                  <a:pt x="3576447" y="2068030"/>
                </a:lnTo>
                <a:lnTo>
                  <a:pt x="3556216" y="2068030"/>
                </a:lnTo>
                <a:lnTo>
                  <a:pt x="3556216" y="2087918"/>
                </a:lnTo>
                <a:lnTo>
                  <a:pt x="3576447" y="2087918"/>
                </a:lnTo>
                <a:lnTo>
                  <a:pt x="3576447" y="2108149"/>
                </a:lnTo>
                <a:lnTo>
                  <a:pt x="3596335" y="2108149"/>
                </a:lnTo>
                <a:lnTo>
                  <a:pt x="3596335" y="2087918"/>
                </a:lnTo>
                <a:lnTo>
                  <a:pt x="3616567" y="2087918"/>
                </a:lnTo>
                <a:lnTo>
                  <a:pt x="3616567" y="2068030"/>
                </a:lnTo>
                <a:lnTo>
                  <a:pt x="3596335" y="2068030"/>
                </a:lnTo>
                <a:lnTo>
                  <a:pt x="3596335" y="2047799"/>
                </a:lnTo>
                <a:close/>
                <a:moveTo>
                  <a:pt x="3730409" y="2606040"/>
                </a:moveTo>
                <a:lnTo>
                  <a:pt x="3716693" y="2606040"/>
                </a:lnTo>
                <a:lnTo>
                  <a:pt x="3716693" y="2619756"/>
                </a:lnTo>
                <a:lnTo>
                  <a:pt x="3702977" y="2619756"/>
                </a:lnTo>
                <a:lnTo>
                  <a:pt x="3702977" y="2633472"/>
                </a:lnTo>
                <a:lnTo>
                  <a:pt x="3716693" y="2633472"/>
                </a:lnTo>
                <a:lnTo>
                  <a:pt x="3716693" y="2647188"/>
                </a:lnTo>
                <a:lnTo>
                  <a:pt x="3730409" y="2647188"/>
                </a:lnTo>
                <a:lnTo>
                  <a:pt x="3730409" y="2633472"/>
                </a:lnTo>
                <a:lnTo>
                  <a:pt x="3744125" y="2633472"/>
                </a:lnTo>
                <a:lnTo>
                  <a:pt x="3744125" y="2619756"/>
                </a:lnTo>
                <a:lnTo>
                  <a:pt x="3730409" y="2619756"/>
                </a:lnTo>
                <a:lnTo>
                  <a:pt x="3730409" y="2606040"/>
                </a:lnTo>
                <a:close/>
                <a:moveTo>
                  <a:pt x="3594964" y="2600897"/>
                </a:moveTo>
                <a:lnTo>
                  <a:pt x="3577819" y="2600897"/>
                </a:lnTo>
                <a:lnTo>
                  <a:pt x="3577819" y="2618042"/>
                </a:lnTo>
                <a:lnTo>
                  <a:pt x="3560674" y="2618042"/>
                </a:lnTo>
                <a:lnTo>
                  <a:pt x="3560674" y="2635187"/>
                </a:lnTo>
                <a:lnTo>
                  <a:pt x="3577819" y="2635187"/>
                </a:lnTo>
                <a:lnTo>
                  <a:pt x="3577819" y="2652332"/>
                </a:lnTo>
                <a:lnTo>
                  <a:pt x="3594964" y="2652332"/>
                </a:lnTo>
                <a:lnTo>
                  <a:pt x="3594964" y="2635187"/>
                </a:lnTo>
                <a:lnTo>
                  <a:pt x="3612109" y="2635187"/>
                </a:lnTo>
                <a:lnTo>
                  <a:pt x="3612109" y="2618042"/>
                </a:lnTo>
                <a:lnTo>
                  <a:pt x="3594964" y="2618042"/>
                </a:lnTo>
                <a:lnTo>
                  <a:pt x="3594964" y="2600897"/>
                </a:lnTo>
                <a:close/>
                <a:moveTo>
                  <a:pt x="3664229" y="1913039"/>
                </a:moveTo>
                <a:lnTo>
                  <a:pt x="3645713" y="1913039"/>
                </a:lnTo>
                <a:lnTo>
                  <a:pt x="3645713" y="1931556"/>
                </a:lnTo>
                <a:lnTo>
                  <a:pt x="3627196" y="1931556"/>
                </a:lnTo>
                <a:lnTo>
                  <a:pt x="3627196" y="1950072"/>
                </a:lnTo>
                <a:lnTo>
                  <a:pt x="3645713" y="1950072"/>
                </a:lnTo>
                <a:lnTo>
                  <a:pt x="3645713" y="1968589"/>
                </a:lnTo>
                <a:lnTo>
                  <a:pt x="3664229" y="1968589"/>
                </a:lnTo>
                <a:lnTo>
                  <a:pt x="3664229" y="1950072"/>
                </a:lnTo>
                <a:lnTo>
                  <a:pt x="3682746" y="1950072"/>
                </a:lnTo>
                <a:lnTo>
                  <a:pt x="3682746" y="1931556"/>
                </a:lnTo>
                <a:lnTo>
                  <a:pt x="3664229" y="1931556"/>
                </a:lnTo>
                <a:lnTo>
                  <a:pt x="3664229" y="1913039"/>
                </a:lnTo>
                <a:close/>
                <a:moveTo>
                  <a:pt x="3663887" y="2188045"/>
                </a:moveTo>
                <a:lnTo>
                  <a:pt x="3646056" y="2188045"/>
                </a:lnTo>
                <a:lnTo>
                  <a:pt x="3646056" y="2206219"/>
                </a:lnTo>
                <a:lnTo>
                  <a:pt x="3627882" y="2206219"/>
                </a:lnTo>
                <a:lnTo>
                  <a:pt x="3627882" y="2224049"/>
                </a:lnTo>
                <a:lnTo>
                  <a:pt x="3646056" y="2224049"/>
                </a:lnTo>
                <a:lnTo>
                  <a:pt x="3646056" y="2242223"/>
                </a:lnTo>
                <a:lnTo>
                  <a:pt x="3663887" y="2242223"/>
                </a:lnTo>
                <a:lnTo>
                  <a:pt x="3663887" y="2224049"/>
                </a:lnTo>
                <a:lnTo>
                  <a:pt x="3682060" y="2224049"/>
                </a:lnTo>
                <a:lnTo>
                  <a:pt x="3682060" y="2206219"/>
                </a:lnTo>
                <a:lnTo>
                  <a:pt x="3663887" y="2206219"/>
                </a:lnTo>
                <a:lnTo>
                  <a:pt x="3663887" y="2188045"/>
                </a:lnTo>
                <a:close/>
                <a:moveTo>
                  <a:pt x="3661829" y="2742857"/>
                </a:moveTo>
                <a:lnTo>
                  <a:pt x="3648113" y="2742857"/>
                </a:lnTo>
                <a:lnTo>
                  <a:pt x="3648113" y="2756916"/>
                </a:lnTo>
                <a:lnTo>
                  <a:pt x="3634054" y="2756916"/>
                </a:lnTo>
                <a:lnTo>
                  <a:pt x="3634054" y="2770632"/>
                </a:lnTo>
                <a:lnTo>
                  <a:pt x="3648113" y="2770632"/>
                </a:lnTo>
                <a:lnTo>
                  <a:pt x="3648113" y="2784691"/>
                </a:lnTo>
                <a:lnTo>
                  <a:pt x="3661829" y="2784691"/>
                </a:lnTo>
                <a:lnTo>
                  <a:pt x="3661829" y="2770632"/>
                </a:lnTo>
                <a:lnTo>
                  <a:pt x="3675888" y="2770632"/>
                </a:lnTo>
                <a:lnTo>
                  <a:pt x="3675888" y="2756916"/>
                </a:lnTo>
                <a:lnTo>
                  <a:pt x="3661829" y="2756916"/>
                </a:lnTo>
                <a:lnTo>
                  <a:pt x="3661829" y="2742857"/>
                </a:lnTo>
                <a:close/>
                <a:moveTo>
                  <a:pt x="3663201" y="2464422"/>
                </a:moveTo>
                <a:lnTo>
                  <a:pt x="3646742" y="2464422"/>
                </a:lnTo>
                <a:lnTo>
                  <a:pt x="3646742" y="2481224"/>
                </a:lnTo>
                <a:lnTo>
                  <a:pt x="3629939" y="2481224"/>
                </a:lnTo>
                <a:lnTo>
                  <a:pt x="3629939" y="2497684"/>
                </a:lnTo>
                <a:lnTo>
                  <a:pt x="3646742" y="2497684"/>
                </a:lnTo>
                <a:lnTo>
                  <a:pt x="3646742" y="2514486"/>
                </a:lnTo>
                <a:lnTo>
                  <a:pt x="3663201" y="2514486"/>
                </a:lnTo>
                <a:lnTo>
                  <a:pt x="3663201" y="2497684"/>
                </a:lnTo>
                <a:lnTo>
                  <a:pt x="3680003" y="2497684"/>
                </a:lnTo>
                <a:lnTo>
                  <a:pt x="3680003" y="2481224"/>
                </a:lnTo>
                <a:lnTo>
                  <a:pt x="3663201" y="2481224"/>
                </a:lnTo>
                <a:lnTo>
                  <a:pt x="3663201" y="2464422"/>
                </a:lnTo>
                <a:close/>
                <a:moveTo>
                  <a:pt x="3528784" y="1907896"/>
                </a:moveTo>
                <a:lnTo>
                  <a:pt x="3506839" y="1907896"/>
                </a:lnTo>
                <a:lnTo>
                  <a:pt x="3506839" y="1929841"/>
                </a:lnTo>
                <a:lnTo>
                  <a:pt x="3484893" y="1929841"/>
                </a:lnTo>
                <a:lnTo>
                  <a:pt x="3484893" y="1951787"/>
                </a:lnTo>
                <a:lnTo>
                  <a:pt x="3506839" y="1951787"/>
                </a:lnTo>
                <a:lnTo>
                  <a:pt x="3506839" y="1973732"/>
                </a:lnTo>
                <a:lnTo>
                  <a:pt x="3528784" y="1973732"/>
                </a:lnTo>
                <a:lnTo>
                  <a:pt x="3528784" y="1951787"/>
                </a:lnTo>
                <a:lnTo>
                  <a:pt x="3550730" y="1951787"/>
                </a:lnTo>
                <a:lnTo>
                  <a:pt x="3550730" y="1929841"/>
                </a:lnTo>
                <a:lnTo>
                  <a:pt x="3528784" y="1929841"/>
                </a:lnTo>
                <a:lnTo>
                  <a:pt x="3528784" y="1907896"/>
                </a:lnTo>
                <a:close/>
                <a:moveTo>
                  <a:pt x="2362924" y="3416313"/>
                </a:moveTo>
                <a:lnTo>
                  <a:pt x="2340979" y="3416313"/>
                </a:lnTo>
                <a:lnTo>
                  <a:pt x="2340979" y="3438601"/>
                </a:lnTo>
                <a:lnTo>
                  <a:pt x="2318690" y="3438601"/>
                </a:lnTo>
                <a:lnTo>
                  <a:pt x="2318690" y="3460547"/>
                </a:lnTo>
                <a:lnTo>
                  <a:pt x="2340979" y="3460547"/>
                </a:lnTo>
                <a:lnTo>
                  <a:pt x="2340979" y="3482835"/>
                </a:lnTo>
                <a:lnTo>
                  <a:pt x="2362924" y="3482835"/>
                </a:lnTo>
                <a:lnTo>
                  <a:pt x="2362924" y="3460547"/>
                </a:lnTo>
                <a:lnTo>
                  <a:pt x="2385212" y="3460547"/>
                </a:lnTo>
                <a:lnTo>
                  <a:pt x="2385212" y="3438601"/>
                </a:lnTo>
                <a:lnTo>
                  <a:pt x="2362924" y="3438601"/>
                </a:lnTo>
                <a:lnTo>
                  <a:pt x="2362924" y="3416313"/>
                </a:lnTo>
                <a:close/>
                <a:moveTo>
                  <a:pt x="2426704" y="3842880"/>
                </a:moveTo>
                <a:lnTo>
                  <a:pt x="2414359" y="3842880"/>
                </a:lnTo>
                <a:lnTo>
                  <a:pt x="2414359" y="3854882"/>
                </a:lnTo>
                <a:lnTo>
                  <a:pt x="2402357" y="3854882"/>
                </a:lnTo>
                <a:lnTo>
                  <a:pt x="2402357" y="3867226"/>
                </a:lnTo>
                <a:lnTo>
                  <a:pt x="2414359" y="3867226"/>
                </a:lnTo>
                <a:lnTo>
                  <a:pt x="2414359" y="3879228"/>
                </a:lnTo>
                <a:lnTo>
                  <a:pt x="2426704" y="3879228"/>
                </a:lnTo>
                <a:lnTo>
                  <a:pt x="2426704" y="3867226"/>
                </a:lnTo>
                <a:lnTo>
                  <a:pt x="2438705" y="3867226"/>
                </a:lnTo>
                <a:lnTo>
                  <a:pt x="2438705" y="3854882"/>
                </a:lnTo>
                <a:lnTo>
                  <a:pt x="2426704" y="3854882"/>
                </a:lnTo>
                <a:lnTo>
                  <a:pt x="2426704" y="3842880"/>
                </a:lnTo>
                <a:close/>
                <a:moveTo>
                  <a:pt x="2289886" y="3841852"/>
                </a:moveTo>
                <a:lnTo>
                  <a:pt x="2276856" y="3841852"/>
                </a:lnTo>
                <a:lnTo>
                  <a:pt x="2276856" y="3854539"/>
                </a:lnTo>
                <a:lnTo>
                  <a:pt x="2264169" y="3854539"/>
                </a:lnTo>
                <a:lnTo>
                  <a:pt x="2264169" y="3867569"/>
                </a:lnTo>
                <a:lnTo>
                  <a:pt x="2276856" y="3867569"/>
                </a:lnTo>
                <a:lnTo>
                  <a:pt x="2276856" y="3880256"/>
                </a:lnTo>
                <a:lnTo>
                  <a:pt x="2289886" y="3880256"/>
                </a:lnTo>
                <a:lnTo>
                  <a:pt x="2289886" y="3867569"/>
                </a:lnTo>
                <a:lnTo>
                  <a:pt x="2302574" y="3867569"/>
                </a:lnTo>
                <a:lnTo>
                  <a:pt x="2302574" y="3854539"/>
                </a:lnTo>
                <a:lnTo>
                  <a:pt x="2289886" y="3854539"/>
                </a:lnTo>
                <a:lnTo>
                  <a:pt x="2289886" y="3841852"/>
                </a:lnTo>
                <a:close/>
                <a:moveTo>
                  <a:pt x="3185884" y="2867673"/>
                </a:moveTo>
                <a:lnTo>
                  <a:pt x="3163939" y="2867673"/>
                </a:lnTo>
                <a:lnTo>
                  <a:pt x="3163939" y="2889961"/>
                </a:lnTo>
                <a:lnTo>
                  <a:pt x="3141650" y="2889961"/>
                </a:lnTo>
                <a:lnTo>
                  <a:pt x="3141650" y="2911907"/>
                </a:lnTo>
                <a:lnTo>
                  <a:pt x="3163939" y="2911907"/>
                </a:lnTo>
                <a:lnTo>
                  <a:pt x="3163939" y="2934195"/>
                </a:lnTo>
                <a:lnTo>
                  <a:pt x="3185884" y="2934195"/>
                </a:lnTo>
                <a:lnTo>
                  <a:pt x="3185884" y="2911907"/>
                </a:lnTo>
                <a:lnTo>
                  <a:pt x="3208172" y="2911907"/>
                </a:lnTo>
                <a:lnTo>
                  <a:pt x="3208172" y="2889961"/>
                </a:lnTo>
                <a:lnTo>
                  <a:pt x="3185884" y="2889961"/>
                </a:lnTo>
                <a:lnTo>
                  <a:pt x="3185884" y="2867673"/>
                </a:lnTo>
                <a:close/>
                <a:moveTo>
                  <a:pt x="2359838" y="3700234"/>
                </a:moveTo>
                <a:lnTo>
                  <a:pt x="2344064" y="3700234"/>
                </a:lnTo>
                <a:lnTo>
                  <a:pt x="2344064" y="3716007"/>
                </a:lnTo>
                <a:lnTo>
                  <a:pt x="2328291" y="3716007"/>
                </a:lnTo>
                <a:lnTo>
                  <a:pt x="2328291" y="3731781"/>
                </a:lnTo>
                <a:lnTo>
                  <a:pt x="2344064" y="3731781"/>
                </a:lnTo>
                <a:lnTo>
                  <a:pt x="2344064" y="3747554"/>
                </a:lnTo>
                <a:lnTo>
                  <a:pt x="2359838" y="3747554"/>
                </a:lnTo>
                <a:lnTo>
                  <a:pt x="2359838" y="3731781"/>
                </a:lnTo>
                <a:lnTo>
                  <a:pt x="2375611" y="3731781"/>
                </a:lnTo>
                <a:lnTo>
                  <a:pt x="2375611" y="3716007"/>
                </a:lnTo>
                <a:lnTo>
                  <a:pt x="2359838" y="3716007"/>
                </a:lnTo>
                <a:lnTo>
                  <a:pt x="2359838" y="3700234"/>
                </a:lnTo>
                <a:close/>
                <a:moveTo>
                  <a:pt x="2292973" y="3557588"/>
                </a:moveTo>
                <a:lnTo>
                  <a:pt x="2273770" y="3557588"/>
                </a:lnTo>
                <a:lnTo>
                  <a:pt x="2273770" y="3577133"/>
                </a:lnTo>
                <a:lnTo>
                  <a:pt x="2254225" y="3577133"/>
                </a:lnTo>
                <a:lnTo>
                  <a:pt x="2254225" y="3596335"/>
                </a:lnTo>
                <a:lnTo>
                  <a:pt x="2273770" y="3596335"/>
                </a:lnTo>
                <a:lnTo>
                  <a:pt x="2273770" y="3615881"/>
                </a:lnTo>
                <a:lnTo>
                  <a:pt x="2292973" y="3615881"/>
                </a:lnTo>
                <a:lnTo>
                  <a:pt x="2292973" y="3596335"/>
                </a:lnTo>
                <a:lnTo>
                  <a:pt x="2312518" y="3596335"/>
                </a:lnTo>
                <a:lnTo>
                  <a:pt x="2312518" y="3577133"/>
                </a:lnTo>
                <a:lnTo>
                  <a:pt x="2292973" y="3577133"/>
                </a:lnTo>
                <a:lnTo>
                  <a:pt x="2292973" y="3557588"/>
                </a:lnTo>
                <a:close/>
                <a:moveTo>
                  <a:pt x="2566607" y="3560331"/>
                </a:moveTo>
                <a:lnTo>
                  <a:pt x="2548776" y="3560331"/>
                </a:lnTo>
                <a:lnTo>
                  <a:pt x="2548776" y="3577819"/>
                </a:lnTo>
                <a:lnTo>
                  <a:pt x="2531288" y="3577819"/>
                </a:lnTo>
                <a:lnTo>
                  <a:pt x="2531288" y="3595649"/>
                </a:lnTo>
                <a:lnTo>
                  <a:pt x="2548776" y="3595649"/>
                </a:lnTo>
                <a:lnTo>
                  <a:pt x="2548776" y="3613137"/>
                </a:lnTo>
                <a:lnTo>
                  <a:pt x="2566607" y="3613137"/>
                </a:lnTo>
                <a:lnTo>
                  <a:pt x="2566607" y="3595649"/>
                </a:lnTo>
                <a:lnTo>
                  <a:pt x="2584094" y="3595649"/>
                </a:lnTo>
                <a:lnTo>
                  <a:pt x="2584094" y="3577819"/>
                </a:lnTo>
                <a:lnTo>
                  <a:pt x="2566607" y="3577819"/>
                </a:lnTo>
                <a:lnTo>
                  <a:pt x="2566607" y="3560331"/>
                </a:lnTo>
                <a:close/>
                <a:moveTo>
                  <a:pt x="2569350" y="3277438"/>
                </a:moveTo>
                <a:lnTo>
                  <a:pt x="2546033" y="3277438"/>
                </a:lnTo>
                <a:lnTo>
                  <a:pt x="2546033" y="3300755"/>
                </a:lnTo>
                <a:lnTo>
                  <a:pt x="2522716" y="3300755"/>
                </a:lnTo>
                <a:lnTo>
                  <a:pt x="2522716" y="3324073"/>
                </a:lnTo>
                <a:lnTo>
                  <a:pt x="2546033" y="3324073"/>
                </a:lnTo>
                <a:lnTo>
                  <a:pt x="2546033" y="3347390"/>
                </a:lnTo>
                <a:lnTo>
                  <a:pt x="2569350" y="3347390"/>
                </a:lnTo>
                <a:lnTo>
                  <a:pt x="2569350" y="3324073"/>
                </a:lnTo>
                <a:lnTo>
                  <a:pt x="2592667" y="3324073"/>
                </a:lnTo>
                <a:lnTo>
                  <a:pt x="2592667" y="3300755"/>
                </a:lnTo>
                <a:lnTo>
                  <a:pt x="2569350" y="3300755"/>
                </a:lnTo>
                <a:lnTo>
                  <a:pt x="2569350" y="3277438"/>
                </a:lnTo>
                <a:close/>
                <a:moveTo>
                  <a:pt x="2496655" y="3701263"/>
                </a:moveTo>
                <a:lnTo>
                  <a:pt x="2481568" y="3701263"/>
                </a:lnTo>
                <a:lnTo>
                  <a:pt x="2481568" y="3716350"/>
                </a:lnTo>
                <a:lnTo>
                  <a:pt x="2466480" y="3716350"/>
                </a:lnTo>
                <a:lnTo>
                  <a:pt x="2466480" y="3731438"/>
                </a:lnTo>
                <a:lnTo>
                  <a:pt x="2481568" y="3731438"/>
                </a:lnTo>
                <a:lnTo>
                  <a:pt x="2481568" y="3746525"/>
                </a:lnTo>
                <a:lnTo>
                  <a:pt x="2496655" y="3746525"/>
                </a:lnTo>
                <a:lnTo>
                  <a:pt x="2496655" y="3731438"/>
                </a:lnTo>
                <a:lnTo>
                  <a:pt x="2511743" y="3731438"/>
                </a:lnTo>
                <a:lnTo>
                  <a:pt x="2511743" y="3716350"/>
                </a:lnTo>
                <a:lnTo>
                  <a:pt x="2496655" y="3716350"/>
                </a:lnTo>
                <a:lnTo>
                  <a:pt x="2496655" y="3701263"/>
                </a:lnTo>
                <a:close/>
                <a:moveTo>
                  <a:pt x="2499741" y="3417684"/>
                </a:moveTo>
                <a:lnTo>
                  <a:pt x="2478481" y="3417684"/>
                </a:lnTo>
                <a:lnTo>
                  <a:pt x="2478481" y="3438944"/>
                </a:lnTo>
                <a:lnTo>
                  <a:pt x="2457221" y="3438944"/>
                </a:lnTo>
                <a:lnTo>
                  <a:pt x="2457221" y="3460204"/>
                </a:lnTo>
                <a:lnTo>
                  <a:pt x="2478481" y="3460204"/>
                </a:lnTo>
                <a:lnTo>
                  <a:pt x="2478481" y="3481464"/>
                </a:lnTo>
                <a:lnTo>
                  <a:pt x="2499741" y="3481464"/>
                </a:lnTo>
                <a:lnTo>
                  <a:pt x="2499741" y="3460204"/>
                </a:lnTo>
                <a:lnTo>
                  <a:pt x="2521001" y="3460204"/>
                </a:lnTo>
                <a:lnTo>
                  <a:pt x="2521001" y="3438944"/>
                </a:lnTo>
                <a:lnTo>
                  <a:pt x="2499741" y="3438944"/>
                </a:lnTo>
                <a:lnTo>
                  <a:pt x="2499741" y="3417684"/>
                </a:lnTo>
                <a:close/>
                <a:moveTo>
                  <a:pt x="1952130" y="3414598"/>
                </a:moveTo>
                <a:lnTo>
                  <a:pt x="1928812" y="3414598"/>
                </a:lnTo>
                <a:lnTo>
                  <a:pt x="1928812" y="3437915"/>
                </a:lnTo>
                <a:lnTo>
                  <a:pt x="1905495" y="3437915"/>
                </a:lnTo>
                <a:lnTo>
                  <a:pt x="1905495" y="3461233"/>
                </a:lnTo>
                <a:lnTo>
                  <a:pt x="1928812" y="3461233"/>
                </a:lnTo>
                <a:lnTo>
                  <a:pt x="1928812" y="3484550"/>
                </a:lnTo>
                <a:lnTo>
                  <a:pt x="1952130" y="3484550"/>
                </a:lnTo>
                <a:lnTo>
                  <a:pt x="1952130" y="3461233"/>
                </a:lnTo>
                <a:lnTo>
                  <a:pt x="1975447" y="3461233"/>
                </a:lnTo>
                <a:lnTo>
                  <a:pt x="1975447" y="3437915"/>
                </a:lnTo>
                <a:lnTo>
                  <a:pt x="1952130" y="3437915"/>
                </a:lnTo>
                <a:lnTo>
                  <a:pt x="1952130" y="3414598"/>
                </a:lnTo>
                <a:close/>
                <a:moveTo>
                  <a:pt x="2019338" y="3556216"/>
                </a:moveTo>
                <a:lnTo>
                  <a:pt x="1998764" y="3556216"/>
                </a:lnTo>
                <a:lnTo>
                  <a:pt x="1998764" y="3576447"/>
                </a:lnTo>
                <a:lnTo>
                  <a:pt x="1978533" y="3576447"/>
                </a:lnTo>
                <a:lnTo>
                  <a:pt x="1978533" y="3597021"/>
                </a:lnTo>
                <a:lnTo>
                  <a:pt x="1998764" y="3597021"/>
                </a:lnTo>
                <a:lnTo>
                  <a:pt x="1998764" y="3617252"/>
                </a:lnTo>
                <a:lnTo>
                  <a:pt x="2019338" y="3617252"/>
                </a:lnTo>
                <a:lnTo>
                  <a:pt x="2019338" y="3597021"/>
                </a:lnTo>
                <a:lnTo>
                  <a:pt x="2039569" y="3597021"/>
                </a:lnTo>
                <a:lnTo>
                  <a:pt x="2039569" y="3576447"/>
                </a:lnTo>
                <a:lnTo>
                  <a:pt x="2019338" y="3576447"/>
                </a:lnTo>
                <a:lnTo>
                  <a:pt x="2019338" y="3556216"/>
                </a:lnTo>
                <a:close/>
                <a:moveTo>
                  <a:pt x="2015909" y="3840823"/>
                </a:moveTo>
                <a:lnTo>
                  <a:pt x="2002193" y="3840823"/>
                </a:lnTo>
                <a:lnTo>
                  <a:pt x="2002193" y="3854196"/>
                </a:lnTo>
                <a:lnTo>
                  <a:pt x="1988820" y="3854196"/>
                </a:lnTo>
                <a:lnTo>
                  <a:pt x="1988820" y="3867912"/>
                </a:lnTo>
                <a:lnTo>
                  <a:pt x="2002193" y="3867912"/>
                </a:lnTo>
                <a:lnTo>
                  <a:pt x="2002193" y="3881285"/>
                </a:lnTo>
                <a:lnTo>
                  <a:pt x="2015909" y="3881285"/>
                </a:lnTo>
                <a:lnTo>
                  <a:pt x="2015909" y="3867912"/>
                </a:lnTo>
                <a:lnTo>
                  <a:pt x="2029282" y="3867912"/>
                </a:lnTo>
                <a:lnTo>
                  <a:pt x="2029282" y="3854196"/>
                </a:lnTo>
                <a:lnTo>
                  <a:pt x="2015909" y="3854196"/>
                </a:lnTo>
                <a:lnTo>
                  <a:pt x="2015909" y="3840823"/>
                </a:lnTo>
                <a:close/>
                <a:moveTo>
                  <a:pt x="2086204" y="3698519"/>
                </a:moveTo>
                <a:lnTo>
                  <a:pt x="2069059" y="3698519"/>
                </a:lnTo>
                <a:lnTo>
                  <a:pt x="2069059" y="3715322"/>
                </a:lnTo>
                <a:lnTo>
                  <a:pt x="2052256" y="3715322"/>
                </a:lnTo>
                <a:lnTo>
                  <a:pt x="2052256" y="3732467"/>
                </a:lnTo>
                <a:lnTo>
                  <a:pt x="2069059" y="3732467"/>
                </a:lnTo>
                <a:lnTo>
                  <a:pt x="2069059" y="3749269"/>
                </a:lnTo>
                <a:lnTo>
                  <a:pt x="2086204" y="3749269"/>
                </a:lnTo>
                <a:lnTo>
                  <a:pt x="2086204" y="3732467"/>
                </a:lnTo>
                <a:lnTo>
                  <a:pt x="2103006" y="3732467"/>
                </a:lnTo>
                <a:lnTo>
                  <a:pt x="2103006" y="3715322"/>
                </a:lnTo>
                <a:lnTo>
                  <a:pt x="2086204" y="3715322"/>
                </a:lnTo>
                <a:lnTo>
                  <a:pt x="2086204" y="3698519"/>
                </a:lnTo>
                <a:close/>
                <a:moveTo>
                  <a:pt x="2633129" y="3703320"/>
                </a:moveTo>
                <a:lnTo>
                  <a:pt x="2619413" y="3703320"/>
                </a:lnTo>
                <a:lnTo>
                  <a:pt x="2619413" y="3717036"/>
                </a:lnTo>
                <a:lnTo>
                  <a:pt x="2605697" y="3717036"/>
                </a:lnTo>
                <a:lnTo>
                  <a:pt x="2605697" y="3730752"/>
                </a:lnTo>
                <a:lnTo>
                  <a:pt x="2619413" y="3730752"/>
                </a:lnTo>
                <a:lnTo>
                  <a:pt x="2619413" y="3744468"/>
                </a:lnTo>
                <a:lnTo>
                  <a:pt x="2633129" y="3744468"/>
                </a:lnTo>
                <a:lnTo>
                  <a:pt x="2633129" y="3730752"/>
                </a:lnTo>
                <a:lnTo>
                  <a:pt x="2646845" y="3730752"/>
                </a:lnTo>
                <a:lnTo>
                  <a:pt x="2646845" y="3717036"/>
                </a:lnTo>
                <a:lnTo>
                  <a:pt x="2633129" y="3717036"/>
                </a:lnTo>
                <a:lnTo>
                  <a:pt x="2633129" y="3703320"/>
                </a:lnTo>
                <a:close/>
                <a:moveTo>
                  <a:pt x="2156155" y="3556559"/>
                </a:moveTo>
                <a:lnTo>
                  <a:pt x="2136267" y="3556559"/>
                </a:lnTo>
                <a:lnTo>
                  <a:pt x="2136267" y="3576790"/>
                </a:lnTo>
                <a:lnTo>
                  <a:pt x="2116036" y="3576790"/>
                </a:lnTo>
                <a:lnTo>
                  <a:pt x="2116036" y="3596678"/>
                </a:lnTo>
                <a:lnTo>
                  <a:pt x="2136267" y="3596678"/>
                </a:lnTo>
                <a:lnTo>
                  <a:pt x="2136267" y="3616909"/>
                </a:lnTo>
                <a:lnTo>
                  <a:pt x="2156155" y="3616909"/>
                </a:lnTo>
                <a:lnTo>
                  <a:pt x="2156155" y="3596678"/>
                </a:lnTo>
                <a:lnTo>
                  <a:pt x="2176387" y="3596678"/>
                </a:lnTo>
                <a:lnTo>
                  <a:pt x="2176387" y="3576790"/>
                </a:lnTo>
                <a:lnTo>
                  <a:pt x="2156155" y="3576790"/>
                </a:lnTo>
                <a:lnTo>
                  <a:pt x="2156155" y="3556559"/>
                </a:lnTo>
                <a:close/>
                <a:moveTo>
                  <a:pt x="2223021" y="3699205"/>
                </a:moveTo>
                <a:lnTo>
                  <a:pt x="2206562" y="3699205"/>
                </a:lnTo>
                <a:lnTo>
                  <a:pt x="2206562" y="3715664"/>
                </a:lnTo>
                <a:lnTo>
                  <a:pt x="2190103" y="3715664"/>
                </a:lnTo>
                <a:lnTo>
                  <a:pt x="2190103" y="3732124"/>
                </a:lnTo>
                <a:lnTo>
                  <a:pt x="2206562" y="3732124"/>
                </a:lnTo>
                <a:lnTo>
                  <a:pt x="2206562" y="3748583"/>
                </a:lnTo>
                <a:lnTo>
                  <a:pt x="2223021" y="3748583"/>
                </a:lnTo>
                <a:lnTo>
                  <a:pt x="2223021" y="3732124"/>
                </a:lnTo>
                <a:lnTo>
                  <a:pt x="2239480" y="3732124"/>
                </a:lnTo>
                <a:lnTo>
                  <a:pt x="2239480" y="3715664"/>
                </a:lnTo>
                <a:lnTo>
                  <a:pt x="2223021" y="3715664"/>
                </a:lnTo>
                <a:lnTo>
                  <a:pt x="2223021" y="3699205"/>
                </a:lnTo>
                <a:close/>
                <a:moveTo>
                  <a:pt x="2089290" y="3414598"/>
                </a:moveTo>
                <a:lnTo>
                  <a:pt x="2065972" y="3414598"/>
                </a:lnTo>
                <a:lnTo>
                  <a:pt x="2065972" y="3437915"/>
                </a:lnTo>
                <a:lnTo>
                  <a:pt x="2042656" y="3437915"/>
                </a:lnTo>
                <a:lnTo>
                  <a:pt x="2042656" y="3461233"/>
                </a:lnTo>
                <a:lnTo>
                  <a:pt x="2065972" y="3461233"/>
                </a:lnTo>
                <a:lnTo>
                  <a:pt x="2065972" y="3484550"/>
                </a:lnTo>
                <a:lnTo>
                  <a:pt x="2089290" y="3484550"/>
                </a:lnTo>
                <a:lnTo>
                  <a:pt x="2089290" y="3461233"/>
                </a:lnTo>
                <a:lnTo>
                  <a:pt x="2112607" y="3461233"/>
                </a:lnTo>
                <a:lnTo>
                  <a:pt x="2112607" y="3437915"/>
                </a:lnTo>
                <a:lnTo>
                  <a:pt x="2089290" y="3437915"/>
                </a:lnTo>
                <a:lnTo>
                  <a:pt x="2089290" y="3414598"/>
                </a:lnTo>
                <a:close/>
                <a:moveTo>
                  <a:pt x="2226107" y="3415627"/>
                </a:moveTo>
                <a:lnTo>
                  <a:pt x="2203475" y="3415627"/>
                </a:lnTo>
                <a:lnTo>
                  <a:pt x="2203475" y="3438258"/>
                </a:lnTo>
                <a:lnTo>
                  <a:pt x="2180844" y="3438258"/>
                </a:lnTo>
                <a:lnTo>
                  <a:pt x="2180844" y="3460890"/>
                </a:lnTo>
                <a:lnTo>
                  <a:pt x="2203475" y="3460890"/>
                </a:lnTo>
                <a:lnTo>
                  <a:pt x="2203475" y="3483521"/>
                </a:lnTo>
                <a:lnTo>
                  <a:pt x="2226107" y="3483521"/>
                </a:lnTo>
                <a:lnTo>
                  <a:pt x="2226107" y="3460890"/>
                </a:lnTo>
                <a:lnTo>
                  <a:pt x="2248738" y="3460890"/>
                </a:lnTo>
                <a:lnTo>
                  <a:pt x="2248738" y="3438258"/>
                </a:lnTo>
                <a:lnTo>
                  <a:pt x="2226107" y="3438258"/>
                </a:lnTo>
                <a:lnTo>
                  <a:pt x="2226107" y="3415627"/>
                </a:lnTo>
                <a:close/>
                <a:moveTo>
                  <a:pt x="2153069" y="3840823"/>
                </a:moveTo>
                <a:lnTo>
                  <a:pt x="2139353" y="3840823"/>
                </a:lnTo>
                <a:lnTo>
                  <a:pt x="2139353" y="3854196"/>
                </a:lnTo>
                <a:lnTo>
                  <a:pt x="2125980" y="3854196"/>
                </a:lnTo>
                <a:lnTo>
                  <a:pt x="2125980" y="3867912"/>
                </a:lnTo>
                <a:lnTo>
                  <a:pt x="2139353" y="3867912"/>
                </a:lnTo>
                <a:lnTo>
                  <a:pt x="2139353" y="3881285"/>
                </a:lnTo>
                <a:lnTo>
                  <a:pt x="2153069" y="3881285"/>
                </a:lnTo>
                <a:lnTo>
                  <a:pt x="2153069" y="3867912"/>
                </a:lnTo>
                <a:lnTo>
                  <a:pt x="2166442" y="3867912"/>
                </a:lnTo>
                <a:lnTo>
                  <a:pt x="2166442" y="3854196"/>
                </a:lnTo>
                <a:lnTo>
                  <a:pt x="2153069" y="3854196"/>
                </a:lnTo>
                <a:lnTo>
                  <a:pt x="2153069" y="3840823"/>
                </a:lnTo>
                <a:close/>
                <a:moveTo>
                  <a:pt x="2429789" y="3558616"/>
                </a:moveTo>
                <a:lnTo>
                  <a:pt x="2411273" y="3558616"/>
                </a:lnTo>
                <a:lnTo>
                  <a:pt x="2411273" y="3577476"/>
                </a:lnTo>
                <a:lnTo>
                  <a:pt x="2392414" y="3577476"/>
                </a:lnTo>
                <a:lnTo>
                  <a:pt x="2392414" y="3595992"/>
                </a:lnTo>
                <a:lnTo>
                  <a:pt x="2411273" y="3595992"/>
                </a:lnTo>
                <a:lnTo>
                  <a:pt x="2411273" y="3614852"/>
                </a:lnTo>
                <a:lnTo>
                  <a:pt x="2429789" y="3614852"/>
                </a:lnTo>
                <a:lnTo>
                  <a:pt x="2429789" y="3595992"/>
                </a:lnTo>
                <a:lnTo>
                  <a:pt x="2448649" y="3595992"/>
                </a:lnTo>
                <a:lnTo>
                  <a:pt x="2448649" y="3577476"/>
                </a:lnTo>
                <a:lnTo>
                  <a:pt x="2429789" y="3577476"/>
                </a:lnTo>
                <a:lnTo>
                  <a:pt x="2429789" y="3558616"/>
                </a:lnTo>
                <a:close/>
                <a:moveTo>
                  <a:pt x="3048038" y="3144736"/>
                </a:moveTo>
                <a:lnTo>
                  <a:pt x="3027464" y="3144736"/>
                </a:lnTo>
                <a:lnTo>
                  <a:pt x="3027464" y="3164967"/>
                </a:lnTo>
                <a:lnTo>
                  <a:pt x="3007233" y="3164967"/>
                </a:lnTo>
                <a:lnTo>
                  <a:pt x="3007233" y="3185541"/>
                </a:lnTo>
                <a:lnTo>
                  <a:pt x="3027464" y="3185541"/>
                </a:lnTo>
                <a:lnTo>
                  <a:pt x="3027464" y="3205772"/>
                </a:lnTo>
                <a:lnTo>
                  <a:pt x="3048038" y="3205772"/>
                </a:lnTo>
                <a:lnTo>
                  <a:pt x="3048038" y="3185541"/>
                </a:lnTo>
                <a:lnTo>
                  <a:pt x="3068269" y="3185541"/>
                </a:lnTo>
                <a:lnTo>
                  <a:pt x="3068269" y="3164967"/>
                </a:lnTo>
                <a:lnTo>
                  <a:pt x="3048038" y="3164967"/>
                </a:lnTo>
                <a:lnTo>
                  <a:pt x="3048038" y="3144736"/>
                </a:lnTo>
                <a:close/>
                <a:moveTo>
                  <a:pt x="2980830" y="3003118"/>
                </a:moveTo>
                <a:lnTo>
                  <a:pt x="2957513" y="3003118"/>
                </a:lnTo>
                <a:lnTo>
                  <a:pt x="2957513" y="3026435"/>
                </a:lnTo>
                <a:lnTo>
                  <a:pt x="2934196" y="3026435"/>
                </a:lnTo>
                <a:lnTo>
                  <a:pt x="2934196" y="3049753"/>
                </a:lnTo>
                <a:lnTo>
                  <a:pt x="2957513" y="3049753"/>
                </a:lnTo>
                <a:lnTo>
                  <a:pt x="2957513" y="3073070"/>
                </a:lnTo>
                <a:lnTo>
                  <a:pt x="2980830" y="3073070"/>
                </a:lnTo>
                <a:lnTo>
                  <a:pt x="2980830" y="3049753"/>
                </a:lnTo>
                <a:lnTo>
                  <a:pt x="3004147" y="3049753"/>
                </a:lnTo>
                <a:lnTo>
                  <a:pt x="3004147" y="3026435"/>
                </a:lnTo>
                <a:lnTo>
                  <a:pt x="2980830" y="3026435"/>
                </a:lnTo>
                <a:lnTo>
                  <a:pt x="2980830" y="3003118"/>
                </a:lnTo>
                <a:close/>
                <a:moveTo>
                  <a:pt x="3045295" y="3426943"/>
                </a:moveTo>
                <a:lnTo>
                  <a:pt x="3030208" y="3426943"/>
                </a:lnTo>
                <a:lnTo>
                  <a:pt x="3030208" y="3442030"/>
                </a:lnTo>
                <a:lnTo>
                  <a:pt x="3015120" y="3442030"/>
                </a:lnTo>
                <a:lnTo>
                  <a:pt x="3015120" y="3457118"/>
                </a:lnTo>
                <a:lnTo>
                  <a:pt x="3030208" y="3457118"/>
                </a:lnTo>
                <a:lnTo>
                  <a:pt x="3030208" y="3472205"/>
                </a:lnTo>
                <a:lnTo>
                  <a:pt x="3045295" y="3472205"/>
                </a:lnTo>
                <a:lnTo>
                  <a:pt x="3045295" y="3457118"/>
                </a:lnTo>
                <a:lnTo>
                  <a:pt x="3060383" y="3457118"/>
                </a:lnTo>
                <a:lnTo>
                  <a:pt x="3060383" y="3442030"/>
                </a:lnTo>
                <a:lnTo>
                  <a:pt x="3045295" y="3442030"/>
                </a:lnTo>
                <a:lnTo>
                  <a:pt x="3045295" y="3426943"/>
                </a:lnTo>
                <a:close/>
                <a:moveTo>
                  <a:pt x="2636215" y="3419399"/>
                </a:moveTo>
                <a:lnTo>
                  <a:pt x="2616327" y="3419399"/>
                </a:lnTo>
                <a:lnTo>
                  <a:pt x="2616327" y="3439630"/>
                </a:lnTo>
                <a:lnTo>
                  <a:pt x="2596096" y="3439630"/>
                </a:lnTo>
                <a:lnTo>
                  <a:pt x="2596096" y="3459518"/>
                </a:lnTo>
                <a:lnTo>
                  <a:pt x="2616327" y="3459518"/>
                </a:lnTo>
                <a:lnTo>
                  <a:pt x="2616327" y="3479749"/>
                </a:lnTo>
                <a:lnTo>
                  <a:pt x="2636215" y="3479749"/>
                </a:lnTo>
                <a:lnTo>
                  <a:pt x="2636215" y="3459518"/>
                </a:lnTo>
                <a:lnTo>
                  <a:pt x="2656447" y="3459518"/>
                </a:lnTo>
                <a:lnTo>
                  <a:pt x="2656447" y="3439630"/>
                </a:lnTo>
                <a:lnTo>
                  <a:pt x="2636215" y="3439630"/>
                </a:lnTo>
                <a:lnTo>
                  <a:pt x="2636215" y="3419399"/>
                </a:lnTo>
                <a:close/>
                <a:moveTo>
                  <a:pt x="3114561" y="3287382"/>
                </a:moveTo>
                <a:lnTo>
                  <a:pt x="3098102" y="3287382"/>
                </a:lnTo>
                <a:lnTo>
                  <a:pt x="3098102" y="3304184"/>
                </a:lnTo>
                <a:lnTo>
                  <a:pt x="3081299" y="3304184"/>
                </a:lnTo>
                <a:lnTo>
                  <a:pt x="3081299" y="3320644"/>
                </a:lnTo>
                <a:lnTo>
                  <a:pt x="3098102" y="3320644"/>
                </a:lnTo>
                <a:lnTo>
                  <a:pt x="3098102" y="3337446"/>
                </a:lnTo>
                <a:lnTo>
                  <a:pt x="3114561" y="3337446"/>
                </a:lnTo>
                <a:lnTo>
                  <a:pt x="3114561" y="3320644"/>
                </a:lnTo>
                <a:lnTo>
                  <a:pt x="3131363" y="3320644"/>
                </a:lnTo>
                <a:lnTo>
                  <a:pt x="3131363" y="3304184"/>
                </a:lnTo>
                <a:lnTo>
                  <a:pt x="3114561" y="3304184"/>
                </a:lnTo>
                <a:lnTo>
                  <a:pt x="3114561" y="3287382"/>
                </a:lnTo>
                <a:close/>
                <a:moveTo>
                  <a:pt x="2975686" y="3567189"/>
                </a:moveTo>
                <a:lnTo>
                  <a:pt x="2962656" y="3567189"/>
                </a:lnTo>
                <a:lnTo>
                  <a:pt x="2962656" y="3580219"/>
                </a:lnTo>
                <a:lnTo>
                  <a:pt x="2949626" y="3580219"/>
                </a:lnTo>
                <a:lnTo>
                  <a:pt x="2949626" y="3593249"/>
                </a:lnTo>
                <a:lnTo>
                  <a:pt x="2962656" y="3593249"/>
                </a:lnTo>
                <a:lnTo>
                  <a:pt x="2962656" y="3606279"/>
                </a:lnTo>
                <a:lnTo>
                  <a:pt x="2975686" y="3606279"/>
                </a:lnTo>
                <a:lnTo>
                  <a:pt x="2975686" y="3593249"/>
                </a:lnTo>
                <a:lnTo>
                  <a:pt x="2988716" y="3593249"/>
                </a:lnTo>
                <a:lnTo>
                  <a:pt x="2988716" y="3580219"/>
                </a:lnTo>
                <a:lnTo>
                  <a:pt x="2975686" y="3580219"/>
                </a:lnTo>
                <a:lnTo>
                  <a:pt x="2975686" y="3567189"/>
                </a:lnTo>
                <a:close/>
                <a:moveTo>
                  <a:pt x="3183827" y="3148508"/>
                </a:moveTo>
                <a:lnTo>
                  <a:pt x="3165996" y="3148508"/>
                </a:lnTo>
                <a:lnTo>
                  <a:pt x="3165996" y="3166339"/>
                </a:lnTo>
                <a:lnTo>
                  <a:pt x="3148165" y="3166339"/>
                </a:lnTo>
                <a:lnTo>
                  <a:pt x="3148165" y="3184169"/>
                </a:lnTo>
                <a:lnTo>
                  <a:pt x="3165996" y="3184169"/>
                </a:lnTo>
                <a:lnTo>
                  <a:pt x="3165996" y="3202000"/>
                </a:lnTo>
                <a:lnTo>
                  <a:pt x="3183827" y="3202000"/>
                </a:lnTo>
                <a:lnTo>
                  <a:pt x="3183827" y="3184169"/>
                </a:lnTo>
                <a:lnTo>
                  <a:pt x="3201658" y="3184169"/>
                </a:lnTo>
                <a:lnTo>
                  <a:pt x="3201658" y="3166339"/>
                </a:lnTo>
                <a:lnTo>
                  <a:pt x="3183827" y="3166339"/>
                </a:lnTo>
                <a:lnTo>
                  <a:pt x="3183827" y="3148508"/>
                </a:lnTo>
                <a:close/>
                <a:moveTo>
                  <a:pt x="3181426" y="3430029"/>
                </a:moveTo>
                <a:lnTo>
                  <a:pt x="3168396" y="3430029"/>
                </a:lnTo>
                <a:lnTo>
                  <a:pt x="3168396" y="3443059"/>
                </a:lnTo>
                <a:lnTo>
                  <a:pt x="3155366" y="3443059"/>
                </a:lnTo>
                <a:lnTo>
                  <a:pt x="3155366" y="3456089"/>
                </a:lnTo>
                <a:lnTo>
                  <a:pt x="3168396" y="3456089"/>
                </a:lnTo>
                <a:lnTo>
                  <a:pt x="3168396" y="3469119"/>
                </a:lnTo>
                <a:lnTo>
                  <a:pt x="3181426" y="3469119"/>
                </a:lnTo>
                <a:lnTo>
                  <a:pt x="3181426" y="3456089"/>
                </a:lnTo>
                <a:lnTo>
                  <a:pt x="3194456" y="3456089"/>
                </a:lnTo>
                <a:lnTo>
                  <a:pt x="3194456" y="3443059"/>
                </a:lnTo>
                <a:lnTo>
                  <a:pt x="3181426" y="3443059"/>
                </a:lnTo>
                <a:lnTo>
                  <a:pt x="3181426" y="3430029"/>
                </a:lnTo>
                <a:close/>
                <a:moveTo>
                  <a:pt x="3116961" y="3006204"/>
                </a:moveTo>
                <a:lnTo>
                  <a:pt x="3095701" y="3006204"/>
                </a:lnTo>
                <a:lnTo>
                  <a:pt x="3095701" y="3027464"/>
                </a:lnTo>
                <a:lnTo>
                  <a:pt x="3074441" y="3027464"/>
                </a:lnTo>
                <a:lnTo>
                  <a:pt x="3074441" y="3048724"/>
                </a:lnTo>
                <a:lnTo>
                  <a:pt x="3095701" y="3048724"/>
                </a:lnTo>
                <a:lnTo>
                  <a:pt x="3095701" y="3069984"/>
                </a:lnTo>
                <a:lnTo>
                  <a:pt x="3116961" y="3069984"/>
                </a:lnTo>
                <a:lnTo>
                  <a:pt x="3116961" y="3048724"/>
                </a:lnTo>
                <a:lnTo>
                  <a:pt x="3138221" y="3048724"/>
                </a:lnTo>
                <a:lnTo>
                  <a:pt x="3138221" y="3027464"/>
                </a:lnTo>
                <a:lnTo>
                  <a:pt x="3116961" y="3027464"/>
                </a:lnTo>
                <a:lnTo>
                  <a:pt x="3116961" y="3006204"/>
                </a:lnTo>
                <a:close/>
                <a:moveTo>
                  <a:pt x="2978429" y="3284296"/>
                </a:moveTo>
                <a:lnTo>
                  <a:pt x="2959913" y="3284296"/>
                </a:lnTo>
                <a:lnTo>
                  <a:pt x="2959913" y="3303156"/>
                </a:lnTo>
                <a:lnTo>
                  <a:pt x="2941054" y="3303156"/>
                </a:lnTo>
                <a:lnTo>
                  <a:pt x="2941054" y="3321672"/>
                </a:lnTo>
                <a:lnTo>
                  <a:pt x="2959913" y="3321672"/>
                </a:lnTo>
                <a:lnTo>
                  <a:pt x="2959913" y="3340532"/>
                </a:lnTo>
                <a:lnTo>
                  <a:pt x="2978429" y="3340532"/>
                </a:lnTo>
                <a:lnTo>
                  <a:pt x="2978429" y="3321672"/>
                </a:lnTo>
                <a:lnTo>
                  <a:pt x="2997289" y="3321672"/>
                </a:lnTo>
                <a:lnTo>
                  <a:pt x="2997289" y="3303156"/>
                </a:lnTo>
                <a:lnTo>
                  <a:pt x="2978429" y="3303156"/>
                </a:lnTo>
                <a:lnTo>
                  <a:pt x="2978429" y="3284296"/>
                </a:lnTo>
                <a:close/>
                <a:moveTo>
                  <a:pt x="2772689" y="3421799"/>
                </a:moveTo>
                <a:lnTo>
                  <a:pt x="2754173" y="3421799"/>
                </a:lnTo>
                <a:lnTo>
                  <a:pt x="2754173" y="3440316"/>
                </a:lnTo>
                <a:lnTo>
                  <a:pt x="2735656" y="3440316"/>
                </a:lnTo>
                <a:lnTo>
                  <a:pt x="2735656" y="3458832"/>
                </a:lnTo>
                <a:lnTo>
                  <a:pt x="2754173" y="3458832"/>
                </a:lnTo>
                <a:lnTo>
                  <a:pt x="2754173" y="3477349"/>
                </a:lnTo>
                <a:lnTo>
                  <a:pt x="2772689" y="3477349"/>
                </a:lnTo>
                <a:lnTo>
                  <a:pt x="2772689" y="3458832"/>
                </a:lnTo>
                <a:lnTo>
                  <a:pt x="2791206" y="3458832"/>
                </a:lnTo>
                <a:lnTo>
                  <a:pt x="2791206" y="3440316"/>
                </a:lnTo>
                <a:lnTo>
                  <a:pt x="2772689" y="3440316"/>
                </a:lnTo>
                <a:lnTo>
                  <a:pt x="2772689" y="3421799"/>
                </a:lnTo>
                <a:close/>
                <a:moveTo>
                  <a:pt x="2705824" y="3279153"/>
                </a:moveTo>
                <a:lnTo>
                  <a:pt x="2683879" y="3279153"/>
                </a:lnTo>
                <a:lnTo>
                  <a:pt x="2683879" y="3301441"/>
                </a:lnTo>
                <a:lnTo>
                  <a:pt x="2661590" y="3301441"/>
                </a:lnTo>
                <a:lnTo>
                  <a:pt x="2661590" y="3323387"/>
                </a:lnTo>
                <a:lnTo>
                  <a:pt x="2683879" y="3323387"/>
                </a:lnTo>
                <a:lnTo>
                  <a:pt x="2683879" y="3345675"/>
                </a:lnTo>
                <a:lnTo>
                  <a:pt x="2705824" y="3345675"/>
                </a:lnTo>
                <a:lnTo>
                  <a:pt x="2705824" y="3323387"/>
                </a:lnTo>
                <a:lnTo>
                  <a:pt x="2728112" y="3323387"/>
                </a:lnTo>
                <a:lnTo>
                  <a:pt x="2728112" y="3301441"/>
                </a:lnTo>
                <a:lnTo>
                  <a:pt x="2705824" y="3301441"/>
                </a:lnTo>
                <a:lnTo>
                  <a:pt x="2705824" y="3279153"/>
                </a:lnTo>
                <a:close/>
                <a:moveTo>
                  <a:pt x="2769604" y="3705035"/>
                </a:moveTo>
                <a:lnTo>
                  <a:pt x="2757259" y="3705035"/>
                </a:lnTo>
                <a:lnTo>
                  <a:pt x="2757259" y="3717722"/>
                </a:lnTo>
                <a:lnTo>
                  <a:pt x="2744572" y="3717722"/>
                </a:lnTo>
                <a:lnTo>
                  <a:pt x="2744572" y="3730066"/>
                </a:lnTo>
                <a:lnTo>
                  <a:pt x="2757259" y="3730066"/>
                </a:lnTo>
                <a:lnTo>
                  <a:pt x="2757259" y="3742754"/>
                </a:lnTo>
                <a:lnTo>
                  <a:pt x="2769604" y="3742754"/>
                </a:lnTo>
                <a:lnTo>
                  <a:pt x="2769604" y="3730066"/>
                </a:lnTo>
                <a:lnTo>
                  <a:pt x="2782291" y="3730066"/>
                </a:lnTo>
                <a:lnTo>
                  <a:pt x="2782291" y="3717722"/>
                </a:lnTo>
                <a:lnTo>
                  <a:pt x="2769604" y="3717722"/>
                </a:lnTo>
                <a:lnTo>
                  <a:pt x="2769604" y="3705035"/>
                </a:lnTo>
                <a:close/>
                <a:moveTo>
                  <a:pt x="2911564" y="3141993"/>
                </a:moveTo>
                <a:lnTo>
                  <a:pt x="2889619" y="3141993"/>
                </a:lnTo>
                <a:lnTo>
                  <a:pt x="2889619" y="3164281"/>
                </a:lnTo>
                <a:lnTo>
                  <a:pt x="2867330" y="3164281"/>
                </a:lnTo>
                <a:lnTo>
                  <a:pt x="2867330" y="3186227"/>
                </a:lnTo>
                <a:lnTo>
                  <a:pt x="2889619" y="3186227"/>
                </a:lnTo>
                <a:lnTo>
                  <a:pt x="2889619" y="3208515"/>
                </a:lnTo>
                <a:lnTo>
                  <a:pt x="2911564" y="3208515"/>
                </a:lnTo>
                <a:lnTo>
                  <a:pt x="2911564" y="3186227"/>
                </a:lnTo>
                <a:lnTo>
                  <a:pt x="2933852" y="3186227"/>
                </a:lnTo>
                <a:lnTo>
                  <a:pt x="2933852" y="3164281"/>
                </a:lnTo>
                <a:lnTo>
                  <a:pt x="2911564" y="3164281"/>
                </a:lnTo>
                <a:lnTo>
                  <a:pt x="2911564" y="3141993"/>
                </a:lnTo>
                <a:close/>
                <a:moveTo>
                  <a:pt x="2703081" y="3562045"/>
                </a:moveTo>
                <a:lnTo>
                  <a:pt x="2686622" y="3562045"/>
                </a:lnTo>
                <a:lnTo>
                  <a:pt x="2686622" y="3578504"/>
                </a:lnTo>
                <a:lnTo>
                  <a:pt x="2670163" y="3578504"/>
                </a:lnTo>
                <a:lnTo>
                  <a:pt x="2670163" y="3594964"/>
                </a:lnTo>
                <a:lnTo>
                  <a:pt x="2686622" y="3594964"/>
                </a:lnTo>
                <a:lnTo>
                  <a:pt x="2686622" y="3611423"/>
                </a:lnTo>
                <a:lnTo>
                  <a:pt x="2703081" y="3611423"/>
                </a:lnTo>
                <a:lnTo>
                  <a:pt x="2703081" y="3594964"/>
                </a:lnTo>
                <a:lnTo>
                  <a:pt x="2719540" y="3594964"/>
                </a:lnTo>
                <a:lnTo>
                  <a:pt x="2719540" y="3578504"/>
                </a:lnTo>
                <a:lnTo>
                  <a:pt x="2703081" y="3578504"/>
                </a:lnTo>
                <a:lnTo>
                  <a:pt x="2703081" y="3562045"/>
                </a:lnTo>
                <a:close/>
                <a:moveTo>
                  <a:pt x="2909164" y="3424199"/>
                </a:moveTo>
                <a:lnTo>
                  <a:pt x="2892019" y="3424199"/>
                </a:lnTo>
                <a:lnTo>
                  <a:pt x="2892019" y="3441002"/>
                </a:lnTo>
                <a:lnTo>
                  <a:pt x="2875217" y="3441002"/>
                </a:lnTo>
                <a:lnTo>
                  <a:pt x="2875217" y="3458147"/>
                </a:lnTo>
                <a:lnTo>
                  <a:pt x="2892019" y="3458147"/>
                </a:lnTo>
                <a:lnTo>
                  <a:pt x="2892019" y="3474949"/>
                </a:lnTo>
                <a:lnTo>
                  <a:pt x="2909164" y="3474949"/>
                </a:lnTo>
                <a:lnTo>
                  <a:pt x="2909164" y="3458147"/>
                </a:lnTo>
                <a:lnTo>
                  <a:pt x="2925966" y="3458147"/>
                </a:lnTo>
                <a:lnTo>
                  <a:pt x="2925966" y="3441002"/>
                </a:lnTo>
                <a:lnTo>
                  <a:pt x="2909164" y="3441002"/>
                </a:lnTo>
                <a:lnTo>
                  <a:pt x="2909164" y="3424199"/>
                </a:lnTo>
                <a:close/>
                <a:moveTo>
                  <a:pt x="2842298" y="3281553"/>
                </a:moveTo>
                <a:lnTo>
                  <a:pt x="2821724" y="3281553"/>
                </a:lnTo>
                <a:lnTo>
                  <a:pt x="2821724" y="3302127"/>
                </a:lnTo>
                <a:lnTo>
                  <a:pt x="2801150" y="3302127"/>
                </a:lnTo>
                <a:lnTo>
                  <a:pt x="2801150" y="3322701"/>
                </a:lnTo>
                <a:lnTo>
                  <a:pt x="2821724" y="3322701"/>
                </a:lnTo>
                <a:lnTo>
                  <a:pt x="2821724" y="3343275"/>
                </a:lnTo>
                <a:lnTo>
                  <a:pt x="2842298" y="3343275"/>
                </a:lnTo>
                <a:lnTo>
                  <a:pt x="2842298" y="3322701"/>
                </a:lnTo>
                <a:lnTo>
                  <a:pt x="2862872" y="3322701"/>
                </a:lnTo>
                <a:lnTo>
                  <a:pt x="2862872" y="3302127"/>
                </a:lnTo>
                <a:lnTo>
                  <a:pt x="2842298" y="3302127"/>
                </a:lnTo>
                <a:lnTo>
                  <a:pt x="2842298" y="3281553"/>
                </a:lnTo>
                <a:close/>
                <a:moveTo>
                  <a:pt x="2839555" y="3564446"/>
                </a:moveTo>
                <a:lnTo>
                  <a:pt x="2824468" y="3564446"/>
                </a:lnTo>
                <a:lnTo>
                  <a:pt x="2824468" y="3579190"/>
                </a:lnTo>
                <a:lnTo>
                  <a:pt x="2809723" y="3579190"/>
                </a:lnTo>
                <a:lnTo>
                  <a:pt x="2809723" y="3594278"/>
                </a:lnTo>
                <a:lnTo>
                  <a:pt x="2824468" y="3594278"/>
                </a:lnTo>
                <a:lnTo>
                  <a:pt x="2824468" y="3609023"/>
                </a:lnTo>
                <a:lnTo>
                  <a:pt x="2839555" y="3609023"/>
                </a:lnTo>
                <a:lnTo>
                  <a:pt x="2839555" y="3594278"/>
                </a:lnTo>
                <a:lnTo>
                  <a:pt x="2854300" y="3594278"/>
                </a:lnTo>
                <a:lnTo>
                  <a:pt x="2854300" y="3579190"/>
                </a:lnTo>
                <a:lnTo>
                  <a:pt x="2839555" y="3579190"/>
                </a:lnTo>
                <a:lnTo>
                  <a:pt x="2839555" y="3564446"/>
                </a:lnTo>
                <a:close/>
                <a:moveTo>
                  <a:pt x="2775433" y="3139592"/>
                </a:moveTo>
                <a:lnTo>
                  <a:pt x="2751430" y="3139592"/>
                </a:lnTo>
                <a:lnTo>
                  <a:pt x="2751430" y="3163253"/>
                </a:lnTo>
                <a:lnTo>
                  <a:pt x="2727770" y="3163253"/>
                </a:lnTo>
                <a:lnTo>
                  <a:pt x="2727770" y="3187256"/>
                </a:lnTo>
                <a:lnTo>
                  <a:pt x="2751430" y="3187256"/>
                </a:lnTo>
                <a:lnTo>
                  <a:pt x="2751430" y="3210916"/>
                </a:lnTo>
                <a:lnTo>
                  <a:pt x="2775433" y="3210916"/>
                </a:lnTo>
                <a:lnTo>
                  <a:pt x="2775433" y="3187256"/>
                </a:lnTo>
                <a:lnTo>
                  <a:pt x="2799093" y="3187256"/>
                </a:lnTo>
                <a:lnTo>
                  <a:pt x="2799093" y="3163253"/>
                </a:lnTo>
                <a:lnTo>
                  <a:pt x="2775433" y="3163253"/>
                </a:lnTo>
                <a:lnTo>
                  <a:pt x="2775433" y="3139592"/>
                </a:lnTo>
                <a:close/>
                <a:moveTo>
                  <a:pt x="1038644" y="600075"/>
                </a:moveTo>
                <a:lnTo>
                  <a:pt x="1059218" y="600075"/>
                </a:lnTo>
                <a:lnTo>
                  <a:pt x="1059218" y="579501"/>
                </a:lnTo>
                <a:lnTo>
                  <a:pt x="1079792" y="579501"/>
                </a:lnTo>
                <a:lnTo>
                  <a:pt x="1079792" y="558927"/>
                </a:lnTo>
                <a:lnTo>
                  <a:pt x="1059218" y="558927"/>
                </a:lnTo>
                <a:lnTo>
                  <a:pt x="1059218" y="538353"/>
                </a:lnTo>
                <a:lnTo>
                  <a:pt x="1038644" y="538353"/>
                </a:lnTo>
                <a:lnTo>
                  <a:pt x="1038644" y="558927"/>
                </a:lnTo>
                <a:lnTo>
                  <a:pt x="1018070" y="558927"/>
                </a:lnTo>
                <a:lnTo>
                  <a:pt x="1018070" y="579501"/>
                </a:lnTo>
                <a:lnTo>
                  <a:pt x="1038644" y="579501"/>
                </a:lnTo>
                <a:lnTo>
                  <a:pt x="1038644" y="600075"/>
                </a:lnTo>
                <a:close/>
                <a:moveTo>
                  <a:pt x="3236290" y="590817"/>
                </a:moveTo>
                <a:lnTo>
                  <a:pt x="3250692" y="590817"/>
                </a:lnTo>
                <a:lnTo>
                  <a:pt x="3250692" y="576415"/>
                </a:lnTo>
                <a:lnTo>
                  <a:pt x="3265094" y="576415"/>
                </a:lnTo>
                <a:lnTo>
                  <a:pt x="3265094" y="562013"/>
                </a:lnTo>
                <a:lnTo>
                  <a:pt x="3250692" y="562013"/>
                </a:lnTo>
                <a:lnTo>
                  <a:pt x="3250692" y="547611"/>
                </a:lnTo>
                <a:lnTo>
                  <a:pt x="3236290" y="547611"/>
                </a:lnTo>
                <a:lnTo>
                  <a:pt x="3236290" y="562013"/>
                </a:lnTo>
                <a:lnTo>
                  <a:pt x="3221888" y="562013"/>
                </a:lnTo>
                <a:lnTo>
                  <a:pt x="3221888" y="576415"/>
                </a:lnTo>
                <a:lnTo>
                  <a:pt x="3236290" y="576415"/>
                </a:lnTo>
                <a:lnTo>
                  <a:pt x="3236290" y="590817"/>
                </a:lnTo>
                <a:close/>
                <a:moveTo>
                  <a:pt x="3233890" y="871995"/>
                </a:moveTo>
                <a:lnTo>
                  <a:pt x="3253093" y="871995"/>
                </a:lnTo>
                <a:lnTo>
                  <a:pt x="3253093" y="853135"/>
                </a:lnTo>
                <a:lnTo>
                  <a:pt x="3271952" y="853135"/>
                </a:lnTo>
                <a:lnTo>
                  <a:pt x="3271952" y="833933"/>
                </a:lnTo>
                <a:lnTo>
                  <a:pt x="3253093" y="833933"/>
                </a:lnTo>
                <a:lnTo>
                  <a:pt x="3253093" y="815073"/>
                </a:lnTo>
                <a:lnTo>
                  <a:pt x="3233890" y="815073"/>
                </a:lnTo>
                <a:lnTo>
                  <a:pt x="3233890" y="833933"/>
                </a:lnTo>
                <a:lnTo>
                  <a:pt x="3215030" y="833933"/>
                </a:lnTo>
                <a:lnTo>
                  <a:pt x="3215030" y="853135"/>
                </a:lnTo>
                <a:lnTo>
                  <a:pt x="3233890" y="853135"/>
                </a:lnTo>
                <a:lnTo>
                  <a:pt x="3233890" y="871995"/>
                </a:lnTo>
                <a:close/>
                <a:moveTo>
                  <a:pt x="3300755" y="1288961"/>
                </a:moveTo>
                <a:lnTo>
                  <a:pt x="3323387" y="1288961"/>
                </a:lnTo>
                <a:lnTo>
                  <a:pt x="3323387" y="1266330"/>
                </a:lnTo>
                <a:lnTo>
                  <a:pt x="3346018" y="1266330"/>
                </a:lnTo>
                <a:lnTo>
                  <a:pt x="3346018" y="1243698"/>
                </a:lnTo>
                <a:lnTo>
                  <a:pt x="3323387" y="1243698"/>
                </a:lnTo>
                <a:lnTo>
                  <a:pt x="3323387" y="1221067"/>
                </a:lnTo>
                <a:lnTo>
                  <a:pt x="3300755" y="1221067"/>
                </a:lnTo>
                <a:lnTo>
                  <a:pt x="3300755" y="1243698"/>
                </a:lnTo>
                <a:lnTo>
                  <a:pt x="3278124" y="1243698"/>
                </a:lnTo>
                <a:lnTo>
                  <a:pt x="3278124" y="1266330"/>
                </a:lnTo>
                <a:lnTo>
                  <a:pt x="3300755" y="1266330"/>
                </a:lnTo>
                <a:lnTo>
                  <a:pt x="3300755" y="1288961"/>
                </a:lnTo>
                <a:close/>
                <a:moveTo>
                  <a:pt x="3304184" y="729691"/>
                </a:moveTo>
                <a:lnTo>
                  <a:pt x="3319958" y="729691"/>
                </a:lnTo>
                <a:lnTo>
                  <a:pt x="3319958" y="714261"/>
                </a:lnTo>
                <a:lnTo>
                  <a:pt x="3335389" y="714261"/>
                </a:lnTo>
                <a:lnTo>
                  <a:pt x="3335389" y="698487"/>
                </a:lnTo>
                <a:lnTo>
                  <a:pt x="3319958" y="698487"/>
                </a:lnTo>
                <a:lnTo>
                  <a:pt x="3319958" y="683057"/>
                </a:lnTo>
                <a:lnTo>
                  <a:pt x="3304184" y="683057"/>
                </a:lnTo>
                <a:lnTo>
                  <a:pt x="3304184" y="698487"/>
                </a:lnTo>
                <a:lnTo>
                  <a:pt x="3288754" y="698487"/>
                </a:lnTo>
                <a:lnTo>
                  <a:pt x="3288754" y="714261"/>
                </a:lnTo>
                <a:lnTo>
                  <a:pt x="3304184" y="714261"/>
                </a:lnTo>
                <a:lnTo>
                  <a:pt x="3304184" y="729691"/>
                </a:lnTo>
                <a:close/>
                <a:moveTo>
                  <a:pt x="3232175" y="1151801"/>
                </a:moveTo>
                <a:lnTo>
                  <a:pt x="3254807" y="1151801"/>
                </a:lnTo>
                <a:lnTo>
                  <a:pt x="3254807" y="1129170"/>
                </a:lnTo>
                <a:lnTo>
                  <a:pt x="3277438" y="1129170"/>
                </a:lnTo>
                <a:lnTo>
                  <a:pt x="3277438" y="1106538"/>
                </a:lnTo>
                <a:lnTo>
                  <a:pt x="3254807" y="1106538"/>
                </a:lnTo>
                <a:lnTo>
                  <a:pt x="3254807" y="1083907"/>
                </a:lnTo>
                <a:lnTo>
                  <a:pt x="3232175" y="1083907"/>
                </a:lnTo>
                <a:lnTo>
                  <a:pt x="3232175" y="1106538"/>
                </a:lnTo>
                <a:lnTo>
                  <a:pt x="3209544" y="1106538"/>
                </a:lnTo>
                <a:lnTo>
                  <a:pt x="3209544" y="1129170"/>
                </a:lnTo>
                <a:lnTo>
                  <a:pt x="3232175" y="1129170"/>
                </a:lnTo>
                <a:lnTo>
                  <a:pt x="3232175" y="1151801"/>
                </a:lnTo>
                <a:close/>
                <a:moveTo>
                  <a:pt x="3302127" y="1010183"/>
                </a:moveTo>
                <a:lnTo>
                  <a:pt x="3322015" y="1010183"/>
                </a:lnTo>
                <a:lnTo>
                  <a:pt x="3322015" y="990638"/>
                </a:lnTo>
                <a:lnTo>
                  <a:pt x="3341561" y="990638"/>
                </a:lnTo>
                <a:lnTo>
                  <a:pt x="3341561" y="970750"/>
                </a:lnTo>
                <a:lnTo>
                  <a:pt x="3322015" y="970750"/>
                </a:lnTo>
                <a:lnTo>
                  <a:pt x="3322015" y="951205"/>
                </a:lnTo>
                <a:lnTo>
                  <a:pt x="3302127" y="951205"/>
                </a:lnTo>
                <a:lnTo>
                  <a:pt x="3302127" y="970750"/>
                </a:lnTo>
                <a:lnTo>
                  <a:pt x="3282582" y="970750"/>
                </a:lnTo>
                <a:lnTo>
                  <a:pt x="3282582" y="990638"/>
                </a:lnTo>
                <a:lnTo>
                  <a:pt x="3302127" y="990638"/>
                </a:lnTo>
                <a:lnTo>
                  <a:pt x="3302127" y="1010183"/>
                </a:lnTo>
                <a:close/>
                <a:moveTo>
                  <a:pt x="3098102" y="594246"/>
                </a:moveTo>
                <a:lnTo>
                  <a:pt x="3114561" y="594246"/>
                </a:lnTo>
                <a:lnTo>
                  <a:pt x="3114561" y="577444"/>
                </a:lnTo>
                <a:lnTo>
                  <a:pt x="3131363" y="577444"/>
                </a:lnTo>
                <a:lnTo>
                  <a:pt x="3131363" y="560984"/>
                </a:lnTo>
                <a:lnTo>
                  <a:pt x="3114561" y="560984"/>
                </a:lnTo>
                <a:lnTo>
                  <a:pt x="3114561" y="544182"/>
                </a:lnTo>
                <a:lnTo>
                  <a:pt x="3098102" y="544182"/>
                </a:lnTo>
                <a:lnTo>
                  <a:pt x="3098102" y="560984"/>
                </a:lnTo>
                <a:lnTo>
                  <a:pt x="3081299" y="560984"/>
                </a:lnTo>
                <a:lnTo>
                  <a:pt x="3081299" y="577444"/>
                </a:lnTo>
                <a:lnTo>
                  <a:pt x="3098102" y="577444"/>
                </a:lnTo>
                <a:lnTo>
                  <a:pt x="3098102" y="594246"/>
                </a:lnTo>
                <a:close/>
                <a:moveTo>
                  <a:pt x="3163939" y="1013955"/>
                </a:moveTo>
                <a:lnTo>
                  <a:pt x="3185884" y="1013955"/>
                </a:lnTo>
                <a:lnTo>
                  <a:pt x="3185884" y="991667"/>
                </a:lnTo>
                <a:lnTo>
                  <a:pt x="3208172" y="991667"/>
                </a:lnTo>
                <a:lnTo>
                  <a:pt x="3208172" y="969721"/>
                </a:lnTo>
                <a:lnTo>
                  <a:pt x="3185884" y="969721"/>
                </a:lnTo>
                <a:lnTo>
                  <a:pt x="3185884" y="947433"/>
                </a:lnTo>
                <a:lnTo>
                  <a:pt x="3163939" y="947433"/>
                </a:lnTo>
                <a:lnTo>
                  <a:pt x="3163939" y="969721"/>
                </a:lnTo>
                <a:lnTo>
                  <a:pt x="3141650" y="969721"/>
                </a:lnTo>
                <a:lnTo>
                  <a:pt x="3141650" y="991667"/>
                </a:lnTo>
                <a:lnTo>
                  <a:pt x="3163939" y="991667"/>
                </a:lnTo>
                <a:lnTo>
                  <a:pt x="3163939" y="1013955"/>
                </a:lnTo>
                <a:close/>
                <a:moveTo>
                  <a:pt x="3165996" y="733463"/>
                </a:moveTo>
                <a:lnTo>
                  <a:pt x="3183827" y="733463"/>
                </a:lnTo>
                <a:lnTo>
                  <a:pt x="3183827" y="715289"/>
                </a:lnTo>
                <a:lnTo>
                  <a:pt x="3202000" y="715289"/>
                </a:lnTo>
                <a:lnTo>
                  <a:pt x="3202000" y="697459"/>
                </a:lnTo>
                <a:lnTo>
                  <a:pt x="3183827" y="697459"/>
                </a:lnTo>
                <a:lnTo>
                  <a:pt x="3183827" y="679285"/>
                </a:lnTo>
                <a:lnTo>
                  <a:pt x="3165996" y="679285"/>
                </a:lnTo>
                <a:lnTo>
                  <a:pt x="3165996" y="697459"/>
                </a:lnTo>
                <a:lnTo>
                  <a:pt x="3147822" y="697459"/>
                </a:lnTo>
                <a:lnTo>
                  <a:pt x="3147822" y="715289"/>
                </a:lnTo>
                <a:lnTo>
                  <a:pt x="3165996" y="715289"/>
                </a:lnTo>
                <a:lnTo>
                  <a:pt x="3165996" y="733463"/>
                </a:lnTo>
                <a:close/>
                <a:moveTo>
                  <a:pt x="3168396" y="451599"/>
                </a:moveTo>
                <a:lnTo>
                  <a:pt x="3181426" y="451599"/>
                </a:lnTo>
                <a:lnTo>
                  <a:pt x="3181426" y="438569"/>
                </a:lnTo>
                <a:lnTo>
                  <a:pt x="3194456" y="438569"/>
                </a:lnTo>
                <a:lnTo>
                  <a:pt x="3194456" y="425539"/>
                </a:lnTo>
                <a:lnTo>
                  <a:pt x="3181426" y="425539"/>
                </a:lnTo>
                <a:lnTo>
                  <a:pt x="3181426" y="412509"/>
                </a:lnTo>
                <a:lnTo>
                  <a:pt x="3168396" y="412509"/>
                </a:lnTo>
                <a:lnTo>
                  <a:pt x="3168396" y="425539"/>
                </a:lnTo>
                <a:lnTo>
                  <a:pt x="3155366" y="425539"/>
                </a:lnTo>
                <a:lnTo>
                  <a:pt x="3155366" y="438569"/>
                </a:lnTo>
                <a:lnTo>
                  <a:pt x="3168396" y="438569"/>
                </a:lnTo>
                <a:lnTo>
                  <a:pt x="3168396" y="451599"/>
                </a:lnTo>
                <a:close/>
                <a:moveTo>
                  <a:pt x="3374822" y="587045"/>
                </a:moveTo>
                <a:lnTo>
                  <a:pt x="3386480" y="587045"/>
                </a:lnTo>
                <a:lnTo>
                  <a:pt x="3386480" y="575043"/>
                </a:lnTo>
                <a:lnTo>
                  <a:pt x="3398482" y="575043"/>
                </a:lnTo>
                <a:lnTo>
                  <a:pt x="3398482" y="563385"/>
                </a:lnTo>
                <a:lnTo>
                  <a:pt x="3386480" y="563385"/>
                </a:lnTo>
                <a:lnTo>
                  <a:pt x="3386480" y="551383"/>
                </a:lnTo>
                <a:lnTo>
                  <a:pt x="3374822" y="551383"/>
                </a:lnTo>
                <a:lnTo>
                  <a:pt x="3374822" y="563385"/>
                </a:lnTo>
                <a:lnTo>
                  <a:pt x="3362821" y="563385"/>
                </a:lnTo>
                <a:lnTo>
                  <a:pt x="3362821" y="575043"/>
                </a:lnTo>
                <a:lnTo>
                  <a:pt x="3374822" y="575043"/>
                </a:lnTo>
                <a:lnTo>
                  <a:pt x="3374822" y="587045"/>
                </a:lnTo>
                <a:close/>
                <a:moveTo>
                  <a:pt x="1065047" y="1989163"/>
                </a:moveTo>
                <a:lnTo>
                  <a:pt x="1065047" y="1956930"/>
                </a:lnTo>
                <a:lnTo>
                  <a:pt x="1097280" y="1956930"/>
                </a:lnTo>
                <a:lnTo>
                  <a:pt x="1097280" y="1924698"/>
                </a:lnTo>
                <a:lnTo>
                  <a:pt x="1065047" y="1924698"/>
                </a:lnTo>
                <a:lnTo>
                  <a:pt x="1065047" y="1892465"/>
                </a:lnTo>
                <a:lnTo>
                  <a:pt x="1032815" y="1892465"/>
                </a:lnTo>
                <a:lnTo>
                  <a:pt x="1032815" y="1924698"/>
                </a:lnTo>
                <a:lnTo>
                  <a:pt x="1000582" y="1924698"/>
                </a:lnTo>
                <a:lnTo>
                  <a:pt x="1000582" y="1956930"/>
                </a:lnTo>
                <a:lnTo>
                  <a:pt x="1032815" y="1956930"/>
                </a:lnTo>
                <a:lnTo>
                  <a:pt x="1032815" y="1989163"/>
                </a:lnTo>
                <a:lnTo>
                  <a:pt x="1065047" y="1989163"/>
                </a:lnTo>
                <a:close/>
                <a:moveTo>
                  <a:pt x="2610155" y="1755305"/>
                </a:moveTo>
                <a:lnTo>
                  <a:pt x="2610155" y="1787538"/>
                </a:lnTo>
                <a:lnTo>
                  <a:pt x="2577922" y="1787538"/>
                </a:lnTo>
                <a:lnTo>
                  <a:pt x="2577922" y="1819770"/>
                </a:lnTo>
                <a:lnTo>
                  <a:pt x="2610155" y="1819770"/>
                </a:lnTo>
                <a:lnTo>
                  <a:pt x="2610155" y="1852003"/>
                </a:lnTo>
                <a:lnTo>
                  <a:pt x="2642387" y="1852003"/>
                </a:lnTo>
                <a:lnTo>
                  <a:pt x="2642387" y="1819770"/>
                </a:lnTo>
                <a:lnTo>
                  <a:pt x="2674620" y="1819770"/>
                </a:lnTo>
                <a:lnTo>
                  <a:pt x="2674620" y="1787538"/>
                </a:lnTo>
                <a:lnTo>
                  <a:pt x="2642387" y="1787538"/>
                </a:lnTo>
                <a:lnTo>
                  <a:pt x="2642387" y="1755305"/>
                </a:lnTo>
                <a:lnTo>
                  <a:pt x="2610155" y="1755305"/>
                </a:lnTo>
                <a:close/>
                <a:moveTo>
                  <a:pt x="1613687" y="1989163"/>
                </a:moveTo>
                <a:lnTo>
                  <a:pt x="1613687" y="1956930"/>
                </a:lnTo>
                <a:lnTo>
                  <a:pt x="1645920" y="1956930"/>
                </a:lnTo>
                <a:lnTo>
                  <a:pt x="1645920" y="1924698"/>
                </a:lnTo>
                <a:lnTo>
                  <a:pt x="1613687" y="1924698"/>
                </a:lnTo>
                <a:lnTo>
                  <a:pt x="1613687" y="1892465"/>
                </a:lnTo>
                <a:lnTo>
                  <a:pt x="1581455" y="1892465"/>
                </a:lnTo>
                <a:lnTo>
                  <a:pt x="1581455" y="1924698"/>
                </a:lnTo>
                <a:lnTo>
                  <a:pt x="1549222" y="1924698"/>
                </a:lnTo>
                <a:lnTo>
                  <a:pt x="1549222" y="1956930"/>
                </a:lnTo>
                <a:lnTo>
                  <a:pt x="1581455" y="1956930"/>
                </a:lnTo>
                <a:lnTo>
                  <a:pt x="1581455" y="1989163"/>
                </a:lnTo>
                <a:lnTo>
                  <a:pt x="1613687" y="1989163"/>
                </a:lnTo>
                <a:close/>
                <a:moveTo>
                  <a:pt x="1750847" y="1989163"/>
                </a:moveTo>
                <a:lnTo>
                  <a:pt x="1750847" y="1956930"/>
                </a:lnTo>
                <a:lnTo>
                  <a:pt x="1783080" y="1956930"/>
                </a:lnTo>
                <a:lnTo>
                  <a:pt x="1783080" y="1924698"/>
                </a:lnTo>
                <a:lnTo>
                  <a:pt x="1750847" y="1924698"/>
                </a:lnTo>
                <a:lnTo>
                  <a:pt x="1750847" y="1892465"/>
                </a:lnTo>
                <a:lnTo>
                  <a:pt x="1718615" y="1892465"/>
                </a:lnTo>
                <a:lnTo>
                  <a:pt x="1718615" y="1924698"/>
                </a:lnTo>
                <a:lnTo>
                  <a:pt x="1686382" y="1924698"/>
                </a:lnTo>
                <a:lnTo>
                  <a:pt x="1686382" y="1956930"/>
                </a:lnTo>
                <a:lnTo>
                  <a:pt x="1718615" y="1956930"/>
                </a:lnTo>
                <a:lnTo>
                  <a:pt x="1718615" y="1989163"/>
                </a:lnTo>
                <a:lnTo>
                  <a:pt x="1750847" y="1989163"/>
                </a:lnTo>
                <a:close/>
                <a:moveTo>
                  <a:pt x="3372422" y="868223"/>
                </a:moveTo>
                <a:lnTo>
                  <a:pt x="3388881" y="868223"/>
                </a:lnTo>
                <a:lnTo>
                  <a:pt x="3388881" y="851764"/>
                </a:lnTo>
                <a:lnTo>
                  <a:pt x="3405340" y="851764"/>
                </a:lnTo>
                <a:lnTo>
                  <a:pt x="3405340" y="835304"/>
                </a:lnTo>
                <a:lnTo>
                  <a:pt x="3388881" y="835304"/>
                </a:lnTo>
                <a:lnTo>
                  <a:pt x="3388881" y="818845"/>
                </a:lnTo>
                <a:lnTo>
                  <a:pt x="3372422" y="818845"/>
                </a:lnTo>
                <a:lnTo>
                  <a:pt x="3372422" y="835304"/>
                </a:lnTo>
                <a:lnTo>
                  <a:pt x="3355963" y="835304"/>
                </a:lnTo>
                <a:lnTo>
                  <a:pt x="3355963" y="851764"/>
                </a:lnTo>
                <a:lnTo>
                  <a:pt x="3372422" y="851764"/>
                </a:lnTo>
                <a:lnTo>
                  <a:pt x="3372422" y="868223"/>
                </a:lnTo>
                <a:close/>
                <a:moveTo>
                  <a:pt x="3369335" y="1426121"/>
                </a:moveTo>
                <a:lnTo>
                  <a:pt x="3391967" y="1426121"/>
                </a:lnTo>
                <a:lnTo>
                  <a:pt x="3391967" y="1403490"/>
                </a:lnTo>
                <a:lnTo>
                  <a:pt x="3414598" y="1403490"/>
                </a:lnTo>
                <a:lnTo>
                  <a:pt x="3414598" y="1380858"/>
                </a:lnTo>
                <a:lnTo>
                  <a:pt x="3391967" y="1380858"/>
                </a:lnTo>
                <a:lnTo>
                  <a:pt x="3391967" y="1358227"/>
                </a:lnTo>
                <a:lnTo>
                  <a:pt x="3369335" y="1358227"/>
                </a:lnTo>
                <a:lnTo>
                  <a:pt x="3369335" y="1380858"/>
                </a:lnTo>
                <a:lnTo>
                  <a:pt x="3346704" y="1380858"/>
                </a:lnTo>
                <a:lnTo>
                  <a:pt x="3346704" y="1403490"/>
                </a:lnTo>
                <a:lnTo>
                  <a:pt x="3369335" y="1403490"/>
                </a:lnTo>
                <a:lnTo>
                  <a:pt x="3369335" y="1426121"/>
                </a:lnTo>
                <a:close/>
                <a:moveTo>
                  <a:pt x="3370707" y="1148029"/>
                </a:moveTo>
                <a:lnTo>
                  <a:pt x="3390595" y="1148029"/>
                </a:lnTo>
                <a:lnTo>
                  <a:pt x="3390595" y="1127798"/>
                </a:lnTo>
                <a:lnTo>
                  <a:pt x="3410827" y="1127798"/>
                </a:lnTo>
                <a:lnTo>
                  <a:pt x="3410827" y="1107910"/>
                </a:lnTo>
                <a:lnTo>
                  <a:pt x="3390595" y="1107910"/>
                </a:lnTo>
                <a:lnTo>
                  <a:pt x="3390595" y="1087679"/>
                </a:lnTo>
                <a:lnTo>
                  <a:pt x="3370707" y="1087679"/>
                </a:lnTo>
                <a:lnTo>
                  <a:pt x="3370707" y="1107910"/>
                </a:lnTo>
                <a:lnTo>
                  <a:pt x="3350476" y="1107910"/>
                </a:lnTo>
                <a:lnTo>
                  <a:pt x="3350476" y="1127798"/>
                </a:lnTo>
                <a:lnTo>
                  <a:pt x="3370707" y="1127798"/>
                </a:lnTo>
                <a:lnTo>
                  <a:pt x="3370707" y="1148029"/>
                </a:lnTo>
                <a:close/>
                <a:moveTo>
                  <a:pt x="3095701" y="875424"/>
                </a:moveTo>
                <a:lnTo>
                  <a:pt x="3116961" y="875424"/>
                </a:lnTo>
                <a:lnTo>
                  <a:pt x="3116961" y="854164"/>
                </a:lnTo>
                <a:lnTo>
                  <a:pt x="3138221" y="854164"/>
                </a:lnTo>
                <a:lnTo>
                  <a:pt x="3138221" y="832904"/>
                </a:lnTo>
                <a:lnTo>
                  <a:pt x="3116961" y="832904"/>
                </a:lnTo>
                <a:lnTo>
                  <a:pt x="3116961" y="811644"/>
                </a:lnTo>
                <a:lnTo>
                  <a:pt x="3095701" y="811644"/>
                </a:lnTo>
                <a:lnTo>
                  <a:pt x="3095701" y="832904"/>
                </a:lnTo>
                <a:lnTo>
                  <a:pt x="3074441" y="832904"/>
                </a:lnTo>
                <a:lnTo>
                  <a:pt x="3074441" y="854164"/>
                </a:lnTo>
                <a:lnTo>
                  <a:pt x="3095701" y="854164"/>
                </a:lnTo>
                <a:lnTo>
                  <a:pt x="3095701" y="875424"/>
                </a:lnTo>
                <a:close/>
                <a:moveTo>
                  <a:pt x="3416999" y="1654493"/>
                </a:moveTo>
                <a:lnTo>
                  <a:pt x="3392653" y="1654493"/>
                </a:lnTo>
                <a:lnTo>
                  <a:pt x="3392653" y="1630147"/>
                </a:lnTo>
                <a:lnTo>
                  <a:pt x="3368650" y="1630147"/>
                </a:lnTo>
                <a:lnTo>
                  <a:pt x="3368650" y="1654493"/>
                </a:lnTo>
                <a:lnTo>
                  <a:pt x="3344304" y="1654493"/>
                </a:lnTo>
                <a:lnTo>
                  <a:pt x="3344304" y="1678496"/>
                </a:lnTo>
                <a:lnTo>
                  <a:pt x="3368650" y="1678496"/>
                </a:lnTo>
                <a:lnTo>
                  <a:pt x="3368650" y="1702841"/>
                </a:lnTo>
                <a:lnTo>
                  <a:pt x="3392653" y="1702841"/>
                </a:lnTo>
                <a:lnTo>
                  <a:pt x="3392653" y="1678496"/>
                </a:lnTo>
                <a:lnTo>
                  <a:pt x="3416999" y="1678496"/>
                </a:lnTo>
                <a:lnTo>
                  <a:pt x="3416999" y="1654493"/>
                </a:lnTo>
                <a:close/>
                <a:moveTo>
                  <a:pt x="1888007" y="1989163"/>
                </a:moveTo>
                <a:lnTo>
                  <a:pt x="1888007" y="1956930"/>
                </a:lnTo>
                <a:lnTo>
                  <a:pt x="1920240" y="1956930"/>
                </a:lnTo>
                <a:lnTo>
                  <a:pt x="1920240" y="1924698"/>
                </a:lnTo>
                <a:lnTo>
                  <a:pt x="1888007" y="1924698"/>
                </a:lnTo>
                <a:lnTo>
                  <a:pt x="1888007" y="1892465"/>
                </a:lnTo>
                <a:lnTo>
                  <a:pt x="1855775" y="1892465"/>
                </a:lnTo>
                <a:lnTo>
                  <a:pt x="1855775" y="1924698"/>
                </a:lnTo>
                <a:lnTo>
                  <a:pt x="1823542" y="1924698"/>
                </a:lnTo>
                <a:lnTo>
                  <a:pt x="1823542" y="1956930"/>
                </a:lnTo>
                <a:lnTo>
                  <a:pt x="1855775" y="1956930"/>
                </a:lnTo>
                <a:lnTo>
                  <a:pt x="1855775" y="1989163"/>
                </a:lnTo>
                <a:lnTo>
                  <a:pt x="1888007" y="1989163"/>
                </a:lnTo>
                <a:close/>
                <a:moveTo>
                  <a:pt x="2686622" y="319583"/>
                </a:moveTo>
                <a:lnTo>
                  <a:pt x="2703081" y="319583"/>
                </a:lnTo>
                <a:lnTo>
                  <a:pt x="2703081" y="303124"/>
                </a:lnTo>
                <a:lnTo>
                  <a:pt x="2719540" y="303124"/>
                </a:lnTo>
                <a:lnTo>
                  <a:pt x="2719540" y="286664"/>
                </a:lnTo>
                <a:lnTo>
                  <a:pt x="2703081" y="286664"/>
                </a:lnTo>
                <a:lnTo>
                  <a:pt x="2703081" y="270205"/>
                </a:lnTo>
                <a:lnTo>
                  <a:pt x="2686622" y="270205"/>
                </a:lnTo>
                <a:lnTo>
                  <a:pt x="2686622" y="286664"/>
                </a:lnTo>
                <a:lnTo>
                  <a:pt x="2670163" y="286664"/>
                </a:lnTo>
                <a:lnTo>
                  <a:pt x="2670163" y="303124"/>
                </a:lnTo>
                <a:lnTo>
                  <a:pt x="2686622" y="303124"/>
                </a:lnTo>
                <a:lnTo>
                  <a:pt x="2686622" y="319583"/>
                </a:lnTo>
                <a:close/>
                <a:moveTo>
                  <a:pt x="2683879" y="602132"/>
                </a:moveTo>
                <a:lnTo>
                  <a:pt x="2705824" y="602132"/>
                </a:lnTo>
                <a:lnTo>
                  <a:pt x="2705824" y="580187"/>
                </a:lnTo>
                <a:lnTo>
                  <a:pt x="2727770" y="580187"/>
                </a:lnTo>
                <a:lnTo>
                  <a:pt x="2727770" y="558241"/>
                </a:lnTo>
                <a:lnTo>
                  <a:pt x="2705824" y="558241"/>
                </a:lnTo>
                <a:lnTo>
                  <a:pt x="2705824" y="536296"/>
                </a:lnTo>
                <a:lnTo>
                  <a:pt x="2683879" y="536296"/>
                </a:lnTo>
                <a:lnTo>
                  <a:pt x="2683879" y="558241"/>
                </a:lnTo>
                <a:lnTo>
                  <a:pt x="2661933" y="558241"/>
                </a:lnTo>
                <a:lnTo>
                  <a:pt x="2661933" y="580187"/>
                </a:lnTo>
                <a:lnTo>
                  <a:pt x="2683879" y="580187"/>
                </a:lnTo>
                <a:lnTo>
                  <a:pt x="2683879" y="602132"/>
                </a:lnTo>
                <a:close/>
                <a:moveTo>
                  <a:pt x="2619413" y="178651"/>
                </a:moveTo>
                <a:lnTo>
                  <a:pt x="2633129" y="178651"/>
                </a:lnTo>
                <a:lnTo>
                  <a:pt x="2633129" y="164592"/>
                </a:lnTo>
                <a:lnTo>
                  <a:pt x="2647188" y="164592"/>
                </a:lnTo>
                <a:lnTo>
                  <a:pt x="2647188" y="150876"/>
                </a:lnTo>
                <a:lnTo>
                  <a:pt x="2633129" y="150876"/>
                </a:lnTo>
                <a:lnTo>
                  <a:pt x="2633129" y="136817"/>
                </a:lnTo>
                <a:lnTo>
                  <a:pt x="2619413" y="136817"/>
                </a:lnTo>
                <a:lnTo>
                  <a:pt x="2619413" y="150876"/>
                </a:lnTo>
                <a:lnTo>
                  <a:pt x="2605354" y="150876"/>
                </a:lnTo>
                <a:lnTo>
                  <a:pt x="2605354" y="164592"/>
                </a:lnTo>
                <a:lnTo>
                  <a:pt x="2619413" y="164592"/>
                </a:lnTo>
                <a:lnTo>
                  <a:pt x="2619413" y="178651"/>
                </a:lnTo>
                <a:close/>
                <a:moveTo>
                  <a:pt x="2754173" y="459829"/>
                </a:moveTo>
                <a:lnTo>
                  <a:pt x="2772689" y="459829"/>
                </a:lnTo>
                <a:lnTo>
                  <a:pt x="2772689" y="441312"/>
                </a:lnTo>
                <a:lnTo>
                  <a:pt x="2791206" y="441312"/>
                </a:lnTo>
                <a:lnTo>
                  <a:pt x="2791206" y="422796"/>
                </a:lnTo>
                <a:lnTo>
                  <a:pt x="2772689" y="422796"/>
                </a:lnTo>
                <a:lnTo>
                  <a:pt x="2772689" y="404279"/>
                </a:lnTo>
                <a:lnTo>
                  <a:pt x="2754173" y="404279"/>
                </a:lnTo>
                <a:lnTo>
                  <a:pt x="2754173" y="422796"/>
                </a:lnTo>
                <a:lnTo>
                  <a:pt x="2735656" y="422796"/>
                </a:lnTo>
                <a:lnTo>
                  <a:pt x="2735656" y="441312"/>
                </a:lnTo>
                <a:lnTo>
                  <a:pt x="2754173" y="441312"/>
                </a:lnTo>
                <a:lnTo>
                  <a:pt x="2754173" y="459829"/>
                </a:lnTo>
                <a:close/>
                <a:moveTo>
                  <a:pt x="3049753" y="944347"/>
                </a:moveTo>
                <a:lnTo>
                  <a:pt x="3025750" y="944347"/>
                </a:lnTo>
                <a:lnTo>
                  <a:pt x="3025750" y="968693"/>
                </a:lnTo>
                <a:lnTo>
                  <a:pt x="3001404" y="968693"/>
                </a:lnTo>
                <a:lnTo>
                  <a:pt x="3001404" y="992696"/>
                </a:lnTo>
                <a:lnTo>
                  <a:pt x="3025750" y="992696"/>
                </a:lnTo>
                <a:lnTo>
                  <a:pt x="3025750" y="1017041"/>
                </a:lnTo>
                <a:lnTo>
                  <a:pt x="3049753" y="1017041"/>
                </a:lnTo>
                <a:lnTo>
                  <a:pt x="3049753" y="992696"/>
                </a:lnTo>
                <a:lnTo>
                  <a:pt x="3074099" y="992696"/>
                </a:lnTo>
                <a:lnTo>
                  <a:pt x="3074099" y="968693"/>
                </a:lnTo>
                <a:lnTo>
                  <a:pt x="3049753" y="968693"/>
                </a:lnTo>
                <a:lnTo>
                  <a:pt x="3049753" y="944347"/>
                </a:lnTo>
                <a:close/>
                <a:moveTo>
                  <a:pt x="2616327" y="462229"/>
                </a:moveTo>
                <a:lnTo>
                  <a:pt x="2636215" y="462229"/>
                </a:lnTo>
                <a:lnTo>
                  <a:pt x="2636215" y="441998"/>
                </a:lnTo>
                <a:lnTo>
                  <a:pt x="2656447" y="441998"/>
                </a:lnTo>
                <a:lnTo>
                  <a:pt x="2656447" y="422110"/>
                </a:lnTo>
                <a:lnTo>
                  <a:pt x="2636215" y="422110"/>
                </a:lnTo>
                <a:lnTo>
                  <a:pt x="2636215" y="401879"/>
                </a:lnTo>
                <a:lnTo>
                  <a:pt x="2616327" y="401879"/>
                </a:lnTo>
                <a:lnTo>
                  <a:pt x="2616327" y="422110"/>
                </a:lnTo>
                <a:lnTo>
                  <a:pt x="2596096" y="422110"/>
                </a:lnTo>
                <a:lnTo>
                  <a:pt x="2596096" y="441998"/>
                </a:lnTo>
                <a:lnTo>
                  <a:pt x="2616327" y="441998"/>
                </a:lnTo>
                <a:lnTo>
                  <a:pt x="2616327" y="462229"/>
                </a:lnTo>
                <a:close/>
                <a:moveTo>
                  <a:pt x="2546033" y="604190"/>
                </a:moveTo>
                <a:lnTo>
                  <a:pt x="2569350" y="604190"/>
                </a:lnTo>
                <a:lnTo>
                  <a:pt x="2569350" y="580873"/>
                </a:lnTo>
                <a:lnTo>
                  <a:pt x="2592667" y="580873"/>
                </a:lnTo>
                <a:lnTo>
                  <a:pt x="2592667" y="557555"/>
                </a:lnTo>
                <a:lnTo>
                  <a:pt x="2569350" y="557555"/>
                </a:lnTo>
                <a:lnTo>
                  <a:pt x="2569350" y="534238"/>
                </a:lnTo>
                <a:lnTo>
                  <a:pt x="2546033" y="534238"/>
                </a:lnTo>
                <a:lnTo>
                  <a:pt x="2546033" y="557555"/>
                </a:lnTo>
                <a:lnTo>
                  <a:pt x="2522716" y="557555"/>
                </a:lnTo>
                <a:lnTo>
                  <a:pt x="2522716" y="580873"/>
                </a:lnTo>
                <a:lnTo>
                  <a:pt x="2546033" y="580873"/>
                </a:lnTo>
                <a:lnTo>
                  <a:pt x="2546033" y="604190"/>
                </a:lnTo>
                <a:close/>
                <a:moveTo>
                  <a:pt x="2775433" y="670712"/>
                </a:moveTo>
                <a:lnTo>
                  <a:pt x="2751430" y="670712"/>
                </a:lnTo>
                <a:lnTo>
                  <a:pt x="2751430" y="694373"/>
                </a:lnTo>
                <a:lnTo>
                  <a:pt x="2727770" y="694373"/>
                </a:lnTo>
                <a:lnTo>
                  <a:pt x="2727770" y="718376"/>
                </a:lnTo>
                <a:lnTo>
                  <a:pt x="2751430" y="718376"/>
                </a:lnTo>
                <a:lnTo>
                  <a:pt x="2751430" y="742036"/>
                </a:lnTo>
                <a:lnTo>
                  <a:pt x="2775433" y="742036"/>
                </a:lnTo>
                <a:lnTo>
                  <a:pt x="2775433" y="718376"/>
                </a:lnTo>
                <a:lnTo>
                  <a:pt x="2799093" y="718376"/>
                </a:lnTo>
                <a:lnTo>
                  <a:pt x="2799093" y="694373"/>
                </a:lnTo>
                <a:lnTo>
                  <a:pt x="2775433" y="694373"/>
                </a:lnTo>
                <a:lnTo>
                  <a:pt x="2775433" y="670712"/>
                </a:lnTo>
                <a:close/>
                <a:moveTo>
                  <a:pt x="2481568" y="180365"/>
                </a:moveTo>
                <a:lnTo>
                  <a:pt x="2496655" y="180365"/>
                </a:lnTo>
                <a:lnTo>
                  <a:pt x="2496655" y="165278"/>
                </a:lnTo>
                <a:lnTo>
                  <a:pt x="2511743" y="165278"/>
                </a:lnTo>
                <a:lnTo>
                  <a:pt x="2511743" y="150190"/>
                </a:lnTo>
                <a:lnTo>
                  <a:pt x="2496655" y="150190"/>
                </a:lnTo>
                <a:lnTo>
                  <a:pt x="2496655" y="135103"/>
                </a:lnTo>
                <a:lnTo>
                  <a:pt x="2481568" y="135103"/>
                </a:lnTo>
                <a:lnTo>
                  <a:pt x="2481568" y="150190"/>
                </a:lnTo>
                <a:lnTo>
                  <a:pt x="2466480" y="150190"/>
                </a:lnTo>
                <a:lnTo>
                  <a:pt x="2466480" y="165278"/>
                </a:lnTo>
                <a:lnTo>
                  <a:pt x="2481568" y="165278"/>
                </a:lnTo>
                <a:lnTo>
                  <a:pt x="2481568" y="180365"/>
                </a:lnTo>
                <a:close/>
                <a:moveTo>
                  <a:pt x="2548776" y="321297"/>
                </a:moveTo>
                <a:lnTo>
                  <a:pt x="2566607" y="321297"/>
                </a:lnTo>
                <a:lnTo>
                  <a:pt x="2566607" y="303809"/>
                </a:lnTo>
                <a:lnTo>
                  <a:pt x="2584094" y="303809"/>
                </a:lnTo>
                <a:lnTo>
                  <a:pt x="2584094" y="285979"/>
                </a:lnTo>
                <a:lnTo>
                  <a:pt x="2566607" y="285979"/>
                </a:lnTo>
                <a:lnTo>
                  <a:pt x="2566607" y="268491"/>
                </a:lnTo>
                <a:lnTo>
                  <a:pt x="2548776" y="268491"/>
                </a:lnTo>
                <a:lnTo>
                  <a:pt x="2548776" y="285979"/>
                </a:lnTo>
                <a:lnTo>
                  <a:pt x="2531288" y="285979"/>
                </a:lnTo>
                <a:lnTo>
                  <a:pt x="2531288" y="303809"/>
                </a:lnTo>
                <a:lnTo>
                  <a:pt x="2548776" y="303809"/>
                </a:lnTo>
                <a:lnTo>
                  <a:pt x="2548776" y="321297"/>
                </a:lnTo>
                <a:close/>
                <a:moveTo>
                  <a:pt x="2757259" y="176594"/>
                </a:moveTo>
                <a:lnTo>
                  <a:pt x="2769604" y="176594"/>
                </a:lnTo>
                <a:lnTo>
                  <a:pt x="2769604" y="163906"/>
                </a:lnTo>
                <a:lnTo>
                  <a:pt x="2782291" y="163906"/>
                </a:lnTo>
                <a:lnTo>
                  <a:pt x="2782291" y="151562"/>
                </a:lnTo>
                <a:lnTo>
                  <a:pt x="2769604" y="151562"/>
                </a:lnTo>
                <a:lnTo>
                  <a:pt x="2769604" y="138875"/>
                </a:lnTo>
                <a:lnTo>
                  <a:pt x="2757259" y="138875"/>
                </a:lnTo>
                <a:lnTo>
                  <a:pt x="2757259" y="151562"/>
                </a:lnTo>
                <a:lnTo>
                  <a:pt x="2744572" y="151562"/>
                </a:lnTo>
                <a:lnTo>
                  <a:pt x="2744572" y="163906"/>
                </a:lnTo>
                <a:lnTo>
                  <a:pt x="2757259" y="163906"/>
                </a:lnTo>
                <a:lnTo>
                  <a:pt x="2757259" y="176594"/>
                </a:lnTo>
                <a:close/>
                <a:moveTo>
                  <a:pt x="2821724" y="600075"/>
                </a:moveTo>
                <a:lnTo>
                  <a:pt x="2842298" y="600075"/>
                </a:lnTo>
                <a:lnTo>
                  <a:pt x="2842298" y="579501"/>
                </a:lnTo>
                <a:lnTo>
                  <a:pt x="2862872" y="579501"/>
                </a:lnTo>
                <a:lnTo>
                  <a:pt x="2862872" y="558927"/>
                </a:lnTo>
                <a:lnTo>
                  <a:pt x="2842298" y="558927"/>
                </a:lnTo>
                <a:lnTo>
                  <a:pt x="2842298" y="538353"/>
                </a:lnTo>
                <a:lnTo>
                  <a:pt x="2821724" y="538353"/>
                </a:lnTo>
                <a:lnTo>
                  <a:pt x="2821724" y="558927"/>
                </a:lnTo>
                <a:lnTo>
                  <a:pt x="2801150" y="558927"/>
                </a:lnTo>
                <a:lnTo>
                  <a:pt x="2801150" y="579501"/>
                </a:lnTo>
                <a:lnTo>
                  <a:pt x="2821724" y="579501"/>
                </a:lnTo>
                <a:lnTo>
                  <a:pt x="2821724" y="600075"/>
                </a:lnTo>
                <a:close/>
                <a:moveTo>
                  <a:pt x="2980830" y="808215"/>
                </a:moveTo>
                <a:lnTo>
                  <a:pt x="2957513" y="808215"/>
                </a:lnTo>
                <a:lnTo>
                  <a:pt x="2957513" y="831875"/>
                </a:lnTo>
                <a:lnTo>
                  <a:pt x="2933852" y="831875"/>
                </a:lnTo>
                <a:lnTo>
                  <a:pt x="2933852" y="855193"/>
                </a:lnTo>
                <a:lnTo>
                  <a:pt x="2957513" y="855193"/>
                </a:lnTo>
                <a:lnTo>
                  <a:pt x="2957513" y="878853"/>
                </a:lnTo>
                <a:lnTo>
                  <a:pt x="2980830" y="878853"/>
                </a:lnTo>
                <a:lnTo>
                  <a:pt x="2980830" y="855193"/>
                </a:lnTo>
                <a:lnTo>
                  <a:pt x="3004490" y="855193"/>
                </a:lnTo>
                <a:lnTo>
                  <a:pt x="3004490" y="831875"/>
                </a:lnTo>
                <a:lnTo>
                  <a:pt x="2980830" y="831875"/>
                </a:lnTo>
                <a:lnTo>
                  <a:pt x="2980830" y="808215"/>
                </a:lnTo>
                <a:close/>
                <a:moveTo>
                  <a:pt x="2962656" y="314439"/>
                </a:moveTo>
                <a:lnTo>
                  <a:pt x="2975686" y="314439"/>
                </a:lnTo>
                <a:lnTo>
                  <a:pt x="2975686" y="301409"/>
                </a:lnTo>
                <a:lnTo>
                  <a:pt x="2988716" y="301409"/>
                </a:lnTo>
                <a:lnTo>
                  <a:pt x="2988716" y="288379"/>
                </a:lnTo>
                <a:lnTo>
                  <a:pt x="2975686" y="288379"/>
                </a:lnTo>
                <a:lnTo>
                  <a:pt x="2975686" y="275349"/>
                </a:lnTo>
                <a:lnTo>
                  <a:pt x="2962656" y="275349"/>
                </a:lnTo>
                <a:lnTo>
                  <a:pt x="2962656" y="288379"/>
                </a:lnTo>
                <a:lnTo>
                  <a:pt x="2949626" y="288379"/>
                </a:lnTo>
                <a:lnTo>
                  <a:pt x="2949626" y="301409"/>
                </a:lnTo>
                <a:lnTo>
                  <a:pt x="2962656" y="301409"/>
                </a:lnTo>
                <a:lnTo>
                  <a:pt x="2962656" y="314439"/>
                </a:lnTo>
                <a:close/>
                <a:moveTo>
                  <a:pt x="3030208" y="454685"/>
                </a:moveTo>
                <a:lnTo>
                  <a:pt x="3045295" y="454685"/>
                </a:lnTo>
                <a:lnTo>
                  <a:pt x="3045295" y="439598"/>
                </a:lnTo>
                <a:lnTo>
                  <a:pt x="3060383" y="439598"/>
                </a:lnTo>
                <a:lnTo>
                  <a:pt x="3060383" y="424510"/>
                </a:lnTo>
                <a:lnTo>
                  <a:pt x="3045295" y="424510"/>
                </a:lnTo>
                <a:lnTo>
                  <a:pt x="3045295" y="409423"/>
                </a:lnTo>
                <a:lnTo>
                  <a:pt x="3030208" y="409423"/>
                </a:lnTo>
                <a:lnTo>
                  <a:pt x="3030208" y="424510"/>
                </a:lnTo>
                <a:lnTo>
                  <a:pt x="3015120" y="424510"/>
                </a:lnTo>
                <a:lnTo>
                  <a:pt x="3015120" y="439598"/>
                </a:lnTo>
                <a:lnTo>
                  <a:pt x="3030208" y="439598"/>
                </a:lnTo>
                <a:lnTo>
                  <a:pt x="3030208" y="454685"/>
                </a:lnTo>
                <a:close/>
                <a:moveTo>
                  <a:pt x="3027807" y="736549"/>
                </a:moveTo>
                <a:lnTo>
                  <a:pt x="3047695" y="736549"/>
                </a:lnTo>
                <a:lnTo>
                  <a:pt x="3047695" y="716318"/>
                </a:lnTo>
                <a:lnTo>
                  <a:pt x="3067927" y="716318"/>
                </a:lnTo>
                <a:lnTo>
                  <a:pt x="3067927" y="696430"/>
                </a:lnTo>
                <a:lnTo>
                  <a:pt x="3047695" y="696430"/>
                </a:lnTo>
                <a:lnTo>
                  <a:pt x="3047695" y="676199"/>
                </a:lnTo>
                <a:lnTo>
                  <a:pt x="3027807" y="676199"/>
                </a:lnTo>
                <a:lnTo>
                  <a:pt x="3027807" y="696430"/>
                </a:lnTo>
                <a:lnTo>
                  <a:pt x="3007576" y="696430"/>
                </a:lnTo>
                <a:lnTo>
                  <a:pt x="3007576" y="716318"/>
                </a:lnTo>
                <a:lnTo>
                  <a:pt x="3027807" y="716318"/>
                </a:lnTo>
                <a:lnTo>
                  <a:pt x="3027807" y="736549"/>
                </a:lnTo>
                <a:close/>
                <a:moveTo>
                  <a:pt x="2889619" y="739635"/>
                </a:moveTo>
                <a:lnTo>
                  <a:pt x="2911564" y="739635"/>
                </a:lnTo>
                <a:lnTo>
                  <a:pt x="2911564" y="717347"/>
                </a:lnTo>
                <a:lnTo>
                  <a:pt x="2933852" y="717347"/>
                </a:lnTo>
                <a:lnTo>
                  <a:pt x="2933852" y="695401"/>
                </a:lnTo>
                <a:lnTo>
                  <a:pt x="2911564" y="695401"/>
                </a:lnTo>
                <a:lnTo>
                  <a:pt x="2911564" y="673113"/>
                </a:lnTo>
                <a:lnTo>
                  <a:pt x="2889619" y="673113"/>
                </a:lnTo>
                <a:lnTo>
                  <a:pt x="2889619" y="695401"/>
                </a:lnTo>
                <a:lnTo>
                  <a:pt x="2867330" y="695401"/>
                </a:lnTo>
                <a:lnTo>
                  <a:pt x="2867330" y="717347"/>
                </a:lnTo>
                <a:lnTo>
                  <a:pt x="2889619" y="717347"/>
                </a:lnTo>
                <a:lnTo>
                  <a:pt x="2889619" y="739635"/>
                </a:lnTo>
                <a:close/>
                <a:moveTo>
                  <a:pt x="2824468" y="317183"/>
                </a:moveTo>
                <a:lnTo>
                  <a:pt x="2839555" y="317183"/>
                </a:lnTo>
                <a:lnTo>
                  <a:pt x="2839555" y="302438"/>
                </a:lnTo>
                <a:lnTo>
                  <a:pt x="2854300" y="302438"/>
                </a:lnTo>
                <a:lnTo>
                  <a:pt x="2854300" y="287350"/>
                </a:lnTo>
                <a:lnTo>
                  <a:pt x="2839555" y="287350"/>
                </a:lnTo>
                <a:lnTo>
                  <a:pt x="2839555" y="272606"/>
                </a:lnTo>
                <a:lnTo>
                  <a:pt x="2824468" y="272606"/>
                </a:lnTo>
                <a:lnTo>
                  <a:pt x="2824468" y="287350"/>
                </a:lnTo>
                <a:lnTo>
                  <a:pt x="2809723" y="287350"/>
                </a:lnTo>
                <a:lnTo>
                  <a:pt x="2809723" y="302438"/>
                </a:lnTo>
                <a:lnTo>
                  <a:pt x="2824468" y="302438"/>
                </a:lnTo>
                <a:lnTo>
                  <a:pt x="2824468" y="317183"/>
                </a:lnTo>
                <a:close/>
                <a:moveTo>
                  <a:pt x="2892019" y="457429"/>
                </a:moveTo>
                <a:lnTo>
                  <a:pt x="2909164" y="457429"/>
                </a:lnTo>
                <a:lnTo>
                  <a:pt x="2909164" y="440627"/>
                </a:lnTo>
                <a:lnTo>
                  <a:pt x="2925966" y="440627"/>
                </a:lnTo>
                <a:lnTo>
                  <a:pt x="2925966" y="423482"/>
                </a:lnTo>
                <a:lnTo>
                  <a:pt x="2909164" y="423482"/>
                </a:lnTo>
                <a:lnTo>
                  <a:pt x="2909164" y="406679"/>
                </a:lnTo>
                <a:lnTo>
                  <a:pt x="2892019" y="406679"/>
                </a:lnTo>
                <a:lnTo>
                  <a:pt x="2892019" y="423482"/>
                </a:lnTo>
                <a:lnTo>
                  <a:pt x="2875217" y="423482"/>
                </a:lnTo>
                <a:lnTo>
                  <a:pt x="2875217" y="440627"/>
                </a:lnTo>
                <a:lnTo>
                  <a:pt x="2892019" y="440627"/>
                </a:lnTo>
                <a:lnTo>
                  <a:pt x="2892019" y="457429"/>
                </a:lnTo>
                <a:close/>
                <a:moveTo>
                  <a:pt x="2959913" y="597332"/>
                </a:moveTo>
                <a:lnTo>
                  <a:pt x="2978429" y="597332"/>
                </a:lnTo>
                <a:lnTo>
                  <a:pt x="2978429" y="578472"/>
                </a:lnTo>
                <a:lnTo>
                  <a:pt x="2997289" y="578472"/>
                </a:lnTo>
                <a:lnTo>
                  <a:pt x="2997289" y="559956"/>
                </a:lnTo>
                <a:lnTo>
                  <a:pt x="2978429" y="559956"/>
                </a:lnTo>
                <a:lnTo>
                  <a:pt x="2978429" y="541096"/>
                </a:lnTo>
                <a:lnTo>
                  <a:pt x="2959913" y="541096"/>
                </a:lnTo>
                <a:lnTo>
                  <a:pt x="2959913" y="559956"/>
                </a:lnTo>
                <a:lnTo>
                  <a:pt x="2941054" y="559956"/>
                </a:lnTo>
                <a:lnTo>
                  <a:pt x="2941054" y="578472"/>
                </a:lnTo>
                <a:lnTo>
                  <a:pt x="2959913" y="578472"/>
                </a:lnTo>
                <a:lnTo>
                  <a:pt x="2959913" y="597332"/>
                </a:lnTo>
                <a:close/>
                <a:moveTo>
                  <a:pt x="2230907" y="2126323"/>
                </a:moveTo>
                <a:lnTo>
                  <a:pt x="2230907" y="2094090"/>
                </a:lnTo>
                <a:lnTo>
                  <a:pt x="2263140" y="2094090"/>
                </a:lnTo>
                <a:lnTo>
                  <a:pt x="2263140" y="2061858"/>
                </a:lnTo>
                <a:lnTo>
                  <a:pt x="2230907" y="2061858"/>
                </a:lnTo>
                <a:lnTo>
                  <a:pt x="2230907" y="2029625"/>
                </a:lnTo>
                <a:lnTo>
                  <a:pt x="2198675" y="2029625"/>
                </a:lnTo>
                <a:lnTo>
                  <a:pt x="2198675" y="2061858"/>
                </a:lnTo>
                <a:lnTo>
                  <a:pt x="2166442" y="2061858"/>
                </a:lnTo>
                <a:lnTo>
                  <a:pt x="2166442" y="2094090"/>
                </a:lnTo>
                <a:lnTo>
                  <a:pt x="2198675" y="2094090"/>
                </a:lnTo>
                <a:lnTo>
                  <a:pt x="2198675" y="2126323"/>
                </a:lnTo>
                <a:lnTo>
                  <a:pt x="2230907" y="2126323"/>
                </a:lnTo>
                <a:close/>
                <a:moveTo>
                  <a:pt x="1476527" y="1989163"/>
                </a:moveTo>
                <a:lnTo>
                  <a:pt x="1476527" y="1956930"/>
                </a:lnTo>
                <a:lnTo>
                  <a:pt x="1508760" y="1956930"/>
                </a:lnTo>
                <a:lnTo>
                  <a:pt x="1508760" y="1924698"/>
                </a:lnTo>
                <a:lnTo>
                  <a:pt x="1476527" y="1924698"/>
                </a:lnTo>
                <a:lnTo>
                  <a:pt x="1476527" y="1892465"/>
                </a:lnTo>
                <a:lnTo>
                  <a:pt x="1444295" y="1892465"/>
                </a:lnTo>
                <a:lnTo>
                  <a:pt x="1444295" y="1924698"/>
                </a:lnTo>
                <a:lnTo>
                  <a:pt x="1412062" y="1924698"/>
                </a:lnTo>
                <a:lnTo>
                  <a:pt x="1412062" y="1956930"/>
                </a:lnTo>
                <a:lnTo>
                  <a:pt x="1444295" y="1956930"/>
                </a:lnTo>
                <a:lnTo>
                  <a:pt x="1444295" y="1989163"/>
                </a:lnTo>
                <a:lnTo>
                  <a:pt x="1476527" y="1989163"/>
                </a:lnTo>
                <a:close/>
                <a:moveTo>
                  <a:pt x="1545107" y="2126323"/>
                </a:moveTo>
                <a:lnTo>
                  <a:pt x="1545107" y="2094090"/>
                </a:lnTo>
                <a:lnTo>
                  <a:pt x="1577340" y="2094090"/>
                </a:lnTo>
                <a:lnTo>
                  <a:pt x="1577340" y="2061858"/>
                </a:lnTo>
                <a:lnTo>
                  <a:pt x="1545107" y="2061858"/>
                </a:lnTo>
                <a:lnTo>
                  <a:pt x="1545107" y="2029625"/>
                </a:lnTo>
                <a:lnTo>
                  <a:pt x="1512875" y="2029625"/>
                </a:lnTo>
                <a:lnTo>
                  <a:pt x="1512875" y="2061858"/>
                </a:lnTo>
                <a:lnTo>
                  <a:pt x="1480642" y="2061858"/>
                </a:lnTo>
                <a:lnTo>
                  <a:pt x="1480642" y="2094090"/>
                </a:lnTo>
                <a:lnTo>
                  <a:pt x="1512875" y="2094090"/>
                </a:lnTo>
                <a:lnTo>
                  <a:pt x="1512875" y="2126323"/>
                </a:lnTo>
                <a:lnTo>
                  <a:pt x="1545107" y="2126323"/>
                </a:lnTo>
                <a:close/>
                <a:moveTo>
                  <a:pt x="1613687" y="2263483"/>
                </a:moveTo>
                <a:lnTo>
                  <a:pt x="1613687" y="2231250"/>
                </a:lnTo>
                <a:lnTo>
                  <a:pt x="1645920" y="2231250"/>
                </a:lnTo>
                <a:lnTo>
                  <a:pt x="1645920" y="2199018"/>
                </a:lnTo>
                <a:lnTo>
                  <a:pt x="1613687" y="2199018"/>
                </a:lnTo>
                <a:lnTo>
                  <a:pt x="1613687" y="2166785"/>
                </a:lnTo>
                <a:lnTo>
                  <a:pt x="1581455" y="2166785"/>
                </a:lnTo>
                <a:lnTo>
                  <a:pt x="1581455" y="2199018"/>
                </a:lnTo>
                <a:lnTo>
                  <a:pt x="1549222" y="2199018"/>
                </a:lnTo>
                <a:lnTo>
                  <a:pt x="1549222" y="2231250"/>
                </a:lnTo>
                <a:lnTo>
                  <a:pt x="1581455" y="2231250"/>
                </a:lnTo>
                <a:lnTo>
                  <a:pt x="1581455" y="2263483"/>
                </a:lnTo>
                <a:lnTo>
                  <a:pt x="1613687" y="2263483"/>
                </a:lnTo>
                <a:close/>
                <a:moveTo>
                  <a:pt x="1819427" y="2126323"/>
                </a:moveTo>
                <a:lnTo>
                  <a:pt x="1819427" y="2094090"/>
                </a:lnTo>
                <a:lnTo>
                  <a:pt x="1851660" y="2094090"/>
                </a:lnTo>
                <a:lnTo>
                  <a:pt x="1851660" y="2061858"/>
                </a:lnTo>
                <a:lnTo>
                  <a:pt x="1819427" y="2061858"/>
                </a:lnTo>
                <a:lnTo>
                  <a:pt x="1819427" y="2029625"/>
                </a:lnTo>
                <a:lnTo>
                  <a:pt x="1787195" y="2029625"/>
                </a:lnTo>
                <a:lnTo>
                  <a:pt x="1787195" y="2061858"/>
                </a:lnTo>
                <a:lnTo>
                  <a:pt x="1754962" y="2061858"/>
                </a:lnTo>
                <a:lnTo>
                  <a:pt x="1754962" y="2094090"/>
                </a:lnTo>
                <a:lnTo>
                  <a:pt x="1787195" y="2094090"/>
                </a:lnTo>
                <a:lnTo>
                  <a:pt x="1787195" y="2126323"/>
                </a:lnTo>
                <a:lnTo>
                  <a:pt x="1819427" y="2126323"/>
                </a:lnTo>
                <a:close/>
                <a:moveTo>
                  <a:pt x="1682267" y="2126323"/>
                </a:moveTo>
                <a:lnTo>
                  <a:pt x="1682267" y="2094090"/>
                </a:lnTo>
                <a:lnTo>
                  <a:pt x="1714500" y="2094090"/>
                </a:lnTo>
                <a:lnTo>
                  <a:pt x="1714500" y="2061858"/>
                </a:lnTo>
                <a:lnTo>
                  <a:pt x="1682267" y="2061858"/>
                </a:lnTo>
                <a:lnTo>
                  <a:pt x="1682267" y="2029625"/>
                </a:lnTo>
                <a:lnTo>
                  <a:pt x="1650035" y="2029625"/>
                </a:lnTo>
                <a:lnTo>
                  <a:pt x="1650035" y="2061858"/>
                </a:lnTo>
                <a:lnTo>
                  <a:pt x="1617802" y="2061858"/>
                </a:lnTo>
                <a:lnTo>
                  <a:pt x="1617802" y="2094090"/>
                </a:lnTo>
                <a:lnTo>
                  <a:pt x="1650035" y="2094090"/>
                </a:lnTo>
                <a:lnTo>
                  <a:pt x="1650035" y="2126323"/>
                </a:lnTo>
                <a:lnTo>
                  <a:pt x="1682267" y="2126323"/>
                </a:lnTo>
                <a:close/>
                <a:moveTo>
                  <a:pt x="1750847" y="2263483"/>
                </a:moveTo>
                <a:lnTo>
                  <a:pt x="1750847" y="2231250"/>
                </a:lnTo>
                <a:lnTo>
                  <a:pt x="1783080" y="2231250"/>
                </a:lnTo>
                <a:lnTo>
                  <a:pt x="1783080" y="2199018"/>
                </a:lnTo>
                <a:lnTo>
                  <a:pt x="1750847" y="2199018"/>
                </a:lnTo>
                <a:lnTo>
                  <a:pt x="1750847" y="2166785"/>
                </a:lnTo>
                <a:lnTo>
                  <a:pt x="1718615" y="2166785"/>
                </a:lnTo>
                <a:lnTo>
                  <a:pt x="1718615" y="2199018"/>
                </a:lnTo>
                <a:lnTo>
                  <a:pt x="1686382" y="2199018"/>
                </a:lnTo>
                <a:lnTo>
                  <a:pt x="1686382" y="2231250"/>
                </a:lnTo>
                <a:lnTo>
                  <a:pt x="1718615" y="2231250"/>
                </a:lnTo>
                <a:lnTo>
                  <a:pt x="1718615" y="2263483"/>
                </a:lnTo>
                <a:lnTo>
                  <a:pt x="1750847" y="2263483"/>
                </a:lnTo>
                <a:close/>
                <a:moveTo>
                  <a:pt x="1407947" y="2126323"/>
                </a:moveTo>
                <a:lnTo>
                  <a:pt x="1407947" y="2094090"/>
                </a:lnTo>
                <a:lnTo>
                  <a:pt x="1440180" y="2094090"/>
                </a:lnTo>
                <a:lnTo>
                  <a:pt x="1440180" y="2061858"/>
                </a:lnTo>
                <a:lnTo>
                  <a:pt x="1407947" y="2061858"/>
                </a:lnTo>
                <a:lnTo>
                  <a:pt x="1407947" y="2029625"/>
                </a:lnTo>
                <a:lnTo>
                  <a:pt x="1375715" y="2029625"/>
                </a:lnTo>
                <a:lnTo>
                  <a:pt x="1375715" y="2061858"/>
                </a:lnTo>
                <a:lnTo>
                  <a:pt x="1343482" y="2061858"/>
                </a:lnTo>
                <a:lnTo>
                  <a:pt x="1343482" y="2094090"/>
                </a:lnTo>
                <a:lnTo>
                  <a:pt x="1375715" y="2094090"/>
                </a:lnTo>
                <a:lnTo>
                  <a:pt x="1375715" y="2126323"/>
                </a:lnTo>
                <a:lnTo>
                  <a:pt x="1407947" y="2126323"/>
                </a:lnTo>
                <a:close/>
                <a:moveTo>
                  <a:pt x="1202207" y="1989163"/>
                </a:moveTo>
                <a:lnTo>
                  <a:pt x="1202207" y="1956930"/>
                </a:lnTo>
                <a:lnTo>
                  <a:pt x="1234440" y="1956930"/>
                </a:lnTo>
                <a:lnTo>
                  <a:pt x="1234440" y="1924698"/>
                </a:lnTo>
                <a:lnTo>
                  <a:pt x="1202207" y="1924698"/>
                </a:lnTo>
                <a:lnTo>
                  <a:pt x="1202207" y="1892465"/>
                </a:lnTo>
                <a:lnTo>
                  <a:pt x="1169975" y="1892465"/>
                </a:lnTo>
                <a:lnTo>
                  <a:pt x="1169975" y="1924698"/>
                </a:lnTo>
                <a:lnTo>
                  <a:pt x="1137742" y="1924698"/>
                </a:lnTo>
                <a:lnTo>
                  <a:pt x="1137742" y="1956930"/>
                </a:lnTo>
                <a:lnTo>
                  <a:pt x="1169975" y="1956930"/>
                </a:lnTo>
                <a:lnTo>
                  <a:pt x="1169975" y="1989163"/>
                </a:lnTo>
                <a:lnTo>
                  <a:pt x="1202207" y="1989163"/>
                </a:lnTo>
                <a:close/>
                <a:moveTo>
                  <a:pt x="1270787" y="2126323"/>
                </a:moveTo>
                <a:lnTo>
                  <a:pt x="1270787" y="2094090"/>
                </a:lnTo>
                <a:lnTo>
                  <a:pt x="1303020" y="2094090"/>
                </a:lnTo>
                <a:lnTo>
                  <a:pt x="1303020" y="2061858"/>
                </a:lnTo>
                <a:lnTo>
                  <a:pt x="1270787" y="2061858"/>
                </a:lnTo>
                <a:lnTo>
                  <a:pt x="1270787" y="2029625"/>
                </a:lnTo>
                <a:lnTo>
                  <a:pt x="1238555" y="2029625"/>
                </a:lnTo>
                <a:lnTo>
                  <a:pt x="1238555" y="2061858"/>
                </a:lnTo>
                <a:lnTo>
                  <a:pt x="1206322" y="2061858"/>
                </a:lnTo>
                <a:lnTo>
                  <a:pt x="1206322" y="2094090"/>
                </a:lnTo>
                <a:lnTo>
                  <a:pt x="1238555" y="2094090"/>
                </a:lnTo>
                <a:lnTo>
                  <a:pt x="1238555" y="2126323"/>
                </a:lnTo>
                <a:lnTo>
                  <a:pt x="1270787" y="2126323"/>
                </a:lnTo>
                <a:close/>
                <a:moveTo>
                  <a:pt x="1339367" y="1989163"/>
                </a:moveTo>
                <a:lnTo>
                  <a:pt x="1339367" y="1956930"/>
                </a:lnTo>
                <a:lnTo>
                  <a:pt x="1371600" y="1956930"/>
                </a:lnTo>
                <a:lnTo>
                  <a:pt x="1371600" y="1924698"/>
                </a:lnTo>
                <a:lnTo>
                  <a:pt x="1339367" y="1924698"/>
                </a:lnTo>
                <a:lnTo>
                  <a:pt x="1339367" y="1892465"/>
                </a:lnTo>
                <a:lnTo>
                  <a:pt x="1307135" y="1892465"/>
                </a:lnTo>
                <a:lnTo>
                  <a:pt x="1307135" y="1924698"/>
                </a:lnTo>
                <a:lnTo>
                  <a:pt x="1274902" y="1924698"/>
                </a:lnTo>
                <a:lnTo>
                  <a:pt x="1274902" y="1956930"/>
                </a:lnTo>
                <a:lnTo>
                  <a:pt x="1307135" y="1956930"/>
                </a:lnTo>
                <a:lnTo>
                  <a:pt x="1307135" y="1989163"/>
                </a:lnTo>
                <a:lnTo>
                  <a:pt x="1339367" y="1989163"/>
                </a:lnTo>
                <a:close/>
                <a:moveTo>
                  <a:pt x="2299487" y="2263483"/>
                </a:moveTo>
                <a:lnTo>
                  <a:pt x="2299487" y="2231250"/>
                </a:lnTo>
                <a:lnTo>
                  <a:pt x="2331720" y="2231250"/>
                </a:lnTo>
                <a:lnTo>
                  <a:pt x="2331720" y="2199018"/>
                </a:lnTo>
                <a:lnTo>
                  <a:pt x="2299487" y="2199018"/>
                </a:lnTo>
                <a:lnTo>
                  <a:pt x="2299487" y="2166785"/>
                </a:lnTo>
                <a:lnTo>
                  <a:pt x="2267255" y="2166785"/>
                </a:lnTo>
                <a:lnTo>
                  <a:pt x="2267255" y="2199018"/>
                </a:lnTo>
                <a:lnTo>
                  <a:pt x="2235022" y="2199018"/>
                </a:lnTo>
                <a:lnTo>
                  <a:pt x="2235022" y="2231250"/>
                </a:lnTo>
                <a:lnTo>
                  <a:pt x="2267255" y="2231250"/>
                </a:lnTo>
                <a:lnTo>
                  <a:pt x="2267255" y="2263483"/>
                </a:lnTo>
                <a:lnTo>
                  <a:pt x="2299487" y="2263483"/>
                </a:lnTo>
                <a:close/>
                <a:moveTo>
                  <a:pt x="2368067" y="2126323"/>
                </a:moveTo>
                <a:lnTo>
                  <a:pt x="2368067" y="2094090"/>
                </a:lnTo>
                <a:lnTo>
                  <a:pt x="2400300" y="2094090"/>
                </a:lnTo>
                <a:lnTo>
                  <a:pt x="2400300" y="2061858"/>
                </a:lnTo>
                <a:lnTo>
                  <a:pt x="2368067" y="2061858"/>
                </a:lnTo>
                <a:lnTo>
                  <a:pt x="2368067" y="2029625"/>
                </a:lnTo>
                <a:lnTo>
                  <a:pt x="2335835" y="2029625"/>
                </a:lnTo>
                <a:lnTo>
                  <a:pt x="2335835" y="2061858"/>
                </a:lnTo>
                <a:lnTo>
                  <a:pt x="2303602" y="2061858"/>
                </a:lnTo>
                <a:lnTo>
                  <a:pt x="2303602" y="2094090"/>
                </a:lnTo>
                <a:lnTo>
                  <a:pt x="2335835" y="2094090"/>
                </a:lnTo>
                <a:lnTo>
                  <a:pt x="2335835" y="2126323"/>
                </a:lnTo>
                <a:lnTo>
                  <a:pt x="2368067" y="2126323"/>
                </a:lnTo>
                <a:close/>
                <a:moveTo>
                  <a:pt x="1888007" y="2263483"/>
                </a:moveTo>
                <a:lnTo>
                  <a:pt x="1888007" y="2231250"/>
                </a:lnTo>
                <a:lnTo>
                  <a:pt x="1920240" y="2231250"/>
                </a:lnTo>
                <a:lnTo>
                  <a:pt x="1920240" y="2199018"/>
                </a:lnTo>
                <a:lnTo>
                  <a:pt x="1888007" y="2199018"/>
                </a:lnTo>
                <a:lnTo>
                  <a:pt x="1888007" y="2166785"/>
                </a:lnTo>
                <a:lnTo>
                  <a:pt x="1855775" y="2166785"/>
                </a:lnTo>
                <a:lnTo>
                  <a:pt x="1855775" y="2199018"/>
                </a:lnTo>
                <a:lnTo>
                  <a:pt x="1823542" y="2199018"/>
                </a:lnTo>
                <a:lnTo>
                  <a:pt x="1823542" y="2231250"/>
                </a:lnTo>
                <a:lnTo>
                  <a:pt x="1855775" y="2231250"/>
                </a:lnTo>
                <a:lnTo>
                  <a:pt x="1855775" y="2263483"/>
                </a:lnTo>
                <a:lnTo>
                  <a:pt x="1888007" y="2263483"/>
                </a:lnTo>
                <a:close/>
                <a:moveTo>
                  <a:pt x="2436647" y="2263483"/>
                </a:moveTo>
                <a:lnTo>
                  <a:pt x="2436647" y="2231250"/>
                </a:lnTo>
                <a:lnTo>
                  <a:pt x="2468880" y="2231250"/>
                </a:lnTo>
                <a:lnTo>
                  <a:pt x="2468880" y="2199018"/>
                </a:lnTo>
                <a:lnTo>
                  <a:pt x="2436647" y="2199018"/>
                </a:lnTo>
                <a:lnTo>
                  <a:pt x="2436647" y="2166785"/>
                </a:lnTo>
                <a:lnTo>
                  <a:pt x="2404415" y="2166785"/>
                </a:lnTo>
                <a:lnTo>
                  <a:pt x="2404415" y="2199018"/>
                </a:lnTo>
                <a:lnTo>
                  <a:pt x="2372182" y="2199018"/>
                </a:lnTo>
                <a:lnTo>
                  <a:pt x="2372182" y="2231250"/>
                </a:lnTo>
                <a:lnTo>
                  <a:pt x="2404415" y="2231250"/>
                </a:lnTo>
                <a:lnTo>
                  <a:pt x="2404415" y="2263483"/>
                </a:lnTo>
                <a:lnTo>
                  <a:pt x="2436647" y="2263483"/>
                </a:lnTo>
                <a:close/>
                <a:moveTo>
                  <a:pt x="2478481" y="463944"/>
                </a:moveTo>
                <a:lnTo>
                  <a:pt x="2499741" y="463944"/>
                </a:lnTo>
                <a:lnTo>
                  <a:pt x="2499741" y="442684"/>
                </a:lnTo>
                <a:lnTo>
                  <a:pt x="2521001" y="442684"/>
                </a:lnTo>
                <a:lnTo>
                  <a:pt x="2521001" y="421424"/>
                </a:lnTo>
                <a:lnTo>
                  <a:pt x="2499741" y="421424"/>
                </a:lnTo>
                <a:lnTo>
                  <a:pt x="2499741" y="400164"/>
                </a:lnTo>
                <a:lnTo>
                  <a:pt x="2478481" y="400164"/>
                </a:lnTo>
                <a:lnTo>
                  <a:pt x="2478481" y="421424"/>
                </a:lnTo>
                <a:lnTo>
                  <a:pt x="2457221" y="421424"/>
                </a:lnTo>
                <a:lnTo>
                  <a:pt x="2457221" y="442684"/>
                </a:lnTo>
                <a:lnTo>
                  <a:pt x="2478481" y="442684"/>
                </a:lnTo>
                <a:lnTo>
                  <a:pt x="2478481" y="463944"/>
                </a:lnTo>
                <a:close/>
                <a:moveTo>
                  <a:pt x="1238555" y="1755305"/>
                </a:moveTo>
                <a:lnTo>
                  <a:pt x="1238555" y="1787538"/>
                </a:lnTo>
                <a:lnTo>
                  <a:pt x="1206322" y="1787538"/>
                </a:lnTo>
                <a:lnTo>
                  <a:pt x="1206322" y="1819770"/>
                </a:lnTo>
                <a:lnTo>
                  <a:pt x="1238555" y="1819770"/>
                </a:lnTo>
                <a:lnTo>
                  <a:pt x="1238555" y="1852003"/>
                </a:lnTo>
                <a:lnTo>
                  <a:pt x="1270787" y="1852003"/>
                </a:lnTo>
                <a:lnTo>
                  <a:pt x="1270787" y="1819770"/>
                </a:lnTo>
                <a:lnTo>
                  <a:pt x="1303020" y="1819770"/>
                </a:lnTo>
                <a:lnTo>
                  <a:pt x="1303020" y="1787538"/>
                </a:lnTo>
                <a:lnTo>
                  <a:pt x="1270787" y="1787538"/>
                </a:lnTo>
                <a:lnTo>
                  <a:pt x="1270787" y="1755305"/>
                </a:lnTo>
                <a:lnTo>
                  <a:pt x="1238555" y="1755305"/>
                </a:lnTo>
                <a:close/>
                <a:moveTo>
                  <a:pt x="2025167" y="2263483"/>
                </a:moveTo>
                <a:lnTo>
                  <a:pt x="2025167" y="2231250"/>
                </a:lnTo>
                <a:lnTo>
                  <a:pt x="2057400" y="2231250"/>
                </a:lnTo>
                <a:lnTo>
                  <a:pt x="2057400" y="2199018"/>
                </a:lnTo>
                <a:lnTo>
                  <a:pt x="2025167" y="2199018"/>
                </a:lnTo>
                <a:lnTo>
                  <a:pt x="2025167" y="2166785"/>
                </a:lnTo>
                <a:lnTo>
                  <a:pt x="1992935" y="2166785"/>
                </a:lnTo>
                <a:lnTo>
                  <a:pt x="1992935" y="2199018"/>
                </a:lnTo>
                <a:lnTo>
                  <a:pt x="1960702" y="2199018"/>
                </a:lnTo>
                <a:lnTo>
                  <a:pt x="1960702" y="2231250"/>
                </a:lnTo>
                <a:lnTo>
                  <a:pt x="1992935" y="2231250"/>
                </a:lnTo>
                <a:lnTo>
                  <a:pt x="1992935" y="2263483"/>
                </a:lnTo>
                <a:lnTo>
                  <a:pt x="2025167" y="2263483"/>
                </a:lnTo>
                <a:close/>
                <a:moveTo>
                  <a:pt x="1956587" y="2126323"/>
                </a:moveTo>
                <a:lnTo>
                  <a:pt x="1956587" y="2094090"/>
                </a:lnTo>
                <a:lnTo>
                  <a:pt x="1988820" y="2094090"/>
                </a:lnTo>
                <a:lnTo>
                  <a:pt x="1988820" y="2061858"/>
                </a:lnTo>
                <a:lnTo>
                  <a:pt x="1956587" y="2061858"/>
                </a:lnTo>
                <a:lnTo>
                  <a:pt x="1956587" y="2029625"/>
                </a:lnTo>
                <a:lnTo>
                  <a:pt x="1924355" y="2029625"/>
                </a:lnTo>
                <a:lnTo>
                  <a:pt x="1924355" y="2061858"/>
                </a:lnTo>
                <a:lnTo>
                  <a:pt x="1892122" y="2061858"/>
                </a:lnTo>
                <a:lnTo>
                  <a:pt x="1892122" y="2094090"/>
                </a:lnTo>
                <a:lnTo>
                  <a:pt x="1924355" y="2094090"/>
                </a:lnTo>
                <a:lnTo>
                  <a:pt x="1924355" y="2126323"/>
                </a:lnTo>
                <a:lnTo>
                  <a:pt x="1956587" y="2126323"/>
                </a:lnTo>
                <a:close/>
                <a:moveTo>
                  <a:pt x="2093747" y="2126323"/>
                </a:moveTo>
                <a:lnTo>
                  <a:pt x="2093747" y="2094090"/>
                </a:lnTo>
                <a:lnTo>
                  <a:pt x="2125980" y="2094090"/>
                </a:lnTo>
                <a:lnTo>
                  <a:pt x="2125980" y="2061858"/>
                </a:lnTo>
                <a:lnTo>
                  <a:pt x="2093747" y="2061858"/>
                </a:lnTo>
                <a:lnTo>
                  <a:pt x="2093747" y="2029625"/>
                </a:lnTo>
                <a:lnTo>
                  <a:pt x="2061515" y="2029625"/>
                </a:lnTo>
                <a:lnTo>
                  <a:pt x="2061515" y="2061858"/>
                </a:lnTo>
                <a:lnTo>
                  <a:pt x="2029282" y="2061858"/>
                </a:lnTo>
                <a:lnTo>
                  <a:pt x="2029282" y="2094090"/>
                </a:lnTo>
                <a:lnTo>
                  <a:pt x="2061515" y="2094090"/>
                </a:lnTo>
                <a:lnTo>
                  <a:pt x="2061515" y="2126323"/>
                </a:lnTo>
                <a:lnTo>
                  <a:pt x="2093747" y="2126323"/>
                </a:lnTo>
                <a:close/>
                <a:moveTo>
                  <a:pt x="2162327" y="2263483"/>
                </a:moveTo>
                <a:lnTo>
                  <a:pt x="2162327" y="2231250"/>
                </a:lnTo>
                <a:lnTo>
                  <a:pt x="2194560" y="2231250"/>
                </a:lnTo>
                <a:lnTo>
                  <a:pt x="2194560" y="2199018"/>
                </a:lnTo>
                <a:lnTo>
                  <a:pt x="2162327" y="2199018"/>
                </a:lnTo>
                <a:lnTo>
                  <a:pt x="2162327" y="2166785"/>
                </a:lnTo>
                <a:lnTo>
                  <a:pt x="2130095" y="2166785"/>
                </a:lnTo>
                <a:lnTo>
                  <a:pt x="2130095" y="2199018"/>
                </a:lnTo>
                <a:lnTo>
                  <a:pt x="2097862" y="2199018"/>
                </a:lnTo>
                <a:lnTo>
                  <a:pt x="2097862" y="2231250"/>
                </a:lnTo>
                <a:lnTo>
                  <a:pt x="2130095" y="2231250"/>
                </a:lnTo>
                <a:lnTo>
                  <a:pt x="2130095" y="2263483"/>
                </a:lnTo>
                <a:lnTo>
                  <a:pt x="2162327" y="2263483"/>
                </a:lnTo>
                <a:close/>
                <a:moveTo>
                  <a:pt x="1581455" y="1618145"/>
                </a:moveTo>
                <a:lnTo>
                  <a:pt x="1581455" y="1650378"/>
                </a:lnTo>
                <a:lnTo>
                  <a:pt x="1549222" y="1650378"/>
                </a:lnTo>
                <a:lnTo>
                  <a:pt x="1549222" y="1682610"/>
                </a:lnTo>
                <a:lnTo>
                  <a:pt x="1581455" y="1682610"/>
                </a:lnTo>
                <a:lnTo>
                  <a:pt x="1581455" y="1714843"/>
                </a:lnTo>
                <a:lnTo>
                  <a:pt x="1613687" y="1714843"/>
                </a:lnTo>
                <a:lnTo>
                  <a:pt x="1613687" y="1682610"/>
                </a:lnTo>
                <a:lnTo>
                  <a:pt x="1645920" y="1682610"/>
                </a:lnTo>
                <a:lnTo>
                  <a:pt x="1645920" y="1650378"/>
                </a:lnTo>
                <a:lnTo>
                  <a:pt x="1613687" y="1650378"/>
                </a:lnTo>
                <a:lnTo>
                  <a:pt x="1613687" y="1618145"/>
                </a:lnTo>
                <a:lnTo>
                  <a:pt x="1581455" y="1618145"/>
                </a:lnTo>
                <a:close/>
                <a:moveTo>
                  <a:pt x="2198675" y="1755305"/>
                </a:moveTo>
                <a:lnTo>
                  <a:pt x="2198675" y="1787538"/>
                </a:lnTo>
                <a:lnTo>
                  <a:pt x="2166442" y="1787538"/>
                </a:lnTo>
                <a:lnTo>
                  <a:pt x="2166442" y="1819770"/>
                </a:lnTo>
                <a:lnTo>
                  <a:pt x="2198675" y="1819770"/>
                </a:lnTo>
                <a:lnTo>
                  <a:pt x="2198675" y="1852003"/>
                </a:lnTo>
                <a:lnTo>
                  <a:pt x="2230907" y="1852003"/>
                </a:lnTo>
                <a:lnTo>
                  <a:pt x="2230907" y="1819770"/>
                </a:lnTo>
                <a:lnTo>
                  <a:pt x="2263140" y="1819770"/>
                </a:lnTo>
                <a:lnTo>
                  <a:pt x="2263140" y="1787538"/>
                </a:lnTo>
                <a:lnTo>
                  <a:pt x="2230907" y="1787538"/>
                </a:lnTo>
                <a:lnTo>
                  <a:pt x="2230907" y="1755305"/>
                </a:lnTo>
                <a:lnTo>
                  <a:pt x="2198675" y="1755305"/>
                </a:lnTo>
                <a:close/>
                <a:moveTo>
                  <a:pt x="2267255" y="1618145"/>
                </a:moveTo>
                <a:lnTo>
                  <a:pt x="2267255" y="1650378"/>
                </a:lnTo>
                <a:lnTo>
                  <a:pt x="2235022" y="1650378"/>
                </a:lnTo>
                <a:lnTo>
                  <a:pt x="2235022" y="1682610"/>
                </a:lnTo>
                <a:lnTo>
                  <a:pt x="2267255" y="1682610"/>
                </a:lnTo>
                <a:lnTo>
                  <a:pt x="2267255" y="1714843"/>
                </a:lnTo>
                <a:lnTo>
                  <a:pt x="2299487" y="1714843"/>
                </a:lnTo>
                <a:lnTo>
                  <a:pt x="2299487" y="1682610"/>
                </a:lnTo>
                <a:lnTo>
                  <a:pt x="2331720" y="1682610"/>
                </a:lnTo>
                <a:lnTo>
                  <a:pt x="2331720" y="1650378"/>
                </a:lnTo>
                <a:lnTo>
                  <a:pt x="2299487" y="1650378"/>
                </a:lnTo>
                <a:lnTo>
                  <a:pt x="2299487" y="1618145"/>
                </a:lnTo>
                <a:lnTo>
                  <a:pt x="2267255" y="1618145"/>
                </a:lnTo>
                <a:close/>
                <a:moveTo>
                  <a:pt x="2061515" y="1755305"/>
                </a:moveTo>
                <a:lnTo>
                  <a:pt x="2061515" y="1787538"/>
                </a:lnTo>
                <a:lnTo>
                  <a:pt x="2029282" y="1787538"/>
                </a:lnTo>
                <a:lnTo>
                  <a:pt x="2029282" y="1819770"/>
                </a:lnTo>
                <a:lnTo>
                  <a:pt x="2061515" y="1819770"/>
                </a:lnTo>
                <a:lnTo>
                  <a:pt x="2061515" y="1852003"/>
                </a:lnTo>
                <a:lnTo>
                  <a:pt x="2093747" y="1852003"/>
                </a:lnTo>
                <a:lnTo>
                  <a:pt x="2093747" y="1819770"/>
                </a:lnTo>
                <a:lnTo>
                  <a:pt x="2125980" y="1819770"/>
                </a:lnTo>
                <a:lnTo>
                  <a:pt x="2125980" y="1787538"/>
                </a:lnTo>
                <a:lnTo>
                  <a:pt x="2093747" y="1787538"/>
                </a:lnTo>
                <a:lnTo>
                  <a:pt x="2093747" y="1755305"/>
                </a:lnTo>
                <a:lnTo>
                  <a:pt x="2061515" y="1755305"/>
                </a:lnTo>
                <a:close/>
                <a:moveTo>
                  <a:pt x="2335835" y="1755305"/>
                </a:moveTo>
                <a:lnTo>
                  <a:pt x="2335835" y="1787538"/>
                </a:lnTo>
                <a:lnTo>
                  <a:pt x="2303602" y="1787538"/>
                </a:lnTo>
                <a:lnTo>
                  <a:pt x="2303602" y="1819770"/>
                </a:lnTo>
                <a:lnTo>
                  <a:pt x="2335835" y="1819770"/>
                </a:lnTo>
                <a:lnTo>
                  <a:pt x="2335835" y="1852003"/>
                </a:lnTo>
                <a:lnTo>
                  <a:pt x="2368067" y="1852003"/>
                </a:lnTo>
                <a:lnTo>
                  <a:pt x="2368067" y="1819770"/>
                </a:lnTo>
                <a:lnTo>
                  <a:pt x="2400300" y="1819770"/>
                </a:lnTo>
                <a:lnTo>
                  <a:pt x="2400300" y="1787538"/>
                </a:lnTo>
                <a:lnTo>
                  <a:pt x="2368067" y="1787538"/>
                </a:lnTo>
                <a:lnTo>
                  <a:pt x="2368067" y="1755305"/>
                </a:lnTo>
                <a:lnTo>
                  <a:pt x="2335835" y="1755305"/>
                </a:lnTo>
                <a:close/>
                <a:moveTo>
                  <a:pt x="2130095" y="1618145"/>
                </a:moveTo>
                <a:lnTo>
                  <a:pt x="2130095" y="1650378"/>
                </a:lnTo>
                <a:lnTo>
                  <a:pt x="2097862" y="1650378"/>
                </a:lnTo>
                <a:lnTo>
                  <a:pt x="2097862" y="1682610"/>
                </a:lnTo>
                <a:lnTo>
                  <a:pt x="2130095" y="1682610"/>
                </a:lnTo>
                <a:lnTo>
                  <a:pt x="2130095" y="1714843"/>
                </a:lnTo>
                <a:lnTo>
                  <a:pt x="2162327" y="1714843"/>
                </a:lnTo>
                <a:lnTo>
                  <a:pt x="2162327" y="1682610"/>
                </a:lnTo>
                <a:lnTo>
                  <a:pt x="2194560" y="1682610"/>
                </a:lnTo>
                <a:lnTo>
                  <a:pt x="2194560" y="1650378"/>
                </a:lnTo>
                <a:lnTo>
                  <a:pt x="2162327" y="1650378"/>
                </a:lnTo>
                <a:lnTo>
                  <a:pt x="2162327" y="1618145"/>
                </a:lnTo>
                <a:lnTo>
                  <a:pt x="2130095" y="1618145"/>
                </a:lnTo>
                <a:close/>
                <a:moveTo>
                  <a:pt x="2299487" y="1989163"/>
                </a:moveTo>
                <a:lnTo>
                  <a:pt x="2299487" y="1956930"/>
                </a:lnTo>
                <a:lnTo>
                  <a:pt x="2331720" y="1956930"/>
                </a:lnTo>
                <a:lnTo>
                  <a:pt x="2331720" y="1924698"/>
                </a:lnTo>
                <a:lnTo>
                  <a:pt x="2299487" y="1924698"/>
                </a:lnTo>
                <a:lnTo>
                  <a:pt x="2299487" y="1892465"/>
                </a:lnTo>
                <a:lnTo>
                  <a:pt x="2267255" y="1892465"/>
                </a:lnTo>
                <a:lnTo>
                  <a:pt x="2267255" y="1924698"/>
                </a:lnTo>
                <a:lnTo>
                  <a:pt x="2235022" y="1924698"/>
                </a:lnTo>
                <a:lnTo>
                  <a:pt x="2235022" y="1956930"/>
                </a:lnTo>
                <a:lnTo>
                  <a:pt x="2267255" y="1956930"/>
                </a:lnTo>
                <a:lnTo>
                  <a:pt x="2267255" y="1989163"/>
                </a:lnTo>
                <a:lnTo>
                  <a:pt x="2299487" y="1989163"/>
                </a:lnTo>
                <a:close/>
                <a:moveTo>
                  <a:pt x="2404415" y="1892465"/>
                </a:moveTo>
                <a:lnTo>
                  <a:pt x="2404415" y="1924698"/>
                </a:lnTo>
                <a:lnTo>
                  <a:pt x="2372182" y="1924698"/>
                </a:lnTo>
                <a:lnTo>
                  <a:pt x="2372182" y="1956930"/>
                </a:lnTo>
                <a:lnTo>
                  <a:pt x="2404415" y="1956930"/>
                </a:lnTo>
                <a:lnTo>
                  <a:pt x="2404415" y="1989163"/>
                </a:lnTo>
                <a:lnTo>
                  <a:pt x="2436647" y="1989163"/>
                </a:lnTo>
                <a:lnTo>
                  <a:pt x="2436647" y="1956930"/>
                </a:lnTo>
                <a:lnTo>
                  <a:pt x="2468880" y="1956930"/>
                </a:lnTo>
                <a:lnTo>
                  <a:pt x="2468880" y="1924698"/>
                </a:lnTo>
                <a:lnTo>
                  <a:pt x="2436647" y="1924698"/>
                </a:lnTo>
                <a:lnTo>
                  <a:pt x="2436647" y="1892465"/>
                </a:lnTo>
                <a:lnTo>
                  <a:pt x="2404415" y="1892465"/>
                </a:lnTo>
                <a:close/>
                <a:moveTo>
                  <a:pt x="2162327" y="1989163"/>
                </a:moveTo>
                <a:lnTo>
                  <a:pt x="2162327" y="1956930"/>
                </a:lnTo>
                <a:lnTo>
                  <a:pt x="2194560" y="1956930"/>
                </a:lnTo>
                <a:lnTo>
                  <a:pt x="2194560" y="1924698"/>
                </a:lnTo>
                <a:lnTo>
                  <a:pt x="2162327" y="1924698"/>
                </a:lnTo>
                <a:lnTo>
                  <a:pt x="2162327" y="1892465"/>
                </a:lnTo>
                <a:lnTo>
                  <a:pt x="2130095" y="1892465"/>
                </a:lnTo>
                <a:lnTo>
                  <a:pt x="2130095" y="1924698"/>
                </a:lnTo>
                <a:lnTo>
                  <a:pt x="2097862" y="1924698"/>
                </a:lnTo>
                <a:lnTo>
                  <a:pt x="2097862" y="1956930"/>
                </a:lnTo>
                <a:lnTo>
                  <a:pt x="2130095" y="1956930"/>
                </a:lnTo>
                <a:lnTo>
                  <a:pt x="2130095" y="1989163"/>
                </a:lnTo>
                <a:lnTo>
                  <a:pt x="2162327" y="1989163"/>
                </a:lnTo>
                <a:close/>
                <a:moveTo>
                  <a:pt x="2472995" y="1755305"/>
                </a:moveTo>
                <a:lnTo>
                  <a:pt x="2472995" y="1787538"/>
                </a:lnTo>
                <a:lnTo>
                  <a:pt x="2440762" y="1787538"/>
                </a:lnTo>
                <a:lnTo>
                  <a:pt x="2440762" y="1819770"/>
                </a:lnTo>
                <a:lnTo>
                  <a:pt x="2472995" y="1819770"/>
                </a:lnTo>
                <a:lnTo>
                  <a:pt x="2472995" y="1852003"/>
                </a:lnTo>
                <a:lnTo>
                  <a:pt x="2505227" y="1852003"/>
                </a:lnTo>
                <a:lnTo>
                  <a:pt x="2505227" y="1819770"/>
                </a:lnTo>
                <a:lnTo>
                  <a:pt x="2537460" y="1819770"/>
                </a:lnTo>
                <a:lnTo>
                  <a:pt x="2537460" y="1787538"/>
                </a:lnTo>
                <a:lnTo>
                  <a:pt x="2505227" y="1787538"/>
                </a:lnTo>
                <a:lnTo>
                  <a:pt x="2505227" y="1755305"/>
                </a:lnTo>
                <a:lnTo>
                  <a:pt x="2472995" y="1755305"/>
                </a:lnTo>
                <a:close/>
                <a:moveTo>
                  <a:pt x="1924355" y="1755305"/>
                </a:moveTo>
                <a:lnTo>
                  <a:pt x="1924355" y="1787538"/>
                </a:lnTo>
                <a:lnTo>
                  <a:pt x="1892122" y="1787538"/>
                </a:lnTo>
                <a:lnTo>
                  <a:pt x="1892122" y="1819770"/>
                </a:lnTo>
                <a:lnTo>
                  <a:pt x="1924355" y="1819770"/>
                </a:lnTo>
                <a:lnTo>
                  <a:pt x="1924355" y="1852003"/>
                </a:lnTo>
                <a:lnTo>
                  <a:pt x="1956587" y="1852003"/>
                </a:lnTo>
                <a:lnTo>
                  <a:pt x="1956587" y="1819770"/>
                </a:lnTo>
                <a:lnTo>
                  <a:pt x="1988820" y="1819770"/>
                </a:lnTo>
                <a:lnTo>
                  <a:pt x="1988820" y="1787538"/>
                </a:lnTo>
                <a:lnTo>
                  <a:pt x="1956587" y="1787538"/>
                </a:lnTo>
                <a:lnTo>
                  <a:pt x="1956587" y="1755305"/>
                </a:lnTo>
                <a:lnTo>
                  <a:pt x="1924355" y="1755305"/>
                </a:lnTo>
                <a:close/>
                <a:moveTo>
                  <a:pt x="1650035" y="1755305"/>
                </a:moveTo>
                <a:lnTo>
                  <a:pt x="1650035" y="1787538"/>
                </a:lnTo>
                <a:lnTo>
                  <a:pt x="1617802" y="1787538"/>
                </a:lnTo>
                <a:lnTo>
                  <a:pt x="1617802" y="1819770"/>
                </a:lnTo>
                <a:lnTo>
                  <a:pt x="1650035" y="1819770"/>
                </a:lnTo>
                <a:lnTo>
                  <a:pt x="1650035" y="1852003"/>
                </a:lnTo>
                <a:lnTo>
                  <a:pt x="1682267" y="1852003"/>
                </a:lnTo>
                <a:lnTo>
                  <a:pt x="1682267" y="1819770"/>
                </a:lnTo>
                <a:lnTo>
                  <a:pt x="1714500" y="1819770"/>
                </a:lnTo>
                <a:lnTo>
                  <a:pt x="1714500" y="1787538"/>
                </a:lnTo>
                <a:lnTo>
                  <a:pt x="1682267" y="1787538"/>
                </a:lnTo>
                <a:lnTo>
                  <a:pt x="1682267" y="1755305"/>
                </a:lnTo>
                <a:lnTo>
                  <a:pt x="1650035" y="1755305"/>
                </a:lnTo>
                <a:close/>
                <a:moveTo>
                  <a:pt x="2025167" y="1989163"/>
                </a:moveTo>
                <a:lnTo>
                  <a:pt x="2025167" y="1956930"/>
                </a:lnTo>
                <a:lnTo>
                  <a:pt x="2057400" y="1956930"/>
                </a:lnTo>
                <a:lnTo>
                  <a:pt x="2057400" y="1924698"/>
                </a:lnTo>
                <a:lnTo>
                  <a:pt x="2025167" y="1924698"/>
                </a:lnTo>
                <a:lnTo>
                  <a:pt x="2025167" y="1892465"/>
                </a:lnTo>
                <a:lnTo>
                  <a:pt x="1992935" y="1892465"/>
                </a:lnTo>
                <a:lnTo>
                  <a:pt x="1992935" y="1924698"/>
                </a:lnTo>
                <a:lnTo>
                  <a:pt x="1960702" y="1924698"/>
                </a:lnTo>
                <a:lnTo>
                  <a:pt x="1960702" y="1956930"/>
                </a:lnTo>
                <a:lnTo>
                  <a:pt x="1992935" y="1956930"/>
                </a:lnTo>
                <a:lnTo>
                  <a:pt x="1992935" y="1989163"/>
                </a:lnTo>
                <a:lnTo>
                  <a:pt x="2025167" y="1989163"/>
                </a:lnTo>
                <a:close/>
                <a:moveTo>
                  <a:pt x="1992935" y="1618145"/>
                </a:moveTo>
                <a:lnTo>
                  <a:pt x="1992935" y="1650378"/>
                </a:lnTo>
                <a:lnTo>
                  <a:pt x="1960702" y="1650378"/>
                </a:lnTo>
                <a:lnTo>
                  <a:pt x="1960702" y="1682610"/>
                </a:lnTo>
                <a:lnTo>
                  <a:pt x="1992935" y="1682610"/>
                </a:lnTo>
                <a:lnTo>
                  <a:pt x="1992935" y="1714843"/>
                </a:lnTo>
                <a:lnTo>
                  <a:pt x="2025167" y="1714843"/>
                </a:lnTo>
                <a:lnTo>
                  <a:pt x="2025167" y="1682610"/>
                </a:lnTo>
                <a:lnTo>
                  <a:pt x="2057400" y="1682610"/>
                </a:lnTo>
                <a:lnTo>
                  <a:pt x="2057400" y="1650378"/>
                </a:lnTo>
                <a:lnTo>
                  <a:pt x="2025167" y="1650378"/>
                </a:lnTo>
                <a:lnTo>
                  <a:pt x="2025167" y="1618145"/>
                </a:lnTo>
                <a:lnTo>
                  <a:pt x="1992935" y="1618145"/>
                </a:lnTo>
                <a:close/>
                <a:moveTo>
                  <a:pt x="1444295" y="1618145"/>
                </a:moveTo>
                <a:lnTo>
                  <a:pt x="1444295" y="1650378"/>
                </a:lnTo>
                <a:lnTo>
                  <a:pt x="1412062" y="1650378"/>
                </a:lnTo>
                <a:lnTo>
                  <a:pt x="1412062" y="1682610"/>
                </a:lnTo>
                <a:lnTo>
                  <a:pt x="1444295" y="1682610"/>
                </a:lnTo>
                <a:lnTo>
                  <a:pt x="1444295" y="1714843"/>
                </a:lnTo>
                <a:lnTo>
                  <a:pt x="1476527" y="1714843"/>
                </a:lnTo>
                <a:lnTo>
                  <a:pt x="1476527" y="1682610"/>
                </a:lnTo>
                <a:lnTo>
                  <a:pt x="1508760" y="1682610"/>
                </a:lnTo>
                <a:lnTo>
                  <a:pt x="1508760" y="1650378"/>
                </a:lnTo>
                <a:lnTo>
                  <a:pt x="1476527" y="1650378"/>
                </a:lnTo>
                <a:lnTo>
                  <a:pt x="1476527" y="1618145"/>
                </a:lnTo>
                <a:lnTo>
                  <a:pt x="1444295" y="1618145"/>
                </a:lnTo>
                <a:close/>
                <a:moveTo>
                  <a:pt x="1512875" y="1755305"/>
                </a:moveTo>
                <a:lnTo>
                  <a:pt x="1512875" y="1787538"/>
                </a:lnTo>
                <a:lnTo>
                  <a:pt x="1480642" y="1787538"/>
                </a:lnTo>
                <a:lnTo>
                  <a:pt x="1480642" y="1819770"/>
                </a:lnTo>
                <a:lnTo>
                  <a:pt x="1512875" y="1819770"/>
                </a:lnTo>
                <a:lnTo>
                  <a:pt x="1512875" y="1852003"/>
                </a:lnTo>
                <a:lnTo>
                  <a:pt x="1545107" y="1852003"/>
                </a:lnTo>
                <a:lnTo>
                  <a:pt x="1545107" y="1819770"/>
                </a:lnTo>
                <a:lnTo>
                  <a:pt x="1577340" y="1819770"/>
                </a:lnTo>
                <a:lnTo>
                  <a:pt x="1577340" y="1787538"/>
                </a:lnTo>
                <a:lnTo>
                  <a:pt x="1545107" y="1787538"/>
                </a:lnTo>
                <a:lnTo>
                  <a:pt x="1545107" y="1755305"/>
                </a:lnTo>
                <a:lnTo>
                  <a:pt x="1512875" y="1755305"/>
                </a:lnTo>
                <a:close/>
                <a:moveTo>
                  <a:pt x="1855775" y="1618145"/>
                </a:moveTo>
                <a:lnTo>
                  <a:pt x="1855775" y="1650378"/>
                </a:lnTo>
                <a:lnTo>
                  <a:pt x="1823542" y="1650378"/>
                </a:lnTo>
                <a:lnTo>
                  <a:pt x="1823542" y="1682610"/>
                </a:lnTo>
                <a:lnTo>
                  <a:pt x="1855775" y="1682610"/>
                </a:lnTo>
                <a:lnTo>
                  <a:pt x="1855775" y="1714843"/>
                </a:lnTo>
                <a:lnTo>
                  <a:pt x="1888007" y="1714843"/>
                </a:lnTo>
                <a:lnTo>
                  <a:pt x="1888007" y="1682610"/>
                </a:lnTo>
                <a:lnTo>
                  <a:pt x="1920240" y="1682610"/>
                </a:lnTo>
                <a:lnTo>
                  <a:pt x="1920240" y="1650378"/>
                </a:lnTo>
                <a:lnTo>
                  <a:pt x="1888007" y="1650378"/>
                </a:lnTo>
                <a:lnTo>
                  <a:pt x="1888007" y="1618145"/>
                </a:lnTo>
                <a:lnTo>
                  <a:pt x="1855775" y="1618145"/>
                </a:lnTo>
                <a:close/>
                <a:moveTo>
                  <a:pt x="1375715" y="1755305"/>
                </a:moveTo>
                <a:lnTo>
                  <a:pt x="1375715" y="1787538"/>
                </a:lnTo>
                <a:lnTo>
                  <a:pt x="1343482" y="1787538"/>
                </a:lnTo>
                <a:lnTo>
                  <a:pt x="1343482" y="1819770"/>
                </a:lnTo>
                <a:lnTo>
                  <a:pt x="1375715" y="1819770"/>
                </a:lnTo>
                <a:lnTo>
                  <a:pt x="1375715" y="1852003"/>
                </a:lnTo>
                <a:lnTo>
                  <a:pt x="1407947" y="1852003"/>
                </a:lnTo>
                <a:lnTo>
                  <a:pt x="1407947" y="1819770"/>
                </a:lnTo>
                <a:lnTo>
                  <a:pt x="1440180" y="1819770"/>
                </a:lnTo>
                <a:lnTo>
                  <a:pt x="1440180" y="1787538"/>
                </a:lnTo>
                <a:lnTo>
                  <a:pt x="1407947" y="1787538"/>
                </a:lnTo>
                <a:lnTo>
                  <a:pt x="1407947" y="1755305"/>
                </a:lnTo>
                <a:lnTo>
                  <a:pt x="1375715" y="1755305"/>
                </a:lnTo>
                <a:close/>
                <a:moveTo>
                  <a:pt x="1718615" y="1618145"/>
                </a:moveTo>
                <a:lnTo>
                  <a:pt x="1718615" y="1650378"/>
                </a:lnTo>
                <a:lnTo>
                  <a:pt x="1686382" y="1650378"/>
                </a:lnTo>
                <a:lnTo>
                  <a:pt x="1686382" y="1682610"/>
                </a:lnTo>
                <a:lnTo>
                  <a:pt x="1718615" y="1682610"/>
                </a:lnTo>
                <a:lnTo>
                  <a:pt x="1718615" y="1714843"/>
                </a:lnTo>
                <a:lnTo>
                  <a:pt x="1750847" y="1714843"/>
                </a:lnTo>
                <a:lnTo>
                  <a:pt x="1750847" y="1682610"/>
                </a:lnTo>
                <a:lnTo>
                  <a:pt x="1783080" y="1682610"/>
                </a:lnTo>
                <a:lnTo>
                  <a:pt x="1783080" y="1650378"/>
                </a:lnTo>
                <a:lnTo>
                  <a:pt x="1750847" y="1650378"/>
                </a:lnTo>
                <a:lnTo>
                  <a:pt x="1750847" y="1618145"/>
                </a:lnTo>
                <a:lnTo>
                  <a:pt x="1718615" y="1618145"/>
                </a:lnTo>
                <a:close/>
                <a:moveTo>
                  <a:pt x="1787195" y="1755305"/>
                </a:moveTo>
                <a:lnTo>
                  <a:pt x="1787195" y="1787538"/>
                </a:lnTo>
                <a:lnTo>
                  <a:pt x="1754962" y="1787538"/>
                </a:lnTo>
                <a:lnTo>
                  <a:pt x="1754962" y="1819770"/>
                </a:lnTo>
                <a:lnTo>
                  <a:pt x="1787195" y="1819770"/>
                </a:lnTo>
                <a:lnTo>
                  <a:pt x="1787195" y="1852003"/>
                </a:lnTo>
                <a:lnTo>
                  <a:pt x="1819427" y="1852003"/>
                </a:lnTo>
                <a:lnTo>
                  <a:pt x="1819427" y="1819770"/>
                </a:lnTo>
                <a:lnTo>
                  <a:pt x="1851660" y="1819770"/>
                </a:lnTo>
                <a:lnTo>
                  <a:pt x="1851660" y="1787538"/>
                </a:lnTo>
                <a:lnTo>
                  <a:pt x="1819427" y="1787538"/>
                </a:lnTo>
                <a:lnTo>
                  <a:pt x="1819427" y="1755305"/>
                </a:lnTo>
                <a:lnTo>
                  <a:pt x="1787195" y="1755305"/>
                </a:lnTo>
                <a:close/>
                <a:moveTo>
                  <a:pt x="626135" y="1151801"/>
                </a:moveTo>
                <a:lnTo>
                  <a:pt x="648767" y="1151801"/>
                </a:lnTo>
                <a:lnTo>
                  <a:pt x="648767" y="1129170"/>
                </a:lnTo>
                <a:lnTo>
                  <a:pt x="671398" y="1129170"/>
                </a:lnTo>
                <a:lnTo>
                  <a:pt x="671398" y="1106538"/>
                </a:lnTo>
                <a:lnTo>
                  <a:pt x="648767" y="1106538"/>
                </a:lnTo>
                <a:lnTo>
                  <a:pt x="648767" y="1083907"/>
                </a:lnTo>
                <a:lnTo>
                  <a:pt x="626135" y="1083907"/>
                </a:lnTo>
                <a:lnTo>
                  <a:pt x="626135" y="1106538"/>
                </a:lnTo>
                <a:lnTo>
                  <a:pt x="603504" y="1106538"/>
                </a:lnTo>
                <a:lnTo>
                  <a:pt x="603504" y="1129170"/>
                </a:lnTo>
                <a:lnTo>
                  <a:pt x="626135" y="1129170"/>
                </a:lnTo>
                <a:lnTo>
                  <a:pt x="626135" y="1151801"/>
                </a:lnTo>
                <a:close/>
                <a:moveTo>
                  <a:pt x="697116" y="733463"/>
                </a:moveTo>
                <a:lnTo>
                  <a:pt x="714946" y="733463"/>
                </a:lnTo>
                <a:lnTo>
                  <a:pt x="714946" y="715289"/>
                </a:lnTo>
                <a:lnTo>
                  <a:pt x="733120" y="715289"/>
                </a:lnTo>
                <a:lnTo>
                  <a:pt x="733120" y="697459"/>
                </a:lnTo>
                <a:lnTo>
                  <a:pt x="714946" y="697459"/>
                </a:lnTo>
                <a:lnTo>
                  <a:pt x="714946" y="679285"/>
                </a:lnTo>
                <a:lnTo>
                  <a:pt x="697116" y="679285"/>
                </a:lnTo>
                <a:lnTo>
                  <a:pt x="697116" y="697459"/>
                </a:lnTo>
                <a:lnTo>
                  <a:pt x="678942" y="697459"/>
                </a:lnTo>
                <a:lnTo>
                  <a:pt x="678942" y="715289"/>
                </a:lnTo>
                <a:lnTo>
                  <a:pt x="697116" y="715289"/>
                </a:lnTo>
                <a:lnTo>
                  <a:pt x="697116" y="733463"/>
                </a:lnTo>
                <a:close/>
                <a:moveTo>
                  <a:pt x="695058" y="1013955"/>
                </a:moveTo>
                <a:lnTo>
                  <a:pt x="717004" y="1013955"/>
                </a:lnTo>
                <a:lnTo>
                  <a:pt x="717004" y="991667"/>
                </a:lnTo>
                <a:lnTo>
                  <a:pt x="739292" y="991667"/>
                </a:lnTo>
                <a:lnTo>
                  <a:pt x="739292" y="969721"/>
                </a:lnTo>
                <a:lnTo>
                  <a:pt x="717004" y="969721"/>
                </a:lnTo>
                <a:lnTo>
                  <a:pt x="717004" y="947433"/>
                </a:lnTo>
                <a:lnTo>
                  <a:pt x="695058" y="947433"/>
                </a:lnTo>
                <a:lnTo>
                  <a:pt x="695058" y="969721"/>
                </a:lnTo>
                <a:lnTo>
                  <a:pt x="672770" y="969721"/>
                </a:lnTo>
                <a:lnTo>
                  <a:pt x="672770" y="991667"/>
                </a:lnTo>
                <a:lnTo>
                  <a:pt x="695058" y="991667"/>
                </a:lnTo>
                <a:lnTo>
                  <a:pt x="695058" y="1013955"/>
                </a:lnTo>
                <a:close/>
                <a:moveTo>
                  <a:pt x="766381" y="594246"/>
                </a:moveTo>
                <a:lnTo>
                  <a:pt x="782841" y="594246"/>
                </a:lnTo>
                <a:lnTo>
                  <a:pt x="782841" y="577444"/>
                </a:lnTo>
                <a:lnTo>
                  <a:pt x="799643" y="577444"/>
                </a:lnTo>
                <a:lnTo>
                  <a:pt x="799643" y="560984"/>
                </a:lnTo>
                <a:lnTo>
                  <a:pt x="782841" y="560984"/>
                </a:lnTo>
                <a:lnTo>
                  <a:pt x="782841" y="544182"/>
                </a:lnTo>
                <a:lnTo>
                  <a:pt x="766381" y="544182"/>
                </a:lnTo>
                <a:lnTo>
                  <a:pt x="766381" y="560984"/>
                </a:lnTo>
                <a:lnTo>
                  <a:pt x="749579" y="560984"/>
                </a:lnTo>
                <a:lnTo>
                  <a:pt x="749579" y="577444"/>
                </a:lnTo>
                <a:lnTo>
                  <a:pt x="766381" y="577444"/>
                </a:lnTo>
                <a:lnTo>
                  <a:pt x="766381" y="594246"/>
                </a:lnTo>
                <a:close/>
                <a:moveTo>
                  <a:pt x="763981" y="875424"/>
                </a:moveTo>
                <a:lnTo>
                  <a:pt x="785241" y="875424"/>
                </a:lnTo>
                <a:lnTo>
                  <a:pt x="785241" y="854164"/>
                </a:lnTo>
                <a:lnTo>
                  <a:pt x="806501" y="854164"/>
                </a:lnTo>
                <a:lnTo>
                  <a:pt x="806501" y="832904"/>
                </a:lnTo>
                <a:lnTo>
                  <a:pt x="785241" y="832904"/>
                </a:lnTo>
                <a:lnTo>
                  <a:pt x="785241" y="811644"/>
                </a:lnTo>
                <a:lnTo>
                  <a:pt x="763981" y="811644"/>
                </a:lnTo>
                <a:lnTo>
                  <a:pt x="763981" y="832904"/>
                </a:lnTo>
                <a:lnTo>
                  <a:pt x="742721" y="832904"/>
                </a:lnTo>
                <a:lnTo>
                  <a:pt x="742721" y="854164"/>
                </a:lnTo>
                <a:lnTo>
                  <a:pt x="763981" y="854164"/>
                </a:lnTo>
                <a:lnTo>
                  <a:pt x="763981" y="875424"/>
                </a:lnTo>
                <a:close/>
                <a:moveTo>
                  <a:pt x="630250" y="590817"/>
                </a:moveTo>
                <a:lnTo>
                  <a:pt x="644652" y="590817"/>
                </a:lnTo>
                <a:lnTo>
                  <a:pt x="644652" y="576415"/>
                </a:lnTo>
                <a:lnTo>
                  <a:pt x="659054" y="576415"/>
                </a:lnTo>
                <a:lnTo>
                  <a:pt x="659054" y="562013"/>
                </a:lnTo>
                <a:lnTo>
                  <a:pt x="644652" y="562013"/>
                </a:lnTo>
                <a:lnTo>
                  <a:pt x="644652" y="547611"/>
                </a:lnTo>
                <a:lnTo>
                  <a:pt x="630250" y="547611"/>
                </a:lnTo>
                <a:lnTo>
                  <a:pt x="630250" y="562013"/>
                </a:lnTo>
                <a:lnTo>
                  <a:pt x="615848" y="562013"/>
                </a:lnTo>
                <a:lnTo>
                  <a:pt x="615848" y="576415"/>
                </a:lnTo>
                <a:lnTo>
                  <a:pt x="630250" y="576415"/>
                </a:lnTo>
                <a:lnTo>
                  <a:pt x="630250" y="590817"/>
                </a:lnTo>
                <a:close/>
                <a:moveTo>
                  <a:pt x="699516" y="451256"/>
                </a:moveTo>
                <a:lnTo>
                  <a:pt x="712546" y="451256"/>
                </a:lnTo>
                <a:lnTo>
                  <a:pt x="712546" y="438569"/>
                </a:lnTo>
                <a:lnTo>
                  <a:pt x="725233" y="438569"/>
                </a:lnTo>
                <a:lnTo>
                  <a:pt x="725233" y="425539"/>
                </a:lnTo>
                <a:lnTo>
                  <a:pt x="712546" y="425539"/>
                </a:lnTo>
                <a:lnTo>
                  <a:pt x="712546" y="412852"/>
                </a:lnTo>
                <a:lnTo>
                  <a:pt x="699516" y="412852"/>
                </a:lnTo>
                <a:lnTo>
                  <a:pt x="699516" y="425539"/>
                </a:lnTo>
                <a:lnTo>
                  <a:pt x="686829" y="425539"/>
                </a:lnTo>
                <a:lnTo>
                  <a:pt x="686829" y="438569"/>
                </a:lnTo>
                <a:lnTo>
                  <a:pt x="699516" y="438569"/>
                </a:lnTo>
                <a:lnTo>
                  <a:pt x="699516" y="451256"/>
                </a:lnTo>
                <a:close/>
                <a:moveTo>
                  <a:pt x="627850" y="871995"/>
                </a:moveTo>
                <a:lnTo>
                  <a:pt x="647052" y="871995"/>
                </a:lnTo>
                <a:lnTo>
                  <a:pt x="647052" y="853135"/>
                </a:lnTo>
                <a:lnTo>
                  <a:pt x="665912" y="853135"/>
                </a:lnTo>
                <a:lnTo>
                  <a:pt x="665912" y="833933"/>
                </a:lnTo>
                <a:lnTo>
                  <a:pt x="647052" y="833933"/>
                </a:lnTo>
                <a:lnTo>
                  <a:pt x="647052" y="815073"/>
                </a:lnTo>
                <a:lnTo>
                  <a:pt x="627850" y="815073"/>
                </a:lnTo>
                <a:lnTo>
                  <a:pt x="627850" y="833933"/>
                </a:lnTo>
                <a:lnTo>
                  <a:pt x="608990" y="833933"/>
                </a:lnTo>
                <a:lnTo>
                  <a:pt x="608990" y="853135"/>
                </a:lnTo>
                <a:lnTo>
                  <a:pt x="627850" y="853135"/>
                </a:lnTo>
                <a:lnTo>
                  <a:pt x="627850" y="871995"/>
                </a:lnTo>
                <a:close/>
                <a:moveTo>
                  <a:pt x="557555" y="1289304"/>
                </a:moveTo>
                <a:lnTo>
                  <a:pt x="580187" y="1289304"/>
                </a:lnTo>
                <a:lnTo>
                  <a:pt x="580187" y="1266330"/>
                </a:lnTo>
                <a:lnTo>
                  <a:pt x="603161" y="1266330"/>
                </a:lnTo>
                <a:lnTo>
                  <a:pt x="603161" y="1243698"/>
                </a:lnTo>
                <a:lnTo>
                  <a:pt x="580187" y="1243698"/>
                </a:lnTo>
                <a:lnTo>
                  <a:pt x="580187" y="1220724"/>
                </a:lnTo>
                <a:lnTo>
                  <a:pt x="557555" y="1220724"/>
                </a:lnTo>
                <a:lnTo>
                  <a:pt x="557555" y="1243698"/>
                </a:lnTo>
                <a:lnTo>
                  <a:pt x="534581" y="1243698"/>
                </a:lnTo>
                <a:lnTo>
                  <a:pt x="534581" y="1266330"/>
                </a:lnTo>
                <a:lnTo>
                  <a:pt x="557555" y="1266330"/>
                </a:lnTo>
                <a:lnTo>
                  <a:pt x="557555" y="1289304"/>
                </a:lnTo>
                <a:close/>
                <a:moveTo>
                  <a:pt x="560984" y="729691"/>
                </a:moveTo>
                <a:lnTo>
                  <a:pt x="576758" y="729691"/>
                </a:lnTo>
                <a:lnTo>
                  <a:pt x="576758" y="714261"/>
                </a:lnTo>
                <a:lnTo>
                  <a:pt x="592188" y="714261"/>
                </a:lnTo>
                <a:lnTo>
                  <a:pt x="592188" y="698487"/>
                </a:lnTo>
                <a:lnTo>
                  <a:pt x="576758" y="698487"/>
                </a:lnTo>
                <a:lnTo>
                  <a:pt x="576758" y="683057"/>
                </a:lnTo>
                <a:lnTo>
                  <a:pt x="560984" y="683057"/>
                </a:lnTo>
                <a:lnTo>
                  <a:pt x="560984" y="698487"/>
                </a:lnTo>
                <a:lnTo>
                  <a:pt x="545554" y="698487"/>
                </a:lnTo>
                <a:lnTo>
                  <a:pt x="545554" y="714261"/>
                </a:lnTo>
                <a:lnTo>
                  <a:pt x="560984" y="714261"/>
                </a:lnTo>
                <a:lnTo>
                  <a:pt x="560984" y="729691"/>
                </a:lnTo>
                <a:close/>
                <a:moveTo>
                  <a:pt x="149504" y="1552994"/>
                </a:moveTo>
                <a:lnTo>
                  <a:pt x="165278" y="1552994"/>
                </a:lnTo>
                <a:lnTo>
                  <a:pt x="165278" y="1537221"/>
                </a:lnTo>
                <a:lnTo>
                  <a:pt x="181051" y="1537221"/>
                </a:lnTo>
                <a:lnTo>
                  <a:pt x="181051" y="1521447"/>
                </a:lnTo>
                <a:lnTo>
                  <a:pt x="165278" y="1521447"/>
                </a:lnTo>
                <a:lnTo>
                  <a:pt x="165278" y="1505674"/>
                </a:lnTo>
                <a:lnTo>
                  <a:pt x="149504" y="1505674"/>
                </a:lnTo>
                <a:lnTo>
                  <a:pt x="149504" y="1521447"/>
                </a:lnTo>
                <a:lnTo>
                  <a:pt x="133731" y="1521447"/>
                </a:lnTo>
                <a:lnTo>
                  <a:pt x="133731" y="1537221"/>
                </a:lnTo>
                <a:lnTo>
                  <a:pt x="149504" y="1537221"/>
                </a:lnTo>
                <a:lnTo>
                  <a:pt x="149504" y="1552994"/>
                </a:lnTo>
                <a:close/>
                <a:moveTo>
                  <a:pt x="558927" y="1010183"/>
                </a:moveTo>
                <a:lnTo>
                  <a:pt x="578815" y="1010183"/>
                </a:lnTo>
                <a:lnTo>
                  <a:pt x="578815" y="990638"/>
                </a:lnTo>
                <a:lnTo>
                  <a:pt x="598360" y="990638"/>
                </a:lnTo>
                <a:lnTo>
                  <a:pt x="598360" y="970750"/>
                </a:lnTo>
                <a:lnTo>
                  <a:pt x="578815" y="970750"/>
                </a:lnTo>
                <a:lnTo>
                  <a:pt x="578815" y="951205"/>
                </a:lnTo>
                <a:lnTo>
                  <a:pt x="558927" y="951205"/>
                </a:lnTo>
                <a:lnTo>
                  <a:pt x="558927" y="970750"/>
                </a:lnTo>
                <a:lnTo>
                  <a:pt x="539382" y="970750"/>
                </a:lnTo>
                <a:lnTo>
                  <a:pt x="539382" y="990638"/>
                </a:lnTo>
                <a:lnTo>
                  <a:pt x="558927" y="990638"/>
                </a:lnTo>
                <a:lnTo>
                  <a:pt x="558927" y="1010183"/>
                </a:lnTo>
                <a:close/>
                <a:moveTo>
                  <a:pt x="969378" y="739635"/>
                </a:moveTo>
                <a:lnTo>
                  <a:pt x="991324" y="739635"/>
                </a:lnTo>
                <a:lnTo>
                  <a:pt x="991324" y="717347"/>
                </a:lnTo>
                <a:lnTo>
                  <a:pt x="1013612" y="717347"/>
                </a:lnTo>
                <a:lnTo>
                  <a:pt x="1013612" y="695401"/>
                </a:lnTo>
                <a:lnTo>
                  <a:pt x="991324" y="695401"/>
                </a:lnTo>
                <a:lnTo>
                  <a:pt x="991324" y="673113"/>
                </a:lnTo>
                <a:lnTo>
                  <a:pt x="969378" y="673113"/>
                </a:lnTo>
                <a:lnTo>
                  <a:pt x="969378" y="695401"/>
                </a:lnTo>
                <a:lnTo>
                  <a:pt x="947090" y="695401"/>
                </a:lnTo>
                <a:lnTo>
                  <a:pt x="947090" y="717347"/>
                </a:lnTo>
                <a:lnTo>
                  <a:pt x="969378" y="717347"/>
                </a:lnTo>
                <a:lnTo>
                  <a:pt x="969378" y="739635"/>
                </a:lnTo>
                <a:close/>
                <a:moveTo>
                  <a:pt x="2505227" y="2126323"/>
                </a:moveTo>
                <a:lnTo>
                  <a:pt x="2505227" y="2094090"/>
                </a:lnTo>
                <a:lnTo>
                  <a:pt x="2537460" y="2094090"/>
                </a:lnTo>
                <a:lnTo>
                  <a:pt x="2537460" y="2061858"/>
                </a:lnTo>
                <a:lnTo>
                  <a:pt x="2505227" y="2061858"/>
                </a:lnTo>
                <a:lnTo>
                  <a:pt x="2505227" y="2029625"/>
                </a:lnTo>
                <a:lnTo>
                  <a:pt x="2472995" y="2029625"/>
                </a:lnTo>
                <a:lnTo>
                  <a:pt x="2472995" y="2061858"/>
                </a:lnTo>
                <a:lnTo>
                  <a:pt x="2440762" y="2061858"/>
                </a:lnTo>
                <a:lnTo>
                  <a:pt x="2440762" y="2094090"/>
                </a:lnTo>
                <a:lnTo>
                  <a:pt x="2472995" y="2094090"/>
                </a:lnTo>
                <a:lnTo>
                  <a:pt x="2472995" y="2126323"/>
                </a:lnTo>
                <a:lnTo>
                  <a:pt x="2505227" y="2126323"/>
                </a:lnTo>
                <a:close/>
                <a:moveTo>
                  <a:pt x="971779" y="457429"/>
                </a:moveTo>
                <a:lnTo>
                  <a:pt x="988924" y="457429"/>
                </a:lnTo>
                <a:lnTo>
                  <a:pt x="988924" y="440627"/>
                </a:lnTo>
                <a:lnTo>
                  <a:pt x="1005726" y="440627"/>
                </a:lnTo>
                <a:lnTo>
                  <a:pt x="1005726" y="423482"/>
                </a:lnTo>
                <a:lnTo>
                  <a:pt x="988924" y="423482"/>
                </a:lnTo>
                <a:lnTo>
                  <a:pt x="988924" y="406679"/>
                </a:lnTo>
                <a:lnTo>
                  <a:pt x="971779" y="406679"/>
                </a:lnTo>
                <a:lnTo>
                  <a:pt x="971779" y="423482"/>
                </a:lnTo>
                <a:lnTo>
                  <a:pt x="954976" y="423482"/>
                </a:lnTo>
                <a:lnTo>
                  <a:pt x="954976" y="440627"/>
                </a:lnTo>
                <a:lnTo>
                  <a:pt x="971779" y="440627"/>
                </a:lnTo>
                <a:lnTo>
                  <a:pt x="971779" y="457429"/>
                </a:lnTo>
                <a:close/>
                <a:moveTo>
                  <a:pt x="1041387" y="317183"/>
                </a:moveTo>
                <a:lnTo>
                  <a:pt x="1056475" y="317183"/>
                </a:lnTo>
                <a:lnTo>
                  <a:pt x="1056475" y="302438"/>
                </a:lnTo>
                <a:lnTo>
                  <a:pt x="1071220" y="302438"/>
                </a:lnTo>
                <a:lnTo>
                  <a:pt x="1071220" y="287350"/>
                </a:lnTo>
                <a:lnTo>
                  <a:pt x="1056475" y="287350"/>
                </a:lnTo>
                <a:lnTo>
                  <a:pt x="1056475" y="272606"/>
                </a:lnTo>
                <a:lnTo>
                  <a:pt x="1041387" y="272606"/>
                </a:lnTo>
                <a:lnTo>
                  <a:pt x="1041387" y="287350"/>
                </a:lnTo>
                <a:lnTo>
                  <a:pt x="1026643" y="287350"/>
                </a:lnTo>
                <a:lnTo>
                  <a:pt x="1026643" y="302438"/>
                </a:lnTo>
                <a:lnTo>
                  <a:pt x="1041387" y="302438"/>
                </a:lnTo>
                <a:lnTo>
                  <a:pt x="1041387" y="317183"/>
                </a:lnTo>
                <a:close/>
                <a:moveTo>
                  <a:pt x="835647" y="454685"/>
                </a:moveTo>
                <a:lnTo>
                  <a:pt x="850735" y="454685"/>
                </a:lnTo>
                <a:lnTo>
                  <a:pt x="850735" y="439598"/>
                </a:lnTo>
                <a:lnTo>
                  <a:pt x="865822" y="439598"/>
                </a:lnTo>
                <a:lnTo>
                  <a:pt x="865822" y="424510"/>
                </a:lnTo>
                <a:lnTo>
                  <a:pt x="850735" y="424510"/>
                </a:lnTo>
                <a:lnTo>
                  <a:pt x="850735" y="409423"/>
                </a:lnTo>
                <a:lnTo>
                  <a:pt x="835647" y="409423"/>
                </a:lnTo>
                <a:lnTo>
                  <a:pt x="835647" y="424510"/>
                </a:lnTo>
                <a:lnTo>
                  <a:pt x="820560" y="424510"/>
                </a:lnTo>
                <a:lnTo>
                  <a:pt x="820560" y="439598"/>
                </a:lnTo>
                <a:lnTo>
                  <a:pt x="835647" y="439598"/>
                </a:lnTo>
                <a:lnTo>
                  <a:pt x="835647" y="454685"/>
                </a:lnTo>
                <a:close/>
                <a:moveTo>
                  <a:pt x="900112" y="878510"/>
                </a:moveTo>
                <a:lnTo>
                  <a:pt x="923430" y="878510"/>
                </a:lnTo>
                <a:lnTo>
                  <a:pt x="923430" y="855193"/>
                </a:lnTo>
                <a:lnTo>
                  <a:pt x="946747" y="855193"/>
                </a:lnTo>
                <a:lnTo>
                  <a:pt x="946747" y="831875"/>
                </a:lnTo>
                <a:lnTo>
                  <a:pt x="923430" y="831875"/>
                </a:lnTo>
                <a:lnTo>
                  <a:pt x="923430" y="808558"/>
                </a:lnTo>
                <a:lnTo>
                  <a:pt x="900112" y="808558"/>
                </a:lnTo>
                <a:lnTo>
                  <a:pt x="900112" y="831875"/>
                </a:lnTo>
                <a:lnTo>
                  <a:pt x="876795" y="831875"/>
                </a:lnTo>
                <a:lnTo>
                  <a:pt x="876795" y="855193"/>
                </a:lnTo>
                <a:lnTo>
                  <a:pt x="900112" y="855193"/>
                </a:lnTo>
                <a:lnTo>
                  <a:pt x="900112" y="878510"/>
                </a:lnTo>
                <a:close/>
                <a:moveTo>
                  <a:pt x="905256" y="314439"/>
                </a:moveTo>
                <a:lnTo>
                  <a:pt x="918286" y="314439"/>
                </a:lnTo>
                <a:lnTo>
                  <a:pt x="918286" y="301409"/>
                </a:lnTo>
                <a:lnTo>
                  <a:pt x="931316" y="301409"/>
                </a:lnTo>
                <a:lnTo>
                  <a:pt x="931316" y="288379"/>
                </a:lnTo>
                <a:lnTo>
                  <a:pt x="918286" y="288379"/>
                </a:lnTo>
                <a:lnTo>
                  <a:pt x="918286" y="275349"/>
                </a:lnTo>
                <a:lnTo>
                  <a:pt x="905256" y="275349"/>
                </a:lnTo>
                <a:lnTo>
                  <a:pt x="905256" y="288379"/>
                </a:lnTo>
                <a:lnTo>
                  <a:pt x="892226" y="288379"/>
                </a:lnTo>
                <a:lnTo>
                  <a:pt x="892226" y="301409"/>
                </a:lnTo>
                <a:lnTo>
                  <a:pt x="905256" y="301409"/>
                </a:lnTo>
                <a:lnTo>
                  <a:pt x="905256" y="314439"/>
                </a:lnTo>
                <a:close/>
                <a:moveTo>
                  <a:pt x="833247" y="736549"/>
                </a:moveTo>
                <a:lnTo>
                  <a:pt x="853135" y="736549"/>
                </a:lnTo>
                <a:lnTo>
                  <a:pt x="853135" y="716318"/>
                </a:lnTo>
                <a:lnTo>
                  <a:pt x="873366" y="716318"/>
                </a:lnTo>
                <a:lnTo>
                  <a:pt x="873366" y="696430"/>
                </a:lnTo>
                <a:lnTo>
                  <a:pt x="853135" y="696430"/>
                </a:lnTo>
                <a:lnTo>
                  <a:pt x="853135" y="676199"/>
                </a:lnTo>
                <a:lnTo>
                  <a:pt x="833247" y="676199"/>
                </a:lnTo>
                <a:lnTo>
                  <a:pt x="833247" y="696430"/>
                </a:lnTo>
                <a:lnTo>
                  <a:pt x="813016" y="696430"/>
                </a:lnTo>
                <a:lnTo>
                  <a:pt x="813016" y="716318"/>
                </a:lnTo>
                <a:lnTo>
                  <a:pt x="833247" y="716318"/>
                </a:lnTo>
                <a:lnTo>
                  <a:pt x="833247" y="736549"/>
                </a:lnTo>
                <a:close/>
                <a:moveTo>
                  <a:pt x="902513" y="597332"/>
                </a:moveTo>
                <a:lnTo>
                  <a:pt x="921029" y="597332"/>
                </a:lnTo>
                <a:lnTo>
                  <a:pt x="921029" y="578472"/>
                </a:lnTo>
                <a:lnTo>
                  <a:pt x="939889" y="578472"/>
                </a:lnTo>
                <a:lnTo>
                  <a:pt x="939889" y="559956"/>
                </a:lnTo>
                <a:lnTo>
                  <a:pt x="921029" y="559956"/>
                </a:lnTo>
                <a:lnTo>
                  <a:pt x="921029" y="541096"/>
                </a:lnTo>
                <a:lnTo>
                  <a:pt x="902513" y="541096"/>
                </a:lnTo>
                <a:lnTo>
                  <a:pt x="902513" y="559956"/>
                </a:lnTo>
                <a:lnTo>
                  <a:pt x="883653" y="559956"/>
                </a:lnTo>
                <a:lnTo>
                  <a:pt x="883653" y="578472"/>
                </a:lnTo>
                <a:lnTo>
                  <a:pt x="902513" y="578472"/>
                </a:lnTo>
                <a:lnTo>
                  <a:pt x="902513" y="597332"/>
                </a:lnTo>
                <a:close/>
                <a:moveTo>
                  <a:pt x="490347" y="1147686"/>
                </a:moveTo>
                <a:lnTo>
                  <a:pt x="510235" y="1147686"/>
                </a:lnTo>
                <a:lnTo>
                  <a:pt x="510235" y="1127798"/>
                </a:lnTo>
                <a:lnTo>
                  <a:pt x="530123" y="1127798"/>
                </a:lnTo>
                <a:lnTo>
                  <a:pt x="530123" y="1107910"/>
                </a:lnTo>
                <a:lnTo>
                  <a:pt x="510235" y="1107910"/>
                </a:lnTo>
                <a:lnTo>
                  <a:pt x="510235" y="1088022"/>
                </a:lnTo>
                <a:lnTo>
                  <a:pt x="490347" y="1088022"/>
                </a:lnTo>
                <a:lnTo>
                  <a:pt x="490347" y="1107910"/>
                </a:lnTo>
                <a:lnTo>
                  <a:pt x="470459" y="1107910"/>
                </a:lnTo>
                <a:lnTo>
                  <a:pt x="470459" y="1127798"/>
                </a:lnTo>
                <a:lnTo>
                  <a:pt x="490347" y="1127798"/>
                </a:lnTo>
                <a:lnTo>
                  <a:pt x="490347" y="1147686"/>
                </a:lnTo>
                <a:close/>
                <a:moveTo>
                  <a:pt x="494462" y="587045"/>
                </a:moveTo>
                <a:lnTo>
                  <a:pt x="506120" y="587045"/>
                </a:lnTo>
                <a:lnTo>
                  <a:pt x="506120" y="575043"/>
                </a:lnTo>
                <a:lnTo>
                  <a:pt x="518122" y="575043"/>
                </a:lnTo>
                <a:lnTo>
                  <a:pt x="518122" y="563385"/>
                </a:lnTo>
                <a:lnTo>
                  <a:pt x="506120" y="563385"/>
                </a:lnTo>
                <a:lnTo>
                  <a:pt x="506120" y="551383"/>
                </a:lnTo>
                <a:lnTo>
                  <a:pt x="494462" y="551383"/>
                </a:lnTo>
                <a:lnTo>
                  <a:pt x="494462" y="563385"/>
                </a:lnTo>
                <a:lnTo>
                  <a:pt x="482460" y="563385"/>
                </a:lnTo>
                <a:lnTo>
                  <a:pt x="482460" y="575043"/>
                </a:lnTo>
                <a:lnTo>
                  <a:pt x="494462" y="575043"/>
                </a:lnTo>
                <a:lnTo>
                  <a:pt x="494462" y="587045"/>
                </a:lnTo>
                <a:close/>
                <a:moveTo>
                  <a:pt x="287693" y="1001611"/>
                </a:moveTo>
                <a:lnTo>
                  <a:pt x="301409" y="1001611"/>
                </a:lnTo>
                <a:lnTo>
                  <a:pt x="301409" y="987552"/>
                </a:lnTo>
                <a:lnTo>
                  <a:pt x="315468" y="987552"/>
                </a:lnTo>
                <a:lnTo>
                  <a:pt x="315468" y="973836"/>
                </a:lnTo>
                <a:lnTo>
                  <a:pt x="301409" y="973836"/>
                </a:lnTo>
                <a:lnTo>
                  <a:pt x="301409" y="959777"/>
                </a:lnTo>
                <a:lnTo>
                  <a:pt x="287693" y="959777"/>
                </a:lnTo>
                <a:lnTo>
                  <a:pt x="287693" y="973836"/>
                </a:lnTo>
                <a:lnTo>
                  <a:pt x="273634" y="973836"/>
                </a:lnTo>
                <a:lnTo>
                  <a:pt x="273634" y="987552"/>
                </a:lnTo>
                <a:lnTo>
                  <a:pt x="287693" y="987552"/>
                </a:lnTo>
                <a:lnTo>
                  <a:pt x="287693" y="1001611"/>
                </a:lnTo>
                <a:close/>
                <a:moveTo>
                  <a:pt x="285979" y="1280732"/>
                </a:moveTo>
                <a:lnTo>
                  <a:pt x="303124" y="1280732"/>
                </a:lnTo>
                <a:lnTo>
                  <a:pt x="303124" y="1263587"/>
                </a:lnTo>
                <a:lnTo>
                  <a:pt x="320269" y="1263587"/>
                </a:lnTo>
                <a:lnTo>
                  <a:pt x="320269" y="1246442"/>
                </a:lnTo>
                <a:lnTo>
                  <a:pt x="303124" y="1246442"/>
                </a:lnTo>
                <a:lnTo>
                  <a:pt x="303124" y="1229297"/>
                </a:lnTo>
                <a:lnTo>
                  <a:pt x="285979" y="1229297"/>
                </a:lnTo>
                <a:lnTo>
                  <a:pt x="285979" y="1246442"/>
                </a:lnTo>
                <a:lnTo>
                  <a:pt x="268834" y="1246442"/>
                </a:lnTo>
                <a:lnTo>
                  <a:pt x="268834" y="1263587"/>
                </a:lnTo>
                <a:lnTo>
                  <a:pt x="285979" y="1263587"/>
                </a:lnTo>
                <a:lnTo>
                  <a:pt x="285979" y="1280732"/>
                </a:lnTo>
                <a:close/>
                <a:moveTo>
                  <a:pt x="352501" y="1698384"/>
                </a:moveTo>
                <a:lnTo>
                  <a:pt x="373761" y="1698384"/>
                </a:lnTo>
                <a:lnTo>
                  <a:pt x="373761" y="1677124"/>
                </a:lnTo>
                <a:lnTo>
                  <a:pt x="395021" y="1677124"/>
                </a:lnTo>
                <a:lnTo>
                  <a:pt x="395021" y="1655864"/>
                </a:lnTo>
                <a:lnTo>
                  <a:pt x="373761" y="1655864"/>
                </a:lnTo>
                <a:lnTo>
                  <a:pt x="373761" y="1634604"/>
                </a:lnTo>
                <a:lnTo>
                  <a:pt x="352501" y="1634604"/>
                </a:lnTo>
                <a:lnTo>
                  <a:pt x="352501" y="1655864"/>
                </a:lnTo>
                <a:lnTo>
                  <a:pt x="331241" y="1655864"/>
                </a:lnTo>
                <a:lnTo>
                  <a:pt x="331241" y="1677124"/>
                </a:lnTo>
                <a:lnTo>
                  <a:pt x="352501" y="1677124"/>
                </a:lnTo>
                <a:lnTo>
                  <a:pt x="352501" y="1698384"/>
                </a:lnTo>
                <a:close/>
                <a:moveTo>
                  <a:pt x="353187" y="1421663"/>
                </a:moveTo>
                <a:lnTo>
                  <a:pt x="373075" y="1421663"/>
                </a:lnTo>
                <a:lnTo>
                  <a:pt x="373075" y="1402118"/>
                </a:lnTo>
                <a:lnTo>
                  <a:pt x="392620" y="1402118"/>
                </a:lnTo>
                <a:lnTo>
                  <a:pt x="392620" y="1382230"/>
                </a:lnTo>
                <a:lnTo>
                  <a:pt x="373075" y="1382230"/>
                </a:lnTo>
                <a:lnTo>
                  <a:pt x="373075" y="1362685"/>
                </a:lnTo>
                <a:lnTo>
                  <a:pt x="353187" y="1362685"/>
                </a:lnTo>
                <a:lnTo>
                  <a:pt x="353187" y="1382230"/>
                </a:lnTo>
                <a:lnTo>
                  <a:pt x="333642" y="1382230"/>
                </a:lnTo>
                <a:lnTo>
                  <a:pt x="333642" y="1402118"/>
                </a:lnTo>
                <a:lnTo>
                  <a:pt x="353187" y="1402118"/>
                </a:lnTo>
                <a:lnTo>
                  <a:pt x="353187" y="1421663"/>
                </a:lnTo>
                <a:close/>
                <a:moveTo>
                  <a:pt x="150533" y="1275931"/>
                </a:moveTo>
                <a:lnTo>
                  <a:pt x="164249" y="1275931"/>
                </a:lnTo>
                <a:lnTo>
                  <a:pt x="164249" y="1261872"/>
                </a:lnTo>
                <a:lnTo>
                  <a:pt x="178308" y="1261872"/>
                </a:lnTo>
                <a:lnTo>
                  <a:pt x="178308" y="1248156"/>
                </a:lnTo>
                <a:lnTo>
                  <a:pt x="164249" y="1248156"/>
                </a:lnTo>
                <a:lnTo>
                  <a:pt x="164249" y="1234097"/>
                </a:lnTo>
                <a:lnTo>
                  <a:pt x="150533" y="1234097"/>
                </a:lnTo>
                <a:lnTo>
                  <a:pt x="150533" y="1248156"/>
                </a:lnTo>
                <a:lnTo>
                  <a:pt x="136474" y="1248156"/>
                </a:lnTo>
                <a:lnTo>
                  <a:pt x="136474" y="1261872"/>
                </a:lnTo>
                <a:lnTo>
                  <a:pt x="150533" y="1261872"/>
                </a:lnTo>
                <a:lnTo>
                  <a:pt x="150533" y="1275931"/>
                </a:lnTo>
                <a:close/>
                <a:moveTo>
                  <a:pt x="219113" y="1138771"/>
                </a:moveTo>
                <a:lnTo>
                  <a:pt x="232829" y="1138771"/>
                </a:lnTo>
                <a:lnTo>
                  <a:pt x="232829" y="1124712"/>
                </a:lnTo>
                <a:lnTo>
                  <a:pt x="246888" y="1124712"/>
                </a:lnTo>
                <a:lnTo>
                  <a:pt x="246888" y="1110996"/>
                </a:lnTo>
                <a:lnTo>
                  <a:pt x="232829" y="1110996"/>
                </a:lnTo>
                <a:lnTo>
                  <a:pt x="232829" y="1096937"/>
                </a:lnTo>
                <a:lnTo>
                  <a:pt x="219113" y="1096937"/>
                </a:lnTo>
                <a:lnTo>
                  <a:pt x="219113" y="1110996"/>
                </a:lnTo>
                <a:lnTo>
                  <a:pt x="205054" y="1110996"/>
                </a:lnTo>
                <a:lnTo>
                  <a:pt x="205054" y="1124712"/>
                </a:lnTo>
                <a:lnTo>
                  <a:pt x="219113" y="1124712"/>
                </a:lnTo>
                <a:lnTo>
                  <a:pt x="219113" y="1138771"/>
                </a:lnTo>
                <a:close/>
                <a:moveTo>
                  <a:pt x="216713" y="1693926"/>
                </a:moveTo>
                <a:lnTo>
                  <a:pt x="235229" y="1693926"/>
                </a:lnTo>
                <a:lnTo>
                  <a:pt x="235229" y="1675752"/>
                </a:lnTo>
                <a:lnTo>
                  <a:pt x="253403" y="1675752"/>
                </a:lnTo>
                <a:lnTo>
                  <a:pt x="253403" y="1657236"/>
                </a:lnTo>
                <a:lnTo>
                  <a:pt x="235229" y="1657236"/>
                </a:lnTo>
                <a:lnTo>
                  <a:pt x="235229" y="1639062"/>
                </a:lnTo>
                <a:lnTo>
                  <a:pt x="216713" y="1639062"/>
                </a:lnTo>
                <a:lnTo>
                  <a:pt x="216713" y="1657236"/>
                </a:lnTo>
                <a:lnTo>
                  <a:pt x="198539" y="1657236"/>
                </a:lnTo>
                <a:lnTo>
                  <a:pt x="198539" y="1675752"/>
                </a:lnTo>
                <a:lnTo>
                  <a:pt x="216713" y="1675752"/>
                </a:lnTo>
                <a:lnTo>
                  <a:pt x="216713" y="1693926"/>
                </a:lnTo>
                <a:close/>
                <a:moveTo>
                  <a:pt x="354559" y="1143572"/>
                </a:moveTo>
                <a:lnTo>
                  <a:pt x="371704" y="1143572"/>
                </a:lnTo>
                <a:lnTo>
                  <a:pt x="371704" y="1126427"/>
                </a:lnTo>
                <a:lnTo>
                  <a:pt x="388849" y="1126427"/>
                </a:lnTo>
                <a:lnTo>
                  <a:pt x="388849" y="1109282"/>
                </a:lnTo>
                <a:lnTo>
                  <a:pt x="371704" y="1109282"/>
                </a:lnTo>
                <a:lnTo>
                  <a:pt x="371704" y="1092137"/>
                </a:lnTo>
                <a:lnTo>
                  <a:pt x="354559" y="1092137"/>
                </a:lnTo>
                <a:lnTo>
                  <a:pt x="354559" y="1109282"/>
                </a:lnTo>
                <a:lnTo>
                  <a:pt x="337414" y="1109282"/>
                </a:lnTo>
                <a:lnTo>
                  <a:pt x="337414" y="1126427"/>
                </a:lnTo>
                <a:lnTo>
                  <a:pt x="354559" y="1126427"/>
                </a:lnTo>
                <a:lnTo>
                  <a:pt x="354559" y="1143572"/>
                </a:lnTo>
                <a:close/>
                <a:moveTo>
                  <a:pt x="217742" y="1417206"/>
                </a:moveTo>
                <a:lnTo>
                  <a:pt x="234201" y="1417206"/>
                </a:lnTo>
                <a:lnTo>
                  <a:pt x="234201" y="1400404"/>
                </a:lnTo>
                <a:lnTo>
                  <a:pt x="251003" y="1400404"/>
                </a:lnTo>
                <a:lnTo>
                  <a:pt x="251003" y="1383944"/>
                </a:lnTo>
                <a:lnTo>
                  <a:pt x="234201" y="1383944"/>
                </a:lnTo>
                <a:lnTo>
                  <a:pt x="234201" y="1367142"/>
                </a:lnTo>
                <a:lnTo>
                  <a:pt x="217742" y="1367142"/>
                </a:lnTo>
                <a:lnTo>
                  <a:pt x="217742" y="1383944"/>
                </a:lnTo>
                <a:lnTo>
                  <a:pt x="200939" y="1383944"/>
                </a:lnTo>
                <a:lnTo>
                  <a:pt x="200939" y="1400404"/>
                </a:lnTo>
                <a:lnTo>
                  <a:pt x="217742" y="1400404"/>
                </a:lnTo>
                <a:lnTo>
                  <a:pt x="217742" y="1417206"/>
                </a:lnTo>
                <a:close/>
                <a:moveTo>
                  <a:pt x="284950" y="1558138"/>
                </a:moveTo>
                <a:lnTo>
                  <a:pt x="304152" y="1558138"/>
                </a:lnTo>
                <a:lnTo>
                  <a:pt x="304152" y="1538935"/>
                </a:lnTo>
                <a:lnTo>
                  <a:pt x="323355" y="1538935"/>
                </a:lnTo>
                <a:lnTo>
                  <a:pt x="323355" y="1519733"/>
                </a:lnTo>
                <a:lnTo>
                  <a:pt x="304152" y="1519733"/>
                </a:lnTo>
                <a:lnTo>
                  <a:pt x="304152" y="1500530"/>
                </a:lnTo>
                <a:lnTo>
                  <a:pt x="284950" y="1500530"/>
                </a:lnTo>
                <a:lnTo>
                  <a:pt x="284950" y="1519733"/>
                </a:lnTo>
                <a:lnTo>
                  <a:pt x="265748" y="1519733"/>
                </a:lnTo>
                <a:lnTo>
                  <a:pt x="265748" y="1538935"/>
                </a:lnTo>
                <a:lnTo>
                  <a:pt x="284950" y="1538935"/>
                </a:lnTo>
                <a:lnTo>
                  <a:pt x="284950" y="1558138"/>
                </a:lnTo>
                <a:close/>
                <a:moveTo>
                  <a:pt x="356273" y="863765"/>
                </a:moveTo>
                <a:lnTo>
                  <a:pt x="369989" y="863765"/>
                </a:lnTo>
                <a:lnTo>
                  <a:pt x="369989" y="850392"/>
                </a:lnTo>
                <a:lnTo>
                  <a:pt x="383362" y="850392"/>
                </a:lnTo>
                <a:lnTo>
                  <a:pt x="383362" y="836676"/>
                </a:lnTo>
                <a:lnTo>
                  <a:pt x="369989" y="836676"/>
                </a:lnTo>
                <a:lnTo>
                  <a:pt x="369989" y="823303"/>
                </a:lnTo>
                <a:lnTo>
                  <a:pt x="356273" y="823303"/>
                </a:lnTo>
                <a:lnTo>
                  <a:pt x="356273" y="836676"/>
                </a:lnTo>
                <a:lnTo>
                  <a:pt x="342900" y="836676"/>
                </a:lnTo>
                <a:lnTo>
                  <a:pt x="342900" y="850392"/>
                </a:lnTo>
                <a:lnTo>
                  <a:pt x="356273" y="850392"/>
                </a:lnTo>
                <a:lnTo>
                  <a:pt x="356273" y="863765"/>
                </a:lnTo>
                <a:close/>
                <a:moveTo>
                  <a:pt x="1105510" y="742036"/>
                </a:moveTo>
                <a:lnTo>
                  <a:pt x="1129513" y="742036"/>
                </a:lnTo>
                <a:lnTo>
                  <a:pt x="1129513" y="718376"/>
                </a:lnTo>
                <a:lnTo>
                  <a:pt x="1153173" y="718376"/>
                </a:lnTo>
                <a:lnTo>
                  <a:pt x="1153173" y="694373"/>
                </a:lnTo>
                <a:lnTo>
                  <a:pt x="1129513" y="694373"/>
                </a:lnTo>
                <a:lnTo>
                  <a:pt x="1129513" y="670712"/>
                </a:lnTo>
                <a:lnTo>
                  <a:pt x="1105510" y="670712"/>
                </a:lnTo>
                <a:lnTo>
                  <a:pt x="1105510" y="694373"/>
                </a:lnTo>
                <a:lnTo>
                  <a:pt x="1081849" y="694373"/>
                </a:lnTo>
                <a:lnTo>
                  <a:pt x="1081849" y="718376"/>
                </a:lnTo>
                <a:lnTo>
                  <a:pt x="1105510" y="718376"/>
                </a:lnTo>
                <a:lnTo>
                  <a:pt x="1105510" y="742036"/>
                </a:lnTo>
                <a:close/>
                <a:moveTo>
                  <a:pt x="2432876" y="532524"/>
                </a:moveTo>
                <a:lnTo>
                  <a:pt x="2408187" y="532524"/>
                </a:lnTo>
                <a:lnTo>
                  <a:pt x="2408187" y="556870"/>
                </a:lnTo>
                <a:lnTo>
                  <a:pt x="2383841" y="556870"/>
                </a:lnTo>
                <a:lnTo>
                  <a:pt x="2383841" y="581558"/>
                </a:lnTo>
                <a:lnTo>
                  <a:pt x="2408187" y="581558"/>
                </a:lnTo>
                <a:lnTo>
                  <a:pt x="2408187" y="605904"/>
                </a:lnTo>
                <a:lnTo>
                  <a:pt x="2432876" y="605904"/>
                </a:lnTo>
                <a:lnTo>
                  <a:pt x="2432876" y="581558"/>
                </a:lnTo>
                <a:lnTo>
                  <a:pt x="2457221" y="581558"/>
                </a:lnTo>
                <a:lnTo>
                  <a:pt x="2457221" y="556870"/>
                </a:lnTo>
                <a:lnTo>
                  <a:pt x="2432876" y="556870"/>
                </a:lnTo>
                <a:lnTo>
                  <a:pt x="2432876" y="532524"/>
                </a:lnTo>
                <a:close/>
                <a:moveTo>
                  <a:pt x="425196" y="725919"/>
                </a:moveTo>
                <a:lnTo>
                  <a:pt x="438226" y="725919"/>
                </a:lnTo>
                <a:lnTo>
                  <a:pt x="438226" y="712889"/>
                </a:lnTo>
                <a:lnTo>
                  <a:pt x="451256" y="712889"/>
                </a:lnTo>
                <a:lnTo>
                  <a:pt x="451256" y="699859"/>
                </a:lnTo>
                <a:lnTo>
                  <a:pt x="438226" y="699859"/>
                </a:lnTo>
                <a:lnTo>
                  <a:pt x="438226" y="686829"/>
                </a:lnTo>
                <a:lnTo>
                  <a:pt x="425196" y="686829"/>
                </a:lnTo>
                <a:lnTo>
                  <a:pt x="425196" y="699859"/>
                </a:lnTo>
                <a:lnTo>
                  <a:pt x="412166" y="699859"/>
                </a:lnTo>
                <a:lnTo>
                  <a:pt x="412166" y="712889"/>
                </a:lnTo>
                <a:lnTo>
                  <a:pt x="425196" y="712889"/>
                </a:lnTo>
                <a:lnTo>
                  <a:pt x="425196" y="725919"/>
                </a:lnTo>
                <a:close/>
                <a:moveTo>
                  <a:pt x="488975" y="1426121"/>
                </a:moveTo>
                <a:lnTo>
                  <a:pt x="511607" y="1426121"/>
                </a:lnTo>
                <a:lnTo>
                  <a:pt x="511607" y="1403490"/>
                </a:lnTo>
                <a:lnTo>
                  <a:pt x="534238" y="1403490"/>
                </a:lnTo>
                <a:lnTo>
                  <a:pt x="534238" y="1380858"/>
                </a:lnTo>
                <a:lnTo>
                  <a:pt x="511607" y="1380858"/>
                </a:lnTo>
                <a:lnTo>
                  <a:pt x="511607" y="1358227"/>
                </a:lnTo>
                <a:lnTo>
                  <a:pt x="488975" y="1358227"/>
                </a:lnTo>
                <a:lnTo>
                  <a:pt x="488975" y="1380858"/>
                </a:lnTo>
                <a:lnTo>
                  <a:pt x="466344" y="1380858"/>
                </a:lnTo>
                <a:lnTo>
                  <a:pt x="466344" y="1403490"/>
                </a:lnTo>
                <a:lnTo>
                  <a:pt x="488975" y="1403490"/>
                </a:lnTo>
                <a:lnTo>
                  <a:pt x="488975" y="1426121"/>
                </a:lnTo>
                <a:close/>
                <a:moveTo>
                  <a:pt x="420052" y="1838287"/>
                </a:moveTo>
                <a:lnTo>
                  <a:pt x="443370" y="1838287"/>
                </a:lnTo>
                <a:lnTo>
                  <a:pt x="443370" y="1815313"/>
                </a:lnTo>
                <a:lnTo>
                  <a:pt x="466344" y="1815313"/>
                </a:lnTo>
                <a:lnTo>
                  <a:pt x="466344" y="1791995"/>
                </a:lnTo>
                <a:lnTo>
                  <a:pt x="443370" y="1791995"/>
                </a:lnTo>
                <a:lnTo>
                  <a:pt x="443370" y="1769021"/>
                </a:lnTo>
                <a:lnTo>
                  <a:pt x="420052" y="1769021"/>
                </a:lnTo>
                <a:lnTo>
                  <a:pt x="420052" y="1791995"/>
                </a:lnTo>
                <a:lnTo>
                  <a:pt x="397078" y="1791995"/>
                </a:lnTo>
                <a:lnTo>
                  <a:pt x="397078" y="1815313"/>
                </a:lnTo>
                <a:lnTo>
                  <a:pt x="420052" y="1815313"/>
                </a:lnTo>
                <a:lnTo>
                  <a:pt x="420052" y="1838287"/>
                </a:lnTo>
                <a:close/>
                <a:moveTo>
                  <a:pt x="423139" y="1006069"/>
                </a:moveTo>
                <a:lnTo>
                  <a:pt x="440284" y="1006069"/>
                </a:lnTo>
                <a:lnTo>
                  <a:pt x="440284" y="989267"/>
                </a:lnTo>
                <a:lnTo>
                  <a:pt x="457086" y="989267"/>
                </a:lnTo>
                <a:lnTo>
                  <a:pt x="457086" y="972122"/>
                </a:lnTo>
                <a:lnTo>
                  <a:pt x="440284" y="972122"/>
                </a:lnTo>
                <a:lnTo>
                  <a:pt x="440284" y="955319"/>
                </a:lnTo>
                <a:lnTo>
                  <a:pt x="423139" y="955319"/>
                </a:lnTo>
                <a:lnTo>
                  <a:pt x="423139" y="972122"/>
                </a:lnTo>
                <a:lnTo>
                  <a:pt x="406336" y="972122"/>
                </a:lnTo>
                <a:lnTo>
                  <a:pt x="406336" y="989267"/>
                </a:lnTo>
                <a:lnTo>
                  <a:pt x="423139" y="989267"/>
                </a:lnTo>
                <a:lnTo>
                  <a:pt x="423139" y="1006069"/>
                </a:lnTo>
                <a:close/>
                <a:moveTo>
                  <a:pt x="420738" y="1562595"/>
                </a:moveTo>
                <a:lnTo>
                  <a:pt x="442684" y="1562595"/>
                </a:lnTo>
                <a:lnTo>
                  <a:pt x="442684" y="1540307"/>
                </a:lnTo>
                <a:lnTo>
                  <a:pt x="464972" y="1540307"/>
                </a:lnTo>
                <a:lnTo>
                  <a:pt x="464972" y="1518361"/>
                </a:lnTo>
                <a:lnTo>
                  <a:pt x="442684" y="1518361"/>
                </a:lnTo>
                <a:lnTo>
                  <a:pt x="442684" y="1496073"/>
                </a:lnTo>
                <a:lnTo>
                  <a:pt x="420738" y="1496073"/>
                </a:lnTo>
                <a:lnTo>
                  <a:pt x="420738" y="1518361"/>
                </a:lnTo>
                <a:lnTo>
                  <a:pt x="398450" y="1518361"/>
                </a:lnTo>
                <a:lnTo>
                  <a:pt x="398450" y="1540307"/>
                </a:lnTo>
                <a:lnTo>
                  <a:pt x="420738" y="1540307"/>
                </a:lnTo>
                <a:lnTo>
                  <a:pt x="420738" y="1562595"/>
                </a:lnTo>
                <a:close/>
                <a:moveTo>
                  <a:pt x="421767" y="1284846"/>
                </a:moveTo>
                <a:lnTo>
                  <a:pt x="441655" y="1284846"/>
                </a:lnTo>
                <a:lnTo>
                  <a:pt x="441655" y="1264958"/>
                </a:lnTo>
                <a:lnTo>
                  <a:pt x="461543" y="1264958"/>
                </a:lnTo>
                <a:lnTo>
                  <a:pt x="461543" y="1245070"/>
                </a:lnTo>
                <a:lnTo>
                  <a:pt x="441655" y="1245070"/>
                </a:lnTo>
                <a:lnTo>
                  <a:pt x="441655" y="1225182"/>
                </a:lnTo>
                <a:lnTo>
                  <a:pt x="421767" y="1225182"/>
                </a:lnTo>
                <a:lnTo>
                  <a:pt x="421767" y="1245070"/>
                </a:lnTo>
                <a:lnTo>
                  <a:pt x="401879" y="1245070"/>
                </a:lnTo>
                <a:lnTo>
                  <a:pt x="401879" y="1264958"/>
                </a:lnTo>
                <a:lnTo>
                  <a:pt x="421767" y="1264958"/>
                </a:lnTo>
                <a:lnTo>
                  <a:pt x="421767" y="1284846"/>
                </a:lnTo>
                <a:close/>
                <a:moveTo>
                  <a:pt x="492061" y="868223"/>
                </a:moveTo>
                <a:lnTo>
                  <a:pt x="508521" y="868223"/>
                </a:lnTo>
                <a:lnTo>
                  <a:pt x="508521" y="851764"/>
                </a:lnTo>
                <a:lnTo>
                  <a:pt x="524980" y="851764"/>
                </a:lnTo>
                <a:lnTo>
                  <a:pt x="524980" y="835304"/>
                </a:lnTo>
                <a:lnTo>
                  <a:pt x="508521" y="835304"/>
                </a:lnTo>
                <a:lnTo>
                  <a:pt x="508521" y="818845"/>
                </a:lnTo>
                <a:lnTo>
                  <a:pt x="492061" y="818845"/>
                </a:lnTo>
                <a:lnTo>
                  <a:pt x="492061" y="835304"/>
                </a:lnTo>
                <a:lnTo>
                  <a:pt x="475602" y="835304"/>
                </a:lnTo>
                <a:lnTo>
                  <a:pt x="475602" y="851764"/>
                </a:lnTo>
                <a:lnTo>
                  <a:pt x="492061" y="851764"/>
                </a:lnTo>
                <a:lnTo>
                  <a:pt x="492061" y="868223"/>
                </a:lnTo>
                <a:close/>
                <a:moveTo>
                  <a:pt x="1931899" y="183109"/>
                </a:moveTo>
                <a:lnTo>
                  <a:pt x="1949044" y="183109"/>
                </a:lnTo>
                <a:lnTo>
                  <a:pt x="1949044" y="166307"/>
                </a:lnTo>
                <a:lnTo>
                  <a:pt x="1965846" y="166307"/>
                </a:lnTo>
                <a:lnTo>
                  <a:pt x="1965846" y="149162"/>
                </a:lnTo>
                <a:lnTo>
                  <a:pt x="1949044" y="149162"/>
                </a:lnTo>
                <a:lnTo>
                  <a:pt x="1949044" y="132359"/>
                </a:lnTo>
                <a:lnTo>
                  <a:pt x="1931899" y="132359"/>
                </a:lnTo>
                <a:lnTo>
                  <a:pt x="1931899" y="149162"/>
                </a:lnTo>
                <a:lnTo>
                  <a:pt x="1915096" y="149162"/>
                </a:lnTo>
                <a:lnTo>
                  <a:pt x="1915096" y="166307"/>
                </a:lnTo>
                <a:lnTo>
                  <a:pt x="1931899" y="166307"/>
                </a:lnTo>
                <a:lnTo>
                  <a:pt x="1931899" y="183109"/>
                </a:lnTo>
                <a:close/>
                <a:moveTo>
                  <a:pt x="1999107" y="325069"/>
                </a:moveTo>
                <a:lnTo>
                  <a:pt x="2018995" y="325069"/>
                </a:lnTo>
                <a:lnTo>
                  <a:pt x="2018995" y="304838"/>
                </a:lnTo>
                <a:lnTo>
                  <a:pt x="2039227" y="304838"/>
                </a:lnTo>
                <a:lnTo>
                  <a:pt x="2039227" y="284950"/>
                </a:lnTo>
                <a:lnTo>
                  <a:pt x="2018995" y="284950"/>
                </a:lnTo>
                <a:lnTo>
                  <a:pt x="2018995" y="264719"/>
                </a:lnTo>
                <a:lnTo>
                  <a:pt x="1999107" y="264719"/>
                </a:lnTo>
                <a:lnTo>
                  <a:pt x="1999107" y="284950"/>
                </a:lnTo>
                <a:lnTo>
                  <a:pt x="1978876" y="284950"/>
                </a:lnTo>
                <a:lnTo>
                  <a:pt x="1978876" y="304838"/>
                </a:lnTo>
                <a:lnTo>
                  <a:pt x="1999107" y="304838"/>
                </a:lnTo>
                <a:lnTo>
                  <a:pt x="1999107" y="325069"/>
                </a:lnTo>
                <a:close/>
                <a:moveTo>
                  <a:pt x="2136267" y="324726"/>
                </a:moveTo>
                <a:lnTo>
                  <a:pt x="2156155" y="324726"/>
                </a:lnTo>
                <a:lnTo>
                  <a:pt x="2156155" y="304838"/>
                </a:lnTo>
                <a:lnTo>
                  <a:pt x="2176043" y="304838"/>
                </a:lnTo>
                <a:lnTo>
                  <a:pt x="2176043" y="284950"/>
                </a:lnTo>
                <a:lnTo>
                  <a:pt x="2156155" y="284950"/>
                </a:lnTo>
                <a:lnTo>
                  <a:pt x="2156155" y="265062"/>
                </a:lnTo>
                <a:lnTo>
                  <a:pt x="2136267" y="265062"/>
                </a:lnTo>
                <a:lnTo>
                  <a:pt x="2136267" y="284950"/>
                </a:lnTo>
                <a:lnTo>
                  <a:pt x="2116379" y="284950"/>
                </a:lnTo>
                <a:lnTo>
                  <a:pt x="2116379" y="304838"/>
                </a:lnTo>
                <a:lnTo>
                  <a:pt x="2136267" y="304838"/>
                </a:lnTo>
                <a:lnTo>
                  <a:pt x="2136267" y="324726"/>
                </a:lnTo>
                <a:close/>
                <a:moveTo>
                  <a:pt x="2065972" y="466687"/>
                </a:moveTo>
                <a:lnTo>
                  <a:pt x="2089290" y="466687"/>
                </a:lnTo>
                <a:lnTo>
                  <a:pt x="2089290" y="443713"/>
                </a:lnTo>
                <a:lnTo>
                  <a:pt x="2112264" y="443713"/>
                </a:lnTo>
                <a:lnTo>
                  <a:pt x="2112264" y="420395"/>
                </a:lnTo>
                <a:lnTo>
                  <a:pt x="2089290" y="420395"/>
                </a:lnTo>
                <a:lnTo>
                  <a:pt x="2089290" y="397421"/>
                </a:lnTo>
                <a:lnTo>
                  <a:pt x="2065972" y="397421"/>
                </a:lnTo>
                <a:lnTo>
                  <a:pt x="2065972" y="420395"/>
                </a:lnTo>
                <a:lnTo>
                  <a:pt x="2042998" y="420395"/>
                </a:lnTo>
                <a:lnTo>
                  <a:pt x="2042998" y="443713"/>
                </a:lnTo>
                <a:lnTo>
                  <a:pt x="2065972" y="443713"/>
                </a:lnTo>
                <a:lnTo>
                  <a:pt x="2065972" y="466687"/>
                </a:lnTo>
                <a:close/>
                <a:moveTo>
                  <a:pt x="2069059" y="183109"/>
                </a:moveTo>
                <a:lnTo>
                  <a:pt x="2086204" y="183109"/>
                </a:lnTo>
                <a:lnTo>
                  <a:pt x="2086204" y="166307"/>
                </a:lnTo>
                <a:lnTo>
                  <a:pt x="2103006" y="166307"/>
                </a:lnTo>
                <a:lnTo>
                  <a:pt x="2103006" y="149162"/>
                </a:lnTo>
                <a:lnTo>
                  <a:pt x="2086204" y="149162"/>
                </a:lnTo>
                <a:lnTo>
                  <a:pt x="2086204" y="132359"/>
                </a:lnTo>
                <a:lnTo>
                  <a:pt x="2069059" y="132359"/>
                </a:lnTo>
                <a:lnTo>
                  <a:pt x="2069059" y="149162"/>
                </a:lnTo>
                <a:lnTo>
                  <a:pt x="2052256" y="149162"/>
                </a:lnTo>
                <a:lnTo>
                  <a:pt x="2052256" y="166307"/>
                </a:lnTo>
                <a:lnTo>
                  <a:pt x="2069059" y="166307"/>
                </a:lnTo>
                <a:lnTo>
                  <a:pt x="2069059" y="183109"/>
                </a:lnTo>
                <a:close/>
                <a:moveTo>
                  <a:pt x="1791652" y="467030"/>
                </a:moveTo>
                <a:lnTo>
                  <a:pt x="1814970" y="467030"/>
                </a:lnTo>
                <a:lnTo>
                  <a:pt x="1814970" y="443713"/>
                </a:lnTo>
                <a:lnTo>
                  <a:pt x="1838287" y="443713"/>
                </a:lnTo>
                <a:lnTo>
                  <a:pt x="1838287" y="420395"/>
                </a:lnTo>
                <a:lnTo>
                  <a:pt x="1814970" y="420395"/>
                </a:lnTo>
                <a:lnTo>
                  <a:pt x="1814970" y="397078"/>
                </a:lnTo>
                <a:lnTo>
                  <a:pt x="1791652" y="397078"/>
                </a:lnTo>
                <a:lnTo>
                  <a:pt x="1791652" y="420395"/>
                </a:lnTo>
                <a:lnTo>
                  <a:pt x="1768335" y="420395"/>
                </a:lnTo>
                <a:lnTo>
                  <a:pt x="1768335" y="443713"/>
                </a:lnTo>
                <a:lnTo>
                  <a:pt x="1791652" y="443713"/>
                </a:lnTo>
                <a:lnTo>
                  <a:pt x="1791652" y="467030"/>
                </a:lnTo>
                <a:close/>
                <a:moveTo>
                  <a:pt x="1794739" y="183109"/>
                </a:moveTo>
                <a:lnTo>
                  <a:pt x="1811884" y="183109"/>
                </a:lnTo>
                <a:lnTo>
                  <a:pt x="1811884" y="166307"/>
                </a:lnTo>
                <a:lnTo>
                  <a:pt x="1828686" y="166307"/>
                </a:lnTo>
                <a:lnTo>
                  <a:pt x="1828686" y="149162"/>
                </a:lnTo>
                <a:lnTo>
                  <a:pt x="1811884" y="149162"/>
                </a:lnTo>
                <a:lnTo>
                  <a:pt x="1811884" y="132359"/>
                </a:lnTo>
                <a:lnTo>
                  <a:pt x="1794739" y="132359"/>
                </a:lnTo>
                <a:lnTo>
                  <a:pt x="1794739" y="149162"/>
                </a:lnTo>
                <a:lnTo>
                  <a:pt x="1777936" y="149162"/>
                </a:lnTo>
                <a:lnTo>
                  <a:pt x="1777936" y="166307"/>
                </a:lnTo>
                <a:lnTo>
                  <a:pt x="1794739" y="166307"/>
                </a:lnTo>
                <a:lnTo>
                  <a:pt x="1794739" y="183109"/>
                </a:lnTo>
                <a:close/>
                <a:moveTo>
                  <a:pt x="1928812" y="467030"/>
                </a:moveTo>
                <a:lnTo>
                  <a:pt x="1952130" y="467030"/>
                </a:lnTo>
                <a:lnTo>
                  <a:pt x="1952130" y="443713"/>
                </a:lnTo>
                <a:lnTo>
                  <a:pt x="1975447" y="443713"/>
                </a:lnTo>
                <a:lnTo>
                  <a:pt x="1975447" y="420395"/>
                </a:lnTo>
                <a:lnTo>
                  <a:pt x="1952130" y="420395"/>
                </a:lnTo>
                <a:lnTo>
                  <a:pt x="1952130" y="397078"/>
                </a:lnTo>
                <a:lnTo>
                  <a:pt x="1928812" y="397078"/>
                </a:lnTo>
                <a:lnTo>
                  <a:pt x="1928812" y="420395"/>
                </a:lnTo>
                <a:lnTo>
                  <a:pt x="1905495" y="420395"/>
                </a:lnTo>
                <a:lnTo>
                  <a:pt x="1905495" y="443713"/>
                </a:lnTo>
                <a:lnTo>
                  <a:pt x="1928812" y="443713"/>
                </a:lnTo>
                <a:lnTo>
                  <a:pt x="1928812" y="467030"/>
                </a:lnTo>
                <a:close/>
                <a:moveTo>
                  <a:pt x="1861604" y="325412"/>
                </a:moveTo>
                <a:lnTo>
                  <a:pt x="1882178" y="325412"/>
                </a:lnTo>
                <a:lnTo>
                  <a:pt x="1882178" y="305181"/>
                </a:lnTo>
                <a:lnTo>
                  <a:pt x="1902409" y="305181"/>
                </a:lnTo>
                <a:lnTo>
                  <a:pt x="1902409" y="284607"/>
                </a:lnTo>
                <a:lnTo>
                  <a:pt x="1882178" y="284607"/>
                </a:lnTo>
                <a:lnTo>
                  <a:pt x="1882178" y="264376"/>
                </a:lnTo>
                <a:lnTo>
                  <a:pt x="1861604" y="264376"/>
                </a:lnTo>
                <a:lnTo>
                  <a:pt x="1861604" y="284607"/>
                </a:lnTo>
                <a:lnTo>
                  <a:pt x="1841373" y="284607"/>
                </a:lnTo>
                <a:lnTo>
                  <a:pt x="1841373" y="305181"/>
                </a:lnTo>
                <a:lnTo>
                  <a:pt x="1861604" y="305181"/>
                </a:lnTo>
                <a:lnTo>
                  <a:pt x="1861604" y="325412"/>
                </a:lnTo>
                <a:close/>
                <a:moveTo>
                  <a:pt x="1865033" y="40805"/>
                </a:moveTo>
                <a:lnTo>
                  <a:pt x="1878749" y="40805"/>
                </a:lnTo>
                <a:lnTo>
                  <a:pt x="1878749" y="27432"/>
                </a:lnTo>
                <a:lnTo>
                  <a:pt x="1892122" y="27432"/>
                </a:lnTo>
                <a:lnTo>
                  <a:pt x="1892122" y="13716"/>
                </a:lnTo>
                <a:lnTo>
                  <a:pt x="1878749" y="13716"/>
                </a:lnTo>
                <a:lnTo>
                  <a:pt x="1878749" y="343"/>
                </a:lnTo>
                <a:lnTo>
                  <a:pt x="1865033" y="343"/>
                </a:lnTo>
                <a:lnTo>
                  <a:pt x="1865033" y="13716"/>
                </a:lnTo>
                <a:lnTo>
                  <a:pt x="1851660" y="13716"/>
                </a:lnTo>
                <a:lnTo>
                  <a:pt x="1851660" y="27432"/>
                </a:lnTo>
                <a:lnTo>
                  <a:pt x="1865033" y="27432"/>
                </a:lnTo>
                <a:lnTo>
                  <a:pt x="1865033" y="40805"/>
                </a:lnTo>
                <a:close/>
                <a:moveTo>
                  <a:pt x="2002193" y="41148"/>
                </a:moveTo>
                <a:lnTo>
                  <a:pt x="2015909" y="41148"/>
                </a:lnTo>
                <a:lnTo>
                  <a:pt x="2015909" y="27432"/>
                </a:lnTo>
                <a:lnTo>
                  <a:pt x="2029625" y="27432"/>
                </a:lnTo>
                <a:lnTo>
                  <a:pt x="2029625" y="13716"/>
                </a:lnTo>
                <a:lnTo>
                  <a:pt x="2015909" y="13716"/>
                </a:lnTo>
                <a:lnTo>
                  <a:pt x="2015909" y="0"/>
                </a:lnTo>
                <a:lnTo>
                  <a:pt x="2002193" y="0"/>
                </a:lnTo>
                <a:lnTo>
                  <a:pt x="2002193" y="13716"/>
                </a:lnTo>
                <a:lnTo>
                  <a:pt x="1988477" y="13716"/>
                </a:lnTo>
                <a:lnTo>
                  <a:pt x="1988477" y="27432"/>
                </a:lnTo>
                <a:lnTo>
                  <a:pt x="2002193" y="27432"/>
                </a:lnTo>
                <a:lnTo>
                  <a:pt x="2002193" y="41148"/>
                </a:lnTo>
                <a:close/>
                <a:moveTo>
                  <a:pt x="2344064" y="181394"/>
                </a:moveTo>
                <a:lnTo>
                  <a:pt x="2359838" y="181394"/>
                </a:lnTo>
                <a:lnTo>
                  <a:pt x="2359838" y="165621"/>
                </a:lnTo>
                <a:lnTo>
                  <a:pt x="2375611" y="165621"/>
                </a:lnTo>
                <a:lnTo>
                  <a:pt x="2375611" y="149847"/>
                </a:lnTo>
                <a:lnTo>
                  <a:pt x="2359838" y="149847"/>
                </a:lnTo>
                <a:lnTo>
                  <a:pt x="2359838" y="134074"/>
                </a:lnTo>
                <a:lnTo>
                  <a:pt x="2344064" y="134074"/>
                </a:lnTo>
                <a:lnTo>
                  <a:pt x="2344064" y="149847"/>
                </a:lnTo>
                <a:lnTo>
                  <a:pt x="2328291" y="149847"/>
                </a:lnTo>
                <a:lnTo>
                  <a:pt x="2328291" y="165621"/>
                </a:lnTo>
                <a:lnTo>
                  <a:pt x="2344064" y="165621"/>
                </a:lnTo>
                <a:lnTo>
                  <a:pt x="2344064" y="181394"/>
                </a:lnTo>
                <a:close/>
                <a:moveTo>
                  <a:pt x="1108253" y="459829"/>
                </a:moveTo>
                <a:lnTo>
                  <a:pt x="1126769" y="459829"/>
                </a:lnTo>
                <a:lnTo>
                  <a:pt x="1126769" y="441312"/>
                </a:lnTo>
                <a:lnTo>
                  <a:pt x="1145286" y="441312"/>
                </a:lnTo>
                <a:lnTo>
                  <a:pt x="1145286" y="422796"/>
                </a:lnTo>
                <a:lnTo>
                  <a:pt x="1126769" y="422796"/>
                </a:lnTo>
                <a:lnTo>
                  <a:pt x="1126769" y="404279"/>
                </a:lnTo>
                <a:lnTo>
                  <a:pt x="1108253" y="404279"/>
                </a:lnTo>
                <a:lnTo>
                  <a:pt x="1108253" y="422796"/>
                </a:lnTo>
                <a:lnTo>
                  <a:pt x="1089736" y="422796"/>
                </a:lnTo>
                <a:lnTo>
                  <a:pt x="1089736" y="441312"/>
                </a:lnTo>
                <a:lnTo>
                  <a:pt x="1108253" y="441312"/>
                </a:lnTo>
                <a:lnTo>
                  <a:pt x="1108253" y="459829"/>
                </a:lnTo>
                <a:close/>
                <a:moveTo>
                  <a:pt x="2414359" y="38748"/>
                </a:moveTo>
                <a:lnTo>
                  <a:pt x="2426704" y="38748"/>
                </a:lnTo>
                <a:lnTo>
                  <a:pt x="2426704" y="26746"/>
                </a:lnTo>
                <a:lnTo>
                  <a:pt x="2438705" y="26746"/>
                </a:lnTo>
                <a:lnTo>
                  <a:pt x="2438705" y="14402"/>
                </a:lnTo>
                <a:lnTo>
                  <a:pt x="2426704" y="14402"/>
                </a:lnTo>
                <a:lnTo>
                  <a:pt x="2426704" y="2400"/>
                </a:lnTo>
                <a:lnTo>
                  <a:pt x="2414359" y="2400"/>
                </a:lnTo>
                <a:lnTo>
                  <a:pt x="2414359" y="14402"/>
                </a:lnTo>
                <a:lnTo>
                  <a:pt x="2402357" y="14402"/>
                </a:lnTo>
                <a:lnTo>
                  <a:pt x="2402357" y="26746"/>
                </a:lnTo>
                <a:lnTo>
                  <a:pt x="2414359" y="26746"/>
                </a:lnTo>
                <a:lnTo>
                  <a:pt x="2414359" y="38748"/>
                </a:lnTo>
                <a:close/>
                <a:moveTo>
                  <a:pt x="2340979" y="465315"/>
                </a:moveTo>
                <a:lnTo>
                  <a:pt x="2362924" y="465315"/>
                </a:lnTo>
                <a:lnTo>
                  <a:pt x="2362924" y="443027"/>
                </a:lnTo>
                <a:lnTo>
                  <a:pt x="2385212" y="443027"/>
                </a:lnTo>
                <a:lnTo>
                  <a:pt x="2385212" y="421081"/>
                </a:lnTo>
                <a:lnTo>
                  <a:pt x="2362924" y="421081"/>
                </a:lnTo>
                <a:lnTo>
                  <a:pt x="2362924" y="398793"/>
                </a:lnTo>
                <a:lnTo>
                  <a:pt x="2340979" y="398793"/>
                </a:lnTo>
                <a:lnTo>
                  <a:pt x="2340979" y="421081"/>
                </a:lnTo>
                <a:lnTo>
                  <a:pt x="2318690" y="421081"/>
                </a:lnTo>
                <a:lnTo>
                  <a:pt x="2318690" y="443027"/>
                </a:lnTo>
                <a:lnTo>
                  <a:pt x="2340979" y="443027"/>
                </a:lnTo>
                <a:lnTo>
                  <a:pt x="2340979" y="465315"/>
                </a:lnTo>
                <a:close/>
                <a:moveTo>
                  <a:pt x="2203475" y="466344"/>
                </a:moveTo>
                <a:lnTo>
                  <a:pt x="2226107" y="466344"/>
                </a:lnTo>
                <a:lnTo>
                  <a:pt x="2226107" y="443370"/>
                </a:lnTo>
                <a:lnTo>
                  <a:pt x="2249081" y="443370"/>
                </a:lnTo>
                <a:lnTo>
                  <a:pt x="2249081" y="420738"/>
                </a:lnTo>
                <a:lnTo>
                  <a:pt x="2226107" y="420738"/>
                </a:lnTo>
                <a:lnTo>
                  <a:pt x="2226107" y="397764"/>
                </a:lnTo>
                <a:lnTo>
                  <a:pt x="2203475" y="397764"/>
                </a:lnTo>
                <a:lnTo>
                  <a:pt x="2203475" y="420738"/>
                </a:lnTo>
                <a:lnTo>
                  <a:pt x="2180501" y="420738"/>
                </a:lnTo>
                <a:lnTo>
                  <a:pt x="2180501" y="443370"/>
                </a:lnTo>
                <a:lnTo>
                  <a:pt x="2203475" y="443370"/>
                </a:lnTo>
                <a:lnTo>
                  <a:pt x="2203475" y="466344"/>
                </a:lnTo>
                <a:close/>
                <a:moveTo>
                  <a:pt x="2139353" y="40805"/>
                </a:moveTo>
                <a:lnTo>
                  <a:pt x="2153069" y="40805"/>
                </a:lnTo>
                <a:lnTo>
                  <a:pt x="2153069" y="27432"/>
                </a:lnTo>
                <a:lnTo>
                  <a:pt x="2166442" y="27432"/>
                </a:lnTo>
                <a:lnTo>
                  <a:pt x="2166442" y="13716"/>
                </a:lnTo>
                <a:lnTo>
                  <a:pt x="2153069" y="13716"/>
                </a:lnTo>
                <a:lnTo>
                  <a:pt x="2153069" y="343"/>
                </a:lnTo>
                <a:lnTo>
                  <a:pt x="2139353" y="343"/>
                </a:lnTo>
                <a:lnTo>
                  <a:pt x="2139353" y="13716"/>
                </a:lnTo>
                <a:lnTo>
                  <a:pt x="2125980" y="13716"/>
                </a:lnTo>
                <a:lnTo>
                  <a:pt x="2125980" y="27432"/>
                </a:lnTo>
                <a:lnTo>
                  <a:pt x="2139353" y="27432"/>
                </a:lnTo>
                <a:lnTo>
                  <a:pt x="2139353" y="40805"/>
                </a:lnTo>
                <a:close/>
                <a:moveTo>
                  <a:pt x="2206562" y="182423"/>
                </a:moveTo>
                <a:lnTo>
                  <a:pt x="2223021" y="182423"/>
                </a:lnTo>
                <a:lnTo>
                  <a:pt x="2223021" y="165964"/>
                </a:lnTo>
                <a:lnTo>
                  <a:pt x="2239480" y="165964"/>
                </a:lnTo>
                <a:lnTo>
                  <a:pt x="2239480" y="149504"/>
                </a:lnTo>
                <a:lnTo>
                  <a:pt x="2223021" y="149504"/>
                </a:lnTo>
                <a:lnTo>
                  <a:pt x="2223021" y="133045"/>
                </a:lnTo>
                <a:lnTo>
                  <a:pt x="2206562" y="133045"/>
                </a:lnTo>
                <a:lnTo>
                  <a:pt x="2206562" y="149504"/>
                </a:lnTo>
                <a:lnTo>
                  <a:pt x="2190103" y="149504"/>
                </a:lnTo>
                <a:lnTo>
                  <a:pt x="2190103" y="165964"/>
                </a:lnTo>
                <a:lnTo>
                  <a:pt x="2206562" y="165964"/>
                </a:lnTo>
                <a:lnTo>
                  <a:pt x="2206562" y="182423"/>
                </a:lnTo>
                <a:close/>
                <a:moveTo>
                  <a:pt x="2273770" y="324041"/>
                </a:moveTo>
                <a:lnTo>
                  <a:pt x="2292973" y="324041"/>
                </a:lnTo>
                <a:lnTo>
                  <a:pt x="2292973" y="304495"/>
                </a:lnTo>
                <a:lnTo>
                  <a:pt x="2312518" y="304495"/>
                </a:lnTo>
                <a:lnTo>
                  <a:pt x="2312518" y="285293"/>
                </a:lnTo>
                <a:lnTo>
                  <a:pt x="2292973" y="285293"/>
                </a:lnTo>
                <a:lnTo>
                  <a:pt x="2292973" y="265748"/>
                </a:lnTo>
                <a:lnTo>
                  <a:pt x="2273770" y="265748"/>
                </a:lnTo>
                <a:lnTo>
                  <a:pt x="2273770" y="285293"/>
                </a:lnTo>
                <a:lnTo>
                  <a:pt x="2254225" y="285293"/>
                </a:lnTo>
                <a:lnTo>
                  <a:pt x="2254225" y="304495"/>
                </a:lnTo>
                <a:lnTo>
                  <a:pt x="2273770" y="304495"/>
                </a:lnTo>
                <a:lnTo>
                  <a:pt x="2273770" y="324041"/>
                </a:lnTo>
                <a:close/>
                <a:moveTo>
                  <a:pt x="2276856" y="39776"/>
                </a:moveTo>
                <a:lnTo>
                  <a:pt x="2289886" y="39776"/>
                </a:lnTo>
                <a:lnTo>
                  <a:pt x="2289886" y="27089"/>
                </a:lnTo>
                <a:lnTo>
                  <a:pt x="2302574" y="27089"/>
                </a:lnTo>
                <a:lnTo>
                  <a:pt x="2302574" y="14059"/>
                </a:lnTo>
                <a:lnTo>
                  <a:pt x="2289886" y="14059"/>
                </a:lnTo>
                <a:lnTo>
                  <a:pt x="2289886" y="1372"/>
                </a:lnTo>
                <a:lnTo>
                  <a:pt x="2276856" y="1372"/>
                </a:lnTo>
                <a:lnTo>
                  <a:pt x="2276856" y="14059"/>
                </a:lnTo>
                <a:lnTo>
                  <a:pt x="2264169" y="14059"/>
                </a:lnTo>
                <a:lnTo>
                  <a:pt x="2264169" y="27089"/>
                </a:lnTo>
                <a:lnTo>
                  <a:pt x="2276856" y="27089"/>
                </a:lnTo>
                <a:lnTo>
                  <a:pt x="2276856" y="39776"/>
                </a:lnTo>
                <a:close/>
                <a:moveTo>
                  <a:pt x="2411273" y="323012"/>
                </a:moveTo>
                <a:lnTo>
                  <a:pt x="2429789" y="323012"/>
                </a:lnTo>
                <a:lnTo>
                  <a:pt x="2429789" y="304152"/>
                </a:lnTo>
                <a:lnTo>
                  <a:pt x="2448649" y="304152"/>
                </a:lnTo>
                <a:lnTo>
                  <a:pt x="2448649" y="285636"/>
                </a:lnTo>
                <a:lnTo>
                  <a:pt x="2429789" y="285636"/>
                </a:lnTo>
                <a:lnTo>
                  <a:pt x="2429789" y="266776"/>
                </a:lnTo>
                <a:lnTo>
                  <a:pt x="2411273" y="266776"/>
                </a:lnTo>
                <a:lnTo>
                  <a:pt x="2411273" y="285636"/>
                </a:lnTo>
                <a:lnTo>
                  <a:pt x="2392414" y="285636"/>
                </a:lnTo>
                <a:lnTo>
                  <a:pt x="2392414" y="304152"/>
                </a:lnTo>
                <a:lnTo>
                  <a:pt x="2411273" y="304152"/>
                </a:lnTo>
                <a:lnTo>
                  <a:pt x="2411273" y="323012"/>
                </a:lnTo>
                <a:close/>
                <a:moveTo>
                  <a:pt x="1314336" y="321297"/>
                </a:moveTo>
                <a:lnTo>
                  <a:pt x="1332166" y="321297"/>
                </a:lnTo>
                <a:lnTo>
                  <a:pt x="1332166" y="303809"/>
                </a:lnTo>
                <a:lnTo>
                  <a:pt x="1349654" y="303809"/>
                </a:lnTo>
                <a:lnTo>
                  <a:pt x="1349654" y="285979"/>
                </a:lnTo>
                <a:lnTo>
                  <a:pt x="1332166" y="285979"/>
                </a:lnTo>
                <a:lnTo>
                  <a:pt x="1332166" y="268491"/>
                </a:lnTo>
                <a:lnTo>
                  <a:pt x="1314336" y="268491"/>
                </a:lnTo>
                <a:lnTo>
                  <a:pt x="1314336" y="285979"/>
                </a:lnTo>
                <a:lnTo>
                  <a:pt x="1296848" y="285979"/>
                </a:lnTo>
                <a:lnTo>
                  <a:pt x="1296848" y="303809"/>
                </a:lnTo>
                <a:lnTo>
                  <a:pt x="1314336" y="303809"/>
                </a:lnTo>
                <a:lnTo>
                  <a:pt x="1314336" y="321297"/>
                </a:lnTo>
                <a:close/>
                <a:moveTo>
                  <a:pt x="1247813" y="178651"/>
                </a:moveTo>
                <a:lnTo>
                  <a:pt x="1261529" y="178651"/>
                </a:lnTo>
                <a:lnTo>
                  <a:pt x="1261529" y="164592"/>
                </a:lnTo>
                <a:lnTo>
                  <a:pt x="1275588" y="164592"/>
                </a:lnTo>
                <a:lnTo>
                  <a:pt x="1275588" y="150876"/>
                </a:lnTo>
                <a:lnTo>
                  <a:pt x="1261529" y="150876"/>
                </a:lnTo>
                <a:lnTo>
                  <a:pt x="1261529" y="136817"/>
                </a:lnTo>
                <a:lnTo>
                  <a:pt x="1247813" y="136817"/>
                </a:lnTo>
                <a:lnTo>
                  <a:pt x="1247813" y="150876"/>
                </a:lnTo>
                <a:lnTo>
                  <a:pt x="1233754" y="150876"/>
                </a:lnTo>
                <a:lnTo>
                  <a:pt x="1233754" y="164592"/>
                </a:lnTo>
                <a:lnTo>
                  <a:pt x="1247813" y="164592"/>
                </a:lnTo>
                <a:lnTo>
                  <a:pt x="1247813" y="178651"/>
                </a:lnTo>
                <a:close/>
                <a:moveTo>
                  <a:pt x="1311592" y="604190"/>
                </a:moveTo>
                <a:lnTo>
                  <a:pt x="1334910" y="604190"/>
                </a:lnTo>
                <a:lnTo>
                  <a:pt x="1334910" y="580873"/>
                </a:lnTo>
                <a:lnTo>
                  <a:pt x="1358227" y="580873"/>
                </a:lnTo>
                <a:lnTo>
                  <a:pt x="1358227" y="557555"/>
                </a:lnTo>
                <a:lnTo>
                  <a:pt x="1334910" y="557555"/>
                </a:lnTo>
                <a:lnTo>
                  <a:pt x="1334910" y="534238"/>
                </a:lnTo>
                <a:lnTo>
                  <a:pt x="1311592" y="534238"/>
                </a:lnTo>
                <a:lnTo>
                  <a:pt x="1311592" y="557555"/>
                </a:lnTo>
                <a:lnTo>
                  <a:pt x="1288275" y="557555"/>
                </a:lnTo>
                <a:lnTo>
                  <a:pt x="1288275" y="580873"/>
                </a:lnTo>
                <a:lnTo>
                  <a:pt x="1311592" y="580873"/>
                </a:lnTo>
                <a:lnTo>
                  <a:pt x="1311592" y="604190"/>
                </a:lnTo>
                <a:close/>
                <a:moveTo>
                  <a:pt x="1381201" y="463944"/>
                </a:moveTo>
                <a:lnTo>
                  <a:pt x="1402461" y="463944"/>
                </a:lnTo>
                <a:lnTo>
                  <a:pt x="1402461" y="442684"/>
                </a:lnTo>
                <a:lnTo>
                  <a:pt x="1423721" y="442684"/>
                </a:lnTo>
                <a:lnTo>
                  <a:pt x="1423721" y="421424"/>
                </a:lnTo>
                <a:lnTo>
                  <a:pt x="1402461" y="421424"/>
                </a:lnTo>
                <a:lnTo>
                  <a:pt x="1402461" y="400164"/>
                </a:lnTo>
                <a:lnTo>
                  <a:pt x="1381201" y="400164"/>
                </a:lnTo>
                <a:lnTo>
                  <a:pt x="1381201" y="421424"/>
                </a:lnTo>
                <a:lnTo>
                  <a:pt x="1359941" y="421424"/>
                </a:lnTo>
                <a:lnTo>
                  <a:pt x="1359941" y="442684"/>
                </a:lnTo>
                <a:lnTo>
                  <a:pt x="1381201" y="442684"/>
                </a:lnTo>
                <a:lnTo>
                  <a:pt x="1381201" y="463944"/>
                </a:lnTo>
                <a:close/>
                <a:moveTo>
                  <a:pt x="1244727" y="461886"/>
                </a:moveTo>
                <a:lnTo>
                  <a:pt x="1264615" y="461886"/>
                </a:lnTo>
                <a:lnTo>
                  <a:pt x="1264615" y="441998"/>
                </a:lnTo>
                <a:lnTo>
                  <a:pt x="1284503" y="441998"/>
                </a:lnTo>
                <a:lnTo>
                  <a:pt x="1284503" y="422110"/>
                </a:lnTo>
                <a:lnTo>
                  <a:pt x="1264615" y="422110"/>
                </a:lnTo>
                <a:lnTo>
                  <a:pt x="1264615" y="402222"/>
                </a:lnTo>
                <a:lnTo>
                  <a:pt x="1244727" y="402222"/>
                </a:lnTo>
                <a:lnTo>
                  <a:pt x="1244727" y="422110"/>
                </a:lnTo>
                <a:lnTo>
                  <a:pt x="1224839" y="422110"/>
                </a:lnTo>
                <a:lnTo>
                  <a:pt x="1224839" y="441998"/>
                </a:lnTo>
                <a:lnTo>
                  <a:pt x="1244727" y="441998"/>
                </a:lnTo>
                <a:lnTo>
                  <a:pt x="1244727" y="461886"/>
                </a:lnTo>
                <a:close/>
                <a:moveTo>
                  <a:pt x="1384287" y="180365"/>
                </a:moveTo>
                <a:lnTo>
                  <a:pt x="1399375" y="180365"/>
                </a:lnTo>
                <a:lnTo>
                  <a:pt x="1399375" y="165278"/>
                </a:lnTo>
                <a:lnTo>
                  <a:pt x="1414462" y="165278"/>
                </a:lnTo>
                <a:lnTo>
                  <a:pt x="1414462" y="150190"/>
                </a:lnTo>
                <a:lnTo>
                  <a:pt x="1399375" y="150190"/>
                </a:lnTo>
                <a:lnTo>
                  <a:pt x="1399375" y="135103"/>
                </a:lnTo>
                <a:lnTo>
                  <a:pt x="1384287" y="135103"/>
                </a:lnTo>
                <a:lnTo>
                  <a:pt x="1384287" y="150190"/>
                </a:lnTo>
                <a:lnTo>
                  <a:pt x="1369200" y="150190"/>
                </a:lnTo>
                <a:lnTo>
                  <a:pt x="1369200" y="165278"/>
                </a:lnTo>
                <a:lnTo>
                  <a:pt x="1384287" y="165278"/>
                </a:lnTo>
                <a:lnTo>
                  <a:pt x="1384287" y="180365"/>
                </a:lnTo>
                <a:close/>
                <a:moveTo>
                  <a:pt x="1111339" y="176594"/>
                </a:moveTo>
                <a:lnTo>
                  <a:pt x="1123683" y="176594"/>
                </a:lnTo>
                <a:lnTo>
                  <a:pt x="1123683" y="163906"/>
                </a:lnTo>
                <a:lnTo>
                  <a:pt x="1136371" y="163906"/>
                </a:lnTo>
                <a:lnTo>
                  <a:pt x="1136371" y="151562"/>
                </a:lnTo>
                <a:lnTo>
                  <a:pt x="1123683" y="151562"/>
                </a:lnTo>
                <a:lnTo>
                  <a:pt x="1123683" y="138875"/>
                </a:lnTo>
                <a:lnTo>
                  <a:pt x="1111339" y="138875"/>
                </a:lnTo>
                <a:lnTo>
                  <a:pt x="1111339" y="151562"/>
                </a:lnTo>
                <a:lnTo>
                  <a:pt x="1098652" y="151562"/>
                </a:lnTo>
                <a:lnTo>
                  <a:pt x="1098652" y="163906"/>
                </a:lnTo>
                <a:lnTo>
                  <a:pt x="1111339" y="163906"/>
                </a:lnTo>
                <a:lnTo>
                  <a:pt x="1111339" y="176594"/>
                </a:lnTo>
                <a:close/>
                <a:moveTo>
                  <a:pt x="1175118" y="602475"/>
                </a:moveTo>
                <a:lnTo>
                  <a:pt x="1197064" y="602475"/>
                </a:lnTo>
                <a:lnTo>
                  <a:pt x="1197064" y="580187"/>
                </a:lnTo>
                <a:lnTo>
                  <a:pt x="1219352" y="580187"/>
                </a:lnTo>
                <a:lnTo>
                  <a:pt x="1219352" y="558241"/>
                </a:lnTo>
                <a:lnTo>
                  <a:pt x="1197064" y="558241"/>
                </a:lnTo>
                <a:lnTo>
                  <a:pt x="1197064" y="535953"/>
                </a:lnTo>
                <a:lnTo>
                  <a:pt x="1175118" y="535953"/>
                </a:lnTo>
                <a:lnTo>
                  <a:pt x="1175118" y="558241"/>
                </a:lnTo>
                <a:lnTo>
                  <a:pt x="1152830" y="558241"/>
                </a:lnTo>
                <a:lnTo>
                  <a:pt x="1152830" y="580187"/>
                </a:lnTo>
                <a:lnTo>
                  <a:pt x="1175118" y="580187"/>
                </a:lnTo>
                <a:lnTo>
                  <a:pt x="1175118" y="602475"/>
                </a:lnTo>
                <a:close/>
                <a:moveTo>
                  <a:pt x="1177861" y="319240"/>
                </a:moveTo>
                <a:lnTo>
                  <a:pt x="1194321" y="319240"/>
                </a:lnTo>
                <a:lnTo>
                  <a:pt x="1194321" y="303124"/>
                </a:lnTo>
                <a:lnTo>
                  <a:pt x="1210437" y="303124"/>
                </a:lnTo>
                <a:lnTo>
                  <a:pt x="1210437" y="286664"/>
                </a:lnTo>
                <a:lnTo>
                  <a:pt x="1194321" y="286664"/>
                </a:lnTo>
                <a:lnTo>
                  <a:pt x="1194321" y="270548"/>
                </a:lnTo>
                <a:lnTo>
                  <a:pt x="1177861" y="270548"/>
                </a:lnTo>
                <a:lnTo>
                  <a:pt x="1177861" y="286664"/>
                </a:lnTo>
                <a:lnTo>
                  <a:pt x="1161745" y="286664"/>
                </a:lnTo>
                <a:lnTo>
                  <a:pt x="1161745" y="303124"/>
                </a:lnTo>
                <a:lnTo>
                  <a:pt x="1177861" y="303124"/>
                </a:lnTo>
                <a:lnTo>
                  <a:pt x="1177861" y="319240"/>
                </a:lnTo>
                <a:close/>
                <a:moveTo>
                  <a:pt x="1657921" y="182423"/>
                </a:moveTo>
                <a:lnTo>
                  <a:pt x="1674381" y="182423"/>
                </a:lnTo>
                <a:lnTo>
                  <a:pt x="1674381" y="165964"/>
                </a:lnTo>
                <a:lnTo>
                  <a:pt x="1690840" y="165964"/>
                </a:lnTo>
                <a:lnTo>
                  <a:pt x="1690840" y="149504"/>
                </a:lnTo>
                <a:lnTo>
                  <a:pt x="1674381" y="149504"/>
                </a:lnTo>
                <a:lnTo>
                  <a:pt x="1674381" y="133045"/>
                </a:lnTo>
                <a:lnTo>
                  <a:pt x="1657921" y="133045"/>
                </a:lnTo>
                <a:lnTo>
                  <a:pt x="1657921" y="149504"/>
                </a:lnTo>
                <a:lnTo>
                  <a:pt x="1641462" y="149504"/>
                </a:lnTo>
                <a:lnTo>
                  <a:pt x="1641462" y="165964"/>
                </a:lnTo>
                <a:lnTo>
                  <a:pt x="1657921" y="165964"/>
                </a:lnTo>
                <a:lnTo>
                  <a:pt x="1657921" y="182423"/>
                </a:lnTo>
                <a:close/>
                <a:moveTo>
                  <a:pt x="1727873" y="40805"/>
                </a:moveTo>
                <a:lnTo>
                  <a:pt x="1741589" y="40805"/>
                </a:lnTo>
                <a:lnTo>
                  <a:pt x="1741589" y="27432"/>
                </a:lnTo>
                <a:lnTo>
                  <a:pt x="1754962" y="27432"/>
                </a:lnTo>
                <a:lnTo>
                  <a:pt x="1754962" y="13716"/>
                </a:lnTo>
                <a:lnTo>
                  <a:pt x="1741589" y="13716"/>
                </a:lnTo>
                <a:lnTo>
                  <a:pt x="1741589" y="343"/>
                </a:lnTo>
                <a:lnTo>
                  <a:pt x="1727873" y="343"/>
                </a:lnTo>
                <a:lnTo>
                  <a:pt x="1727873" y="13716"/>
                </a:lnTo>
                <a:lnTo>
                  <a:pt x="1714500" y="13716"/>
                </a:lnTo>
                <a:lnTo>
                  <a:pt x="1714500" y="27432"/>
                </a:lnTo>
                <a:lnTo>
                  <a:pt x="1727873" y="27432"/>
                </a:lnTo>
                <a:lnTo>
                  <a:pt x="1727873" y="40805"/>
                </a:lnTo>
                <a:close/>
                <a:moveTo>
                  <a:pt x="1654835" y="466001"/>
                </a:moveTo>
                <a:lnTo>
                  <a:pt x="1677467" y="466001"/>
                </a:lnTo>
                <a:lnTo>
                  <a:pt x="1677467" y="443370"/>
                </a:lnTo>
                <a:lnTo>
                  <a:pt x="1700098" y="443370"/>
                </a:lnTo>
                <a:lnTo>
                  <a:pt x="1700098" y="420738"/>
                </a:lnTo>
                <a:lnTo>
                  <a:pt x="1677467" y="420738"/>
                </a:lnTo>
                <a:lnTo>
                  <a:pt x="1677467" y="398107"/>
                </a:lnTo>
                <a:lnTo>
                  <a:pt x="1654835" y="398107"/>
                </a:lnTo>
                <a:lnTo>
                  <a:pt x="1654835" y="420738"/>
                </a:lnTo>
                <a:lnTo>
                  <a:pt x="1632204" y="420738"/>
                </a:lnTo>
                <a:lnTo>
                  <a:pt x="1632204" y="443370"/>
                </a:lnTo>
                <a:lnTo>
                  <a:pt x="1654835" y="443370"/>
                </a:lnTo>
                <a:lnTo>
                  <a:pt x="1654835" y="466001"/>
                </a:lnTo>
                <a:close/>
                <a:moveTo>
                  <a:pt x="1724787" y="325069"/>
                </a:moveTo>
                <a:lnTo>
                  <a:pt x="1744675" y="325069"/>
                </a:lnTo>
                <a:lnTo>
                  <a:pt x="1744675" y="304838"/>
                </a:lnTo>
                <a:lnTo>
                  <a:pt x="1764906" y="304838"/>
                </a:lnTo>
                <a:lnTo>
                  <a:pt x="1764906" y="284950"/>
                </a:lnTo>
                <a:lnTo>
                  <a:pt x="1744675" y="284950"/>
                </a:lnTo>
                <a:lnTo>
                  <a:pt x="1744675" y="264719"/>
                </a:lnTo>
                <a:lnTo>
                  <a:pt x="1724787" y="264719"/>
                </a:lnTo>
                <a:lnTo>
                  <a:pt x="1724787" y="284950"/>
                </a:lnTo>
                <a:lnTo>
                  <a:pt x="1704556" y="284950"/>
                </a:lnTo>
                <a:lnTo>
                  <a:pt x="1704556" y="304838"/>
                </a:lnTo>
                <a:lnTo>
                  <a:pt x="1724787" y="304838"/>
                </a:lnTo>
                <a:lnTo>
                  <a:pt x="1724787" y="325069"/>
                </a:lnTo>
                <a:close/>
                <a:moveTo>
                  <a:pt x="1591056" y="39776"/>
                </a:moveTo>
                <a:lnTo>
                  <a:pt x="1604086" y="39776"/>
                </a:lnTo>
                <a:lnTo>
                  <a:pt x="1604086" y="27089"/>
                </a:lnTo>
                <a:lnTo>
                  <a:pt x="1616773" y="27089"/>
                </a:lnTo>
                <a:lnTo>
                  <a:pt x="1616773" y="14059"/>
                </a:lnTo>
                <a:lnTo>
                  <a:pt x="1604086" y="14059"/>
                </a:lnTo>
                <a:lnTo>
                  <a:pt x="1604086" y="1372"/>
                </a:lnTo>
                <a:lnTo>
                  <a:pt x="1591056" y="1372"/>
                </a:lnTo>
                <a:lnTo>
                  <a:pt x="1591056" y="14059"/>
                </a:lnTo>
                <a:lnTo>
                  <a:pt x="1578369" y="14059"/>
                </a:lnTo>
                <a:lnTo>
                  <a:pt x="1578369" y="27089"/>
                </a:lnTo>
                <a:lnTo>
                  <a:pt x="1591056" y="27089"/>
                </a:lnTo>
                <a:lnTo>
                  <a:pt x="1591056" y="39776"/>
                </a:lnTo>
                <a:close/>
                <a:moveTo>
                  <a:pt x="1454239" y="39091"/>
                </a:moveTo>
                <a:lnTo>
                  <a:pt x="1466583" y="39091"/>
                </a:lnTo>
                <a:lnTo>
                  <a:pt x="1466583" y="26746"/>
                </a:lnTo>
                <a:lnTo>
                  <a:pt x="1478928" y="26746"/>
                </a:lnTo>
                <a:lnTo>
                  <a:pt x="1478928" y="14402"/>
                </a:lnTo>
                <a:lnTo>
                  <a:pt x="1466583" y="14402"/>
                </a:lnTo>
                <a:lnTo>
                  <a:pt x="1466583" y="2057"/>
                </a:lnTo>
                <a:lnTo>
                  <a:pt x="1454239" y="2057"/>
                </a:lnTo>
                <a:lnTo>
                  <a:pt x="1454239" y="14402"/>
                </a:lnTo>
                <a:lnTo>
                  <a:pt x="1441894" y="14402"/>
                </a:lnTo>
                <a:lnTo>
                  <a:pt x="1441894" y="26746"/>
                </a:lnTo>
                <a:lnTo>
                  <a:pt x="1454239" y="26746"/>
                </a:lnTo>
                <a:lnTo>
                  <a:pt x="1454239" y="39091"/>
                </a:lnTo>
                <a:close/>
                <a:moveTo>
                  <a:pt x="1518018" y="464972"/>
                </a:moveTo>
                <a:lnTo>
                  <a:pt x="1539964" y="464972"/>
                </a:lnTo>
                <a:lnTo>
                  <a:pt x="1539964" y="443027"/>
                </a:lnTo>
                <a:lnTo>
                  <a:pt x="1561909" y="443027"/>
                </a:lnTo>
                <a:lnTo>
                  <a:pt x="1561909" y="421081"/>
                </a:lnTo>
                <a:lnTo>
                  <a:pt x="1539964" y="421081"/>
                </a:lnTo>
                <a:lnTo>
                  <a:pt x="1539964" y="399136"/>
                </a:lnTo>
                <a:lnTo>
                  <a:pt x="1518018" y="399136"/>
                </a:lnTo>
                <a:lnTo>
                  <a:pt x="1518018" y="421081"/>
                </a:lnTo>
                <a:lnTo>
                  <a:pt x="1496073" y="421081"/>
                </a:lnTo>
                <a:lnTo>
                  <a:pt x="1496073" y="443027"/>
                </a:lnTo>
                <a:lnTo>
                  <a:pt x="1518018" y="443027"/>
                </a:lnTo>
                <a:lnTo>
                  <a:pt x="1518018" y="464972"/>
                </a:lnTo>
                <a:close/>
                <a:moveTo>
                  <a:pt x="1451153" y="323012"/>
                </a:moveTo>
                <a:lnTo>
                  <a:pt x="1469669" y="323012"/>
                </a:lnTo>
                <a:lnTo>
                  <a:pt x="1469669" y="304152"/>
                </a:lnTo>
                <a:lnTo>
                  <a:pt x="1488529" y="304152"/>
                </a:lnTo>
                <a:lnTo>
                  <a:pt x="1488529" y="285636"/>
                </a:lnTo>
                <a:lnTo>
                  <a:pt x="1469669" y="285636"/>
                </a:lnTo>
                <a:lnTo>
                  <a:pt x="1469669" y="266776"/>
                </a:lnTo>
                <a:lnTo>
                  <a:pt x="1451153" y="266776"/>
                </a:lnTo>
                <a:lnTo>
                  <a:pt x="1451153" y="285636"/>
                </a:lnTo>
                <a:lnTo>
                  <a:pt x="1432293" y="285636"/>
                </a:lnTo>
                <a:lnTo>
                  <a:pt x="1432293" y="304152"/>
                </a:lnTo>
                <a:lnTo>
                  <a:pt x="1451153" y="304152"/>
                </a:lnTo>
                <a:lnTo>
                  <a:pt x="1451153" y="323012"/>
                </a:lnTo>
                <a:close/>
                <a:moveTo>
                  <a:pt x="1587970" y="324041"/>
                </a:moveTo>
                <a:lnTo>
                  <a:pt x="1607172" y="324041"/>
                </a:lnTo>
                <a:lnTo>
                  <a:pt x="1607172" y="304495"/>
                </a:lnTo>
                <a:lnTo>
                  <a:pt x="1626718" y="304495"/>
                </a:lnTo>
                <a:lnTo>
                  <a:pt x="1626718" y="285293"/>
                </a:lnTo>
                <a:lnTo>
                  <a:pt x="1607172" y="285293"/>
                </a:lnTo>
                <a:lnTo>
                  <a:pt x="1607172" y="265748"/>
                </a:lnTo>
                <a:lnTo>
                  <a:pt x="1587970" y="265748"/>
                </a:lnTo>
                <a:lnTo>
                  <a:pt x="1587970" y="285293"/>
                </a:lnTo>
                <a:lnTo>
                  <a:pt x="1568425" y="285293"/>
                </a:lnTo>
                <a:lnTo>
                  <a:pt x="1568425" y="304495"/>
                </a:lnTo>
                <a:lnTo>
                  <a:pt x="1587970" y="304495"/>
                </a:lnTo>
                <a:lnTo>
                  <a:pt x="1587970" y="324041"/>
                </a:lnTo>
                <a:close/>
                <a:moveTo>
                  <a:pt x="1521104" y="181394"/>
                </a:moveTo>
                <a:lnTo>
                  <a:pt x="1536878" y="181394"/>
                </a:lnTo>
                <a:lnTo>
                  <a:pt x="1536878" y="165621"/>
                </a:lnTo>
                <a:lnTo>
                  <a:pt x="1552651" y="165621"/>
                </a:lnTo>
                <a:lnTo>
                  <a:pt x="1552651" y="149847"/>
                </a:lnTo>
                <a:lnTo>
                  <a:pt x="1536878" y="149847"/>
                </a:lnTo>
                <a:lnTo>
                  <a:pt x="1536878" y="134074"/>
                </a:lnTo>
                <a:lnTo>
                  <a:pt x="1521104" y="134074"/>
                </a:lnTo>
                <a:lnTo>
                  <a:pt x="1521104" y="149847"/>
                </a:lnTo>
                <a:lnTo>
                  <a:pt x="1505331" y="149847"/>
                </a:lnTo>
                <a:lnTo>
                  <a:pt x="1505331" y="165621"/>
                </a:lnTo>
                <a:lnTo>
                  <a:pt x="1521104" y="165621"/>
                </a:lnTo>
                <a:lnTo>
                  <a:pt x="1521104" y="181394"/>
                </a:lnTo>
                <a:close/>
              </a:path>
            </a:pathLst>
          </a:custGeom>
          <a:gradFill>
            <a:gsLst>
              <a:gs pos="0">
                <a:schemeClr val="accent4">
                  <a:alpha val="15080"/>
                </a:schemeClr>
              </a:gs>
              <a:gs pos="100000">
                <a:schemeClr val="accent1">
                  <a:alpha val="15080"/>
                </a:schemeClr>
              </a:gs>
            </a:gsLst>
            <a:path path="circle">
              <a:fillToRect l="50000" t="50000" r="50000" b="50000"/>
            </a:path>
            <a:tileRect/>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5" name="Rectangle 4"/>
          <p:cNvSpPr/>
          <p:nvPr userDrawn="1"/>
        </p:nvSpPr>
        <p:spPr>
          <a:xfrm>
            <a:off x="1" y="1"/>
            <a:ext cx="10955382" cy="903599"/>
          </a:xfrm>
          <a:prstGeom prst="rect">
            <a:avLst/>
          </a:prstGeom>
          <a:solidFill>
            <a:srgbClr val="061A26">
              <a:alpha val="9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lt-LT"/>
          </a:p>
        </p:txBody>
      </p:sp>
      <p:sp>
        <p:nvSpPr>
          <p:cNvPr id="6" name="Title 1"/>
          <p:cNvSpPr>
            <a:spLocks noGrp="1"/>
          </p:cNvSpPr>
          <p:nvPr>
            <p:ph type="title"/>
          </p:nvPr>
        </p:nvSpPr>
        <p:spPr>
          <a:xfrm>
            <a:off x="337352" y="1"/>
            <a:ext cx="10618032" cy="903600"/>
          </a:xfrm>
        </p:spPr>
        <p:txBody>
          <a:bodyPr anchor="ctr">
            <a:normAutofit/>
          </a:bodyPr>
          <a:lstStyle>
            <a:lvl1pPr>
              <a:defRPr sz="3200" b="0">
                <a:solidFill>
                  <a:srgbClr val="F5F5F5"/>
                </a:solidFill>
                <a:latin typeface="Cambria Math" panose="02040503050406030204" pitchFamily="18" charset="0"/>
                <a:ea typeface="Cambria Math" panose="02040503050406030204" pitchFamily="18" charset="0"/>
              </a:defRPr>
            </a:lvl1pPr>
          </a:lstStyle>
          <a:p>
            <a:r>
              <a:rPr lang="en-US" dirty="0"/>
              <a:t>Click to edit Master title style</a:t>
            </a:r>
            <a:endParaRPr lang="lt-LT" dirty="0"/>
          </a:p>
        </p:txBody>
      </p:sp>
    </p:spTree>
    <p:extLst>
      <p:ext uri="{BB962C8B-B14F-4D97-AF65-F5344CB8AC3E}">
        <p14:creationId xmlns:p14="http://schemas.microsoft.com/office/powerpoint/2010/main" val="179757849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Ending Slide">
    <p:spTree>
      <p:nvGrpSpPr>
        <p:cNvPr id="1" name=""/>
        <p:cNvGrpSpPr/>
        <p:nvPr/>
      </p:nvGrpSpPr>
      <p:grpSpPr>
        <a:xfrm>
          <a:off x="0" y="0"/>
          <a:ext cx="0" cy="0"/>
          <a:chOff x="0" y="0"/>
          <a:chExt cx="0" cy="0"/>
        </a:xfrm>
      </p:grpSpPr>
      <p:pic>
        <p:nvPicPr>
          <p:cNvPr id="21" name="Picture 20"/>
          <p:cNvPicPr>
            <a:picLocks noChangeAspect="1"/>
          </p:cNvPicPr>
          <p:nvPr userDrawn="1"/>
        </p:nvPicPr>
        <p:blipFill>
          <a:blip r:embed="rId2"/>
          <a:stretch>
            <a:fillRect/>
          </a:stretch>
        </p:blipFill>
        <p:spPr>
          <a:xfrm>
            <a:off x="6278094" y="694684"/>
            <a:ext cx="4524346" cy="3386240"/>
          </a:xfrm>
          <a:prstGeom prst="rect">
            <a:avLst/>
          </a:prstGeom>
        </p:spPr>
      </p:pic>
      <p:sp>
        <p:nvSpPr>
          <p:cNvPr id="12" name="Rectangle 11"/>
          <p:cNvSpPr/>
          <p:nvPr userDrawn="1"/>
        </p:nvSpPr>
        <p:spPr>
          <a:xfrm>
            <a:off x="0" y="6474994"/>
            <a:ext cx="12192000" cy="383006"/>
          </a:xfrm>
          <a:prstGeom prst="rect">
            <a:avLst/>
          </a:prstGeom>
          <a:solidFill>
            <a:srgbClr val="061A26">
              <a:alpha val="94000"/>
            </a:srgb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lt-LT"/>
          </a:p>
        </p:txBody>
      </p:sp>
      <p:sp>
        <p:nvSpPr>
          <p:cNvPr id="14" name="TextBox 13"/>
          <p:cNvSpPr txBox="1"/>
          <p:nvPr userDrawn="1"/>
        </p:nvSpPr>
        <p:spPr>
          <a:xfrm>
            <a:off x="9895115" y="6474206"/>
            <a:ext cx="2296886" cy="369332"/>
          </a:xfrm>
          <a:prstGeom prst="rect">
            <a:avLst/>
          </a:prstGeom>
          <a:noFill/>
        </p:spPr>
        <p:txBody>
          <a:bodyPr wrap="square" rtlCol="0">
            <a:spAutoFit/>
          </a:bodyPr>
          <a:lstStyle/>
          <a:p>
            <a:r>
              <a:rPr lang="lt-LT" dirty="0">
                <a:solidFill>
                  <a:srgbClr val="F5F5F5"/>
                </a:solidFill>
              </a:rPr>
              <a:t>www.raitgroup.com</a:t>
            </a:r>
          </a:p>
        </p:txBody>
      </p:sp>
      <p:sp>
        <p:nvSpPr>
          <p:cNvPr id="5" name="Rectangle 4"/>
          <p:cNvSpPr/>
          <p:nvPr userDrawn="1"/>
        </p:nvSpPr>
        <p:spPr>
          <a:xfrm>
            <a:off x="10972800" y="1"/>
            <a:ext cx="1219200" cy="9753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71956466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3" name="Rectangle 2"/>
          <p:cNvSpPr/>
          <p:nvPr userDrawn="1"/>
        </p:nvSpPr>
        <p:spPr>
          <a:xfrm>
            <a:off x="1" y="1"/>
            <a:ext cx="10955382" cy="903599"/>
          </a:xfrm>
          <a:prstGeom prst="rect">
            <a:avLst/>
          </a:prstGeom>
          <a:solidFill>
            <a:srgbClr val="061A26">
              <a:alpha val="9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lt-LT">
              <a:solidFill>
                <a:prstClr val="white"/>
              </a:solidFill>
            </a:endParaRPr>
          </a:p>
        </p:txBody>
      </p:sp>
      <p:sp>
        <p:nvSpPr>
          <p:cNvPr id="2" name="Title 1"/>
          <p:cNvSpPr>
            <a:spLocks noGrp="1"/>
          </p:cNvSpPr>
          <p:nvPr>
            <p:ph type="title"/>
          </p:nvPr>
        </p:nvSpPr>
        <p:spPr>
          <a:xfrm>
            <a:off x="407832" y="1"/>
            <a:ext cx="10547551" cy="903600"/>
          </a:xfrm>
        </p:spPr>
        <p:txBody>
          <a:bodyPr anchor="ctr">
            <a:noAutofit/>
          </a:bodyPr>
          <a:lstStyle>
            <a:lvl1pPr>
              <a:defRPr sz="3200" b="0">
                <a:solidFill>
                  <a:srgbClr val="F5F5F5"/>
                </a:solidFill>
                <a:latin typeface="Cambria Math" panose="02040503050406030204" pitchFamily="18" charset="0"/>
                <a:ea typeface="Cambria Math" panose="02040503050406030204" pitchFamily="18" charset="0"/>
              </a:defRPr>
            </a:lvl1pPr>
          </a:lstStyle>
          <a:p>
            <a:r>
              <a:rPr lang="en-US" dirty="0"/>
              <a:t>Click to edit Master title style</a:t>
            </a:r>
            <a:endParaRPr lang="lt-LT" dirty="0"/>
          </a:p>
        </p:txBody>
      </p:sp>
      <p:sp>
        <p:nvSpPr>
          <p:cNvPr id="4" name="Text Placeholder 8"/>
          <p:cNvSpPr>
            <a:spLocks noGrp="1"/>
          </p:cNvSpPr>
          <p:nvPr>
            <p:ph type="body" sz="quarter" idx="15" hasCustomPrompt="1"/>
          </p:nvPr>
        </p:nvSpPr>
        <p:spPr>
          <a:xfrm>
            <a:off x="133350" y="5454502"/>
            <a:ext cx="11925299" cy="1003995"/>
          </a:xfrm>
        </p:spPr>
        <p:txBody>
          <a:bodyPr anchor="b" anchorCtr="0">
            <a:noAutofit/>
          </a:bodyPr>
          <a:lstStyle>
            <a:lvl1pPr marL="0" indent="0">
              <a:lnSpc>
                <a:spcPct val="100000"/>
              </a:lnSpc>
              <a:spcBef>
                <a:spcPts val="0"/>
              </a:spcBef>
              <a:buSzPct val="50000"/>
              <a:buFont typeface="Wingdings" panose="05000000000000000000" pitchFamily="2" charset="2"/>
              <a:buNone/>
              <a:defRPr sz="1200" i="0" baseline="0">
                <a:solidFill>
                  <a:schemeClr val="bg1">
                    <a:lumMod val="50000"/>
                  </a:schemeClr>
                </a:solidFill>
                <a:latin typeface="+mj-lt"/>
              </a:defRPr>
            </a:lvl1pPr>
            <a:lvl2pPr marL="685800" indent="-228600">
              <a:buSzPct val="50000"/>
              <a:buFont typeface="Wingdings" panose="05000000000000000000" pitchFamily="2" charset="2"/>
              <a:buChar char="§"/>
              <a:defRPr sz="1200">
                <a:solidFill>
                  <a:schemeClr val="bg1">
                    <a:lumMod val="50000"/>
                  </a:schemeClr>
                </a:solidFill>
                <a:latin typeface="+mj-lt"/>
              </a:defRPr>
            </a:lvl2pPr>
            <a:lvl3pPr marL="1143000" indent="-228600">
              <a:buSzPct val="50000"/>
              <a:buFont typeface="Wingdings" panose="05000000000000000000" pitchFamily="2" charset="2"/>
              <a:buChar char="§"/>
              <a:defRPr sz="1200">
                <a:solidFill>
                  <a:schemeClr val="bg1">
                    <a:lumMod val="50000"/>
                  </a:schemeClr>
                </a:solidFill>
                <a:latin typeface="+mj-lt"/>
              </a:defRPr>
            </a:lvl3pPr>
            <a:lvl4pPr marL="1600200" indent="-228600">
              <a:buSzPct val="50000"/>
              <a:buFont typeface="Wingdings" panose="05000000000000000000" pitchFamily="2" charset="2"/>
              <a:buChar char="§"/>
              <a:defRPr sz="1200">
                <a:solidFill>
                  <a:schemeClr val="bg1">
                    <a:lumMod val="50000"/>
                  </a:schemeClr>
                </a:solidFill>
                <a:latin typeface="+mj-lt"/>
              </a:defRPr>
            </a:lvl4pPr>
            <a:lvl5pPr marL="2057400" indent="-228600">
              <a:buSzPct val="50000"/>
              <a:buFont typeface="Wingdings" panose="05000000000000000000" pitchFamily="2" charset="2"/>
              <a:buChar char="§"/>
              <a:defRPr sz="1200">
                <a:solidFill>
                  <a:schemeClr val="bg1">
                    <a:lumMod val="50000"/>
                  </a:schemeClr>
                </a:solidFill>
                <a:latin typeface="+mj-lt"/>
              </a:defRPr>
            </a:lvl5pPr>
          </a:lstStyle>
          <a:p>
            <a:pPr lvl="0"/>
            <a:r>
              <a:rPr lang="en-US" dirty="0"/>
              <a:t>Your text here</a:t>
            </a:r>
            <a:endParaRPr lang="lt-LT" dirty="0"/>
          </a:p>
        </p:txBody>
      </p:sp>
    </p:spTree>
    <p:extLst>
      <p:ext uri="{BB962C8B-B14F-4D97-AF65-F5344CB8AC3E}">
        <p14:creationId xmlns:p14="http://schemas.microsoft.com/office/powerpoint/2010/main" val="101375113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7_Title Only">
    <p:spTree>
      <p:nvGrpSpPr>
        <p:cNvPr id="1" name=""/>
        <p:cNvGrpSpPr/>
        <p:nvPr/>
      </p:nvGrpSpPr>
      <p:grpSpPr>
        <a:xfrm>
          <a:off x="0" y="0"/>
          <a:ext cx="0" cy="0"/>
          <a:chOff x="0" y="0"/>
          <a:chExt cx="0" cy="0"/>
        </a:xfrm>
      </p:grpSpPr>
      <p:sp>
        <p:nvSpPr>
          <p:cNvPr id="3" name="Rectangle 2"/>
          <p:cNvSpPr/>
          <p:nvPr userDrawn="1"/>
        </p:nvSpPr>
        <p:spPr>
          <a:xfrm>
            <a:off x="1" y="1"/>
            <a:ext cx="10955382" cy="903599"/>
          </a:xfrm>
          <a:prstGeom prst="rect">
            <a:avLst/>
          </a:prstGeom>
          <a:solidFill>
            <a:srgbClr val="061A26">
              <a:alpha val="9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lt-LT"/>
          </a:p>
        </p:txBody>
      </p:sp>
      <p:sp>
        <p:nvSpPr>
          <p:cNvPr id="2" name="Title 1"/>
          <p:cNvSpPr>
            <a:spLocks noGrp="1"/>
          </p:cNvSpPr>
          <p:nvPr>
            <p:ph type="title"/>
          </p:nvPr>
        </p:nvSpPr>
        <p:spPr>
          <a:xfrm>
            <a:off x="407832" y="1"/>
            <a:ext cx="10547551" cy="903600"/>
          </a:xfrm>
        </p:spPr>
        <p:txBody>
          <a:bodyPr anchor="ctr">
            <a:normAutofit/>
          </a:bodyPr>
          <a:lstStyle>
            <a:lvl1pPr>
              <a:defRPr sz="3200" b="0">
                <a:solidFill>
                  <a:srgbClr val="F5F5F5"/>
                </a:solidFill>
                <a:latin typeface="Cambria Math" panose="02040503050406030204" pitchFamily="18" charset="0"/>
                <a:ea typeface="Cambria Math" panose="02040503050406030204" pitchFamily="18" charset="0"/>
              </a:defRPr>
            </a:lvl1pPr>
          </a:lstStyle>
          <a:p>
            <a:r>
              <a:rPr lang="en-US" dirty="0"/>
              <a:t>Click to edit Master title style</a:t>
            </a:r>
            <a:endParaRPr lang="lt-LT" dirty="0"/>
          </a:p>
        </p:txBody>
      </p:sp>
      <p:sp>
        <p:nvSpPr>
          <p:cNvPr id="4" name="Text Placeholder 8"/>
          <p:cNvSpPr>
            <a:spLocks noGrp="1"/>
          </p:cNvSpPr>
          <p:nvPr>
            <p:ph type="body" sz="quarter" idx="15" hasCustomPrompt="1"/>
          </p:nvPr>
        </p:nvSpPr>
        <p:spPr>
          <a:xfrm>
            <a:off x="133350" y="5983550"/>
            <a:ext cx="11925299" cy="474947"/>
          </a:xfrm>
        </p:spPr>
        <p:txBody>
          <a:bodyPr anchor="b" anchorCtr="0">
            <a:noAutofit/>
          </a:bodyPr>
          <a:lstStyle>
            <a:lvl1pPr marL="0" indent="0">
              <a:lnSpc>
                <a:spcPct val="100000"/>
              </a:lnSpc>
              <a:spcBef>
                <a:spcPts val="0"/>
              </a:spcBef>
              <a:buSzPct val="50000"/>
              <a:buFont typeface="Wingdings" panose="05000000000000000000" pitchFamily="2" charset="2"/>
              <a:buNone/>
              <a:defRPr sz="1000" i="0" baseline="0">
                <a:solidFill>
                  <a:schemeClr val="bg1">
                    <a:lumMod val="50000"/>
                  </a:schemeClr>
                </a:solidFill>
                <a:latin typeface="+mj-lt"/>
              </a:defRPr>
            </a:lvl1pPr>
            <a:lvl2pPr marL="685800" indent="-228600">
              <a:buSzPct val="50000"/>
              <a:buFont typeface="Wingdings" panose="05000000000000000000" pitchFamily="2" charset="2"/>
              <a:buChar char="§"/>
              <a:defRPr sz="1200">
                <a:solidFill>
                  <a:schemeClr val="bg1">
                    <a:lumMod val="50000"/>
                  </a:schemeClr>
                </a:solidFill>
                <a:latin typeface="+mj-lt"/>
              </a:defRPr>
            </a:lvl2pPr>
            <a:lvl3pPr marL="1143000" indent="-228600">
              <a:buSzPct val="50000"/>
              <a:buFont typeface="Wingdings" panose="05000000000000000000" pitchFamily="2" charset="2"/>
              <a:buChar char="§"/>
              <a:defRPr sz="1200">
                <a:solidFill>
                  <a:schemeClr val="bg1">
                    <a:lumMod val="50000"/>
                  </a:schemeClr>
                </a:solidFill>
                <a:latin typeface="+mj-lt"/>
              </a:defRPr>
            </a:lvl3pPr>
            <a:lvl4pPr marL="1600200" indent="-228600">
              <a:buSzPct val="50000"/>
              <a:buFont typeface="Wingdings" panose="05000000000000000000" pitchFamily="2" charset="2"/>
              <a:buChar char="§"/>
              <a:defRPr sz="1200">
                <a:solidFill>
                  <a:schemeClr val="bg1">
                    <a:lumMod val="50000"/>
                  </a:schemeClr>
                </a:solidFill>
                <a:latin typeface="+mj-lt"/>
              </a:defRPr>
            </a:lvl4pPr>
            <a:lvl5pPr marL="2057400" indent="-228600">
              <a:buSzPct val="50000"/>
              <a:buFont typeface="Wingdings" panose="05000000000000000000" pitchFamily="2" charset="2"/>
              <a:buChar char="§"/>
              <a:defRPr sz="1200">
                <a:solidFill>
                  <a:schemeClr val="bg1">
                    <a:lumMod val="50000"/>
                  </a:schemeClr>
                </a:solidFill>
                <a:latin typeface="+mj-lt"/>
              </a:defRPr>
            </a:lvl5pPr>
          </a:lstStyle>
          <a:p>
            <a:pPr lvl="0"/>
            <a:r>
              <a:rPr lang="en-US" dirty="0"/>
              <a:t>Your text here</a:t>
            </a:r>
            <a:endParaRPr lang="lt-LT" dirty="0"/>
          </a:p>
        </p:txBody>
      </p:sp>
    </p:spTree>
    <p:extLst>
      <p:ext uri="{BB962C8B-B14F-4D97-AF65-F5344CB8AC3E}">
        <p14:creationId xmlns:p14="http://schemas.microsoft.com/office/powerpoint/2010/main" val="338084809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1_Ending Slide">
    <p:spTree>
      <p:nvGrpSpPr>
        <p:cNvPr id="1" name=""/>
        <p:cNvGrpSpPr/>
        <p:nvPr/>
      </p:nvGrpSpPr>
      <p:grpSpPr>
        <a:xfrm>
          <a:off x="0" y="0"/>
          <a:ext cx="0" cy="0"/>
          <a:chOff x="0" y="0"/>
          <a:chExt cx="0" cy="0"/>
        </a:xfrm>
      </p:grpSpPr>
      <p:sp>
        <p:nvSpPr>
          <p:cNvPr id="6" name="Title 1"/>
          <p:cNvSpPr>
            <a:spLocks noGrp="1"/>
          </p:cNvSpPr>
          <p:nvPr>
            <p:ph type="title"/>
          </p:nvPr>
        </p:nvSpPr>
        <p:spPr>
          <a:xfrm>
            <a:off x="0" y="3207434"/>
            <a:ext cx="12192000" cy="1355041"/>
          </a:xfrm>
          <a:prstGeom prst="rect">
            <a:avLst/>
          </a:prstGeom>
          <a:solidFill>
            <a:srgbClr val="061A26">
              <a:alpha val="95000"/>
            </a:srgbClr>
          </a:solidFill>
        </p:spPr>
        <p:txBody>
          <a:bodyPr anchor="b"/>
          <a:lstStyle>
            <a:lvl1pPr algn="r">
              <a:defRPr sz="4400">
                <a:solidFill>
                  <a:srgbClr val="F5F5F5"/>
                </a:solidFill>
                <a:latin typeface="Cambria Math" panose="02040503050406030204" pitchFamily="18" charset="0"/>
                <a:ea typeface="Cambria Math" panose="02040503050406030204" pitchFamily="18" charset="0"/>
              </a:defRPr>
            </a:lvl1pPr>
          </a:lstStyle>
          <a:p>
            <a:r>
              <a:rPr lang="en-US" dirty="0"/>
              <a:t>Click to edit Master title style</a:t>
            </a:r>
            <a:endParaRPr lang="lt-LT" dirty="0"/>
          </a:p>
        </p:txBody>
      </p:sp>
      <p:sp>
        <p:nvSpPr>
          <p:cNvPr id="7" name="Text Placeholder 2"/>
          <p:cNvSpPr>
            <a:spLocks noGrp="1"/>
          </p:cNvSpPr>
          <p:nvPr>
            <p:ph type="body" idx="1"/>
          </p:nvPr>
        </p:nvSpPr>
        <p:spPr>
          <a:xfrm>
            <a:off x="0" y="4562475"/>
            <a:ext cx="12192000" cy="544097"/>
          </a:xfrm>
          <a:prstGeom prst="rect">
            <a:avLst/>
          </a:prstGeom>
          <a:solidFill>
            <a:srgbClr val="061A26">
              <a:alpha val="95000"/>
            </a:srgbClr>
          </a:solidFill>
        </p:spPr>
        <p:txBody>
          <a:bodyPr/>
          <a:lstStyle>
            <a:lvl1pPr marL="0" indent="0" algn="r">
              <a:buNone/>
              <a:defRPr sz="2400">
                <a:solidFill>
                  <a:srgbClr val="708090"/>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Tree>
    <p:extLst>
      <p:ext uri="{BB962C8B-B14F-4D97-AF65-F5344CB8AC3E}">
        <p14:creationId xmlns:p14="http://schemas.microsoft.com/office/powerpoint/2010/main" val="350408937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2_Ending Slide">
    <p:spTree>
      <p:nvGrpSpPr>
        <p:cNvPr id="1" name=""/>
        <p:cNvGrpSpPr/>
        <p:nvPr/>
      </p:nvGrpSpPr>
      <p:grpSpPr>
        <a:xfrm>
          <a:off x="0" y="0"/>
          <a:ext cx="0" cy="0"/>
          <a:chOff x="0" y="0"/>
          <a:chExt cx="0" cy="0"/>
        </a:xfrm>
      </p:grpSpPr>
      <p:sp>
        <p:nvSpPr>
          <p:cNvPr id="6" name="Title 1"/>
          <p:cNvSpPr>
            <a:spLocks noGrp="1"/>
          </p:cNvSpPr>
          <p:nvPr>
            <p:ph type="title"/>
          </p:nvPr>
        </p:nvSpPr>
        <p:spPr>
          <a:xfrm>
            <a:off x="0" y="3207434"/>
            <a:ext cx="12192000" cy="1355041"/>
          </a:xfrm>
          <a:prstGeom prst="rect">
            <a:avLst/>
          </a:prstGeom>
          <a:solidFill>
            <a:srgbClr val="061A26">
              <a:alpha val="95000"/>
            </a:srgbClr>
          </a:solidFill>
        </p:spPr>
        <p:txBody>
          <a:bodyPr anchor="b"/>
          <a:lstStyle>
            <a:lvl1pPr algn="r">
              <a:defRPr sz="4400">
                <a:solidFill>
                  <a:srgbClr val="F5F5F5"/>
                </a:solidFill>
                <a:latin typeface="Cambria Math" panose="02040503050406030204" pitchFamily="18" charset="0"/>
                <a:ea typeface="Cambria Math" panose="02040503050406030204" pitchFamily="18" charset="0"/>
              </a:defRPr>
            </a:lvl1pPr>
          </a:lstStyle>
          <a:p>
            <a:r>
              <a:rPr lang="en-US" dirty="0"/>
              <a:t>Click to edit Master title style</a:t>
            </a:r>
            <a:endParaRPr lang="lt-LT" dirty="0"/>
          </a:p>
        </p:txBody>
      </p:sp>
      <p:sp>
        <p:nvSpPr>
          <p:cNvPr id="7" name="Text Placeholder 2"/>
          <p:cNvSpPr>
            <a:spLocks noGrp="1"/>
          </p:cNvSpPr>
          <p:nvPr>
            <p:ph type="body" idx="1"/>
          </p:nvPr>
        </p:nvSpPr>
        <p:spPr>
          <a:xfrm>
            <a:off x="0" y="4562475"/>
            <a:ext cx="12192000" cy="544097"/>
          </a:xfrm>
          <a:prstGeom prst="rect">
            <a:avLst/>
          </a:prstGeom>
          <a:solidFill>
            <a:srgbClr val="061A26">
              <a:alpha val="95000"/>
            </a:srgbClr>
          </a:solidFill>
        </p:spPr>
        <p:txBody>
          <a:bodyPr/>
          <a:lstStyle>
            <a:lvl1pPr marL="0" indent="0" algn="r">
              <a:buNone/>
              <a:defRPr sz="2400">
                <a:solidFill>
                  <a:srgbClr val="708090"/>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Tree>
    <p:extLst>
      <p:ext uri="{BB962C8B-B14F-4D97-AF65-F5344CB8AC3E}">
        <p14:creationId xmlns:p14="http://schemas.microsoft.com/office/powerpoint/2010/main" val="32669705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3_Ending Slide">
    <p:spTree>
      <p:nvGrpSpPr>
        <p:cNvPr id="1" name=""/>
        <p:cNvGrpSpPr/>
        <p:nvPr/>
      </p:nvGrpSpPr>
      <p:grpSpPr>
        <a:xfrm>
          <a:off x="0" y="0"/>
          <a:ext cx="0" cy="0"/>
          <a:chOff x="0" y="0"/>
          <a:chExt cx="0" cy="0"/>
        </a:xfrm>
      </p:grpSpPr>
      <p:sp>
        <p:nvSpPr>
          <p:cNvPr id="6" name="Title 1"/>
          <p:cNvSpPr>
            <a:spLocks noGrp="1"/>
          </p:cNvSpPr>
          <p:nvPr>
            <p:ph type="title"/>
          </p:nvPr>
        </p:nvSpPr>
        <p:spPr>
          <a:xfrm>
            <a:off x="0" y="3207434"/>
            <a:ext cx="12192000" cy="1355041"/>
          </a:xfrm>
          <a:prstGeom prst="rect">
            <a:avLst/>
          </a:prstGeom>
          <a:solidFill>
            <a:schemeClr val="bg1">
              <a:lumMod val="75000"/>
              <a:alpha val="95000"/>
            </a:schemeClr>
          </a:solidFill>
        </p:spPr>
        <p:txBody>
          <a:bodyPr anchor="b"/>
          <a:lstStyle>
            <a:lvl1pPr algn="r">
              <a:defRPr sz="4400">
                <a:solidFill>
                  <a:schemeClr val="tx2">
                    <a:lumMod val="50000"/>
                  </a:schemeClr>
                </a:solidFill>
                <a:latin typeface="Cambria Math" panose="02040503050406030204" pitchFamily="18" charset="0"/>
                <a:ea typeface="Cambria Math" panose="02040503050406030204" pitchFamily="18" charset="0"/>
              </a:defRPr>
            </a:lvl1pPr>
          </a:lstStyle>
          <a:p>
            <a:r>
              <a:rPr lang="en-US" dirty="0"/>
              <a:t>Click to edit Master title style</a:t>
            </a:r>
            <a:endParaRPr lang="lt-LT" dirty="0"/>
          </a:p>
        </p:txBody>
      </p:sp>
    </p:spTree>
    <p:extLst>
      <p:ext uri="{BB962C8B-B14F-4D97-AF65-F5344CB8AC3E}">
        <p14:creationId xmlns:p14="http://schemas.microsoft.com/office/powerpoint/2010/main" val="359464196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5_Question and Content">
    <p:spTree>
      <p:nvGrpSpPr>
        <p:cNvPr id="1" name=""/>
        <p:cNvGrpSpPr/>
        <p:nvPr/>
      </p:nvGrpSpPr>
      <p:grpSpPr>
        <a:xfrm>
          <a:off x="0" y="0"/>
          <a:ext cx="0" cy="0"/>
          <a:chOff x="0" y="0"/>
          <a:chExt cx="0" cy="0"/>
        </a:xfrm>
      </p:grpSpPr>
      <p:sp>
        <p:nvSpPr>
          <p:cNvPr id="6" name="Rectangle 15"/>
          <p:cNvSpPr>
            <a:spLocks noChangeArrowheads="1"/>
          </p:cNvSpPr>
          <p:nvPr userDrawn="1"/>
        </p:nvSpPr>
        <p:spPr bwMode="gray">
          <a:xfrm>
            <a:off x="0" y="0"/>
            <a:ext cx="349177" cy="6858000"/>
          </a:xfrm>
          <a:prstGeom prst="rect">
            <a:avLst/>
          </a:prstGeom>
          <a:solidFill>
            <a:srgbClr val="FFC000"/>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72000" rIns="91440" bIns="72000" numCol="1" spcCol="0" rtlCol="0" fromWordArt="0" anchor="ctr" anchorCtr="0" forceAA="0" compatLnSpc="1">
            <a:prstTxWarp prst="textNoShape">
              <a:avLst/>
            </a:prstTxWarp>
            <a:noAutofit/>
          </a:bodyPr>
          <a:lstStyle/>
          <a:p>
            <a:endParaRPr lang="lv-LV" sz="1600" b="1" dirty="0">
              <a:solidFill>
                <a:schemeClr val="bg1"/>
              </a:solidFill>
              <a:latin typeface="Arial" pitchFamily="34" charset="0"/>
            </a:endParaRPr>
          </a:p>
        </p:txBody>
      </p:sp>
      <p:sp>
        <p:nvSpPr>
          <p:cNvPr id="8" name="Title 2">
            <a:extLst>
              <a:ext uri="{FF2B5EF4-FFF2-40B4-BE49-F238E27FC236}">
                <a16:creationId xmlns:a16="http://schemas.microsoft.com/office/drawing/2014/main" id="{0645DCAC-B9F1-4DB5-BBA5-C2DDD5A988CC}"/>
              </a:ext>
            </a:extLst>
          </p:cNvPr>
          <p:cNvSpPr txBox="1">
            <a:spLocks/>
          </p:cNvSpPr>
          <p:nvPr userDrawn="1"/>
        </p:nvSpPr>
        <p:spPr>
          <a:xfrm>
            <a:off x="4782998" y="1700746"/>
            <a:ext cx="6190517" cy="4773264"/>
          </a:xfrm>
          <a:prstGeom prst="rect">
            <a:avLst/>
          </a:prstGeom>
          <a:solidFill>
            <a:schemeClr val="bg1">
              <a:alpha val="86000"/>
            </a:schemeClr>
          </a:solidFill>
        </p:spPr>
        <p:txBody>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marL="273050"/>
            <a:r>
              <a:rPr lang="en-US" b="1" dirty="0" err="1">
                <a:solidFill>
                  <a:srgbClr val="061A26"/>
                </a:solidFill>
                <a:latin typeface="Cambria Math" panose="02040503050406030204" pitchFamily="18" charset="0"/>
                <a:ea typeface="Cambria Math" panose="02040503050406030204" pitchFamily="18" charset="0"/>
              </a:rPr>
              <a:t>Valsts</a:t>
            </a:r>
            <a:r>
              <a:rPr lang="en-US" b="1" dirty="0">
                <a:solidFill>
                  <a:srgbClr val="061A26"/>
                </a:solidFill>
                <a:latin typeface="Cambria Math" panose="02040503050406030204" pitchFamily="18" charset="0"/>
                <a:ea typeface="Cambria Math" panose="02040503050406030204" pitchFamily="18" charset="0"/>
              </a:rPr>
              <a:t> vides </a:t>
            </a:r>
            <a:r>
              <a:rPr lang="en-US" b="1" dirty="0" err="1">
                <a:solidFill>
                  <a:srgbClr val="061A26"/>
                </a:solidFill>
                <a:latin typeface="Cambria Math" panose="02040503050406030204" pitchFamily="18" charset="0"/>
                <a:ea typeface="Cambria Math" panose="02040503050406030204" pitchFamily="18" charset="0"/>
              </a:rPr>
              <a:t>dienesta</a:t>
            </a:r>
            <a:r>
              <a:rPr lang="en-US" b="1" dirty="0">
                <a:solidFill>
                  <a:srgbClr val="061A26"/>
                </a:solidFill>
                <a:latin typeface="Cambria Math" panose="02040503050406030204" pitchFamily="18" charset="0"/>
                <a:ea typeface="Cambria Math" panose="02040503050406030204" pitchFamily="18" charset="0"/>
              </a:rPr>
              <a:t> vides </a:t>
            </a:r>
            <a:r>
              <a:rPr lang="en-US" b="1" dirty="0" err="1">
                <a:solidFill>
                  <a:srgbClr val="061A26"/>
                </a:solidFill>
                <a:latin typeface="Cambria Math" panose="02040503050406030204" pitchFamily="18" charset="0"/>
                <a:ea typeface="Cambria Math" panose="02040503050406030204" pitchFamily="18" charset="0"/>
              </a:rPr>
              <a:t>inspekcijas</a:t>
            </a:r>
            <a:r>
              <a:rPr lang="en-US" b="1" dirty="0">
                <a:solidFill>
                  <a:srgbClr val="061A26"/>
                </a:solidFill>
                <a:latin typeface="Cambria Math" panose="02040503050406030204" pitchFamily="18" charset="0"/>
                <a:ea typeface="Cambria Math" panose="02040503050406030204" pitchFamily="18" charset="0"/>
              </a:rPr>
              <a:t> </a:t>
            </a:r>
            <a:r>
              <a:rPr lang="en-US" b="1" dirty="0" err="1">
                <a:solidFill>
                  <a:srgbClr val="061A26"/>
                </a:solidFill>
                <a:latin typeface="Cambria Math" panose="02040503050406030204" pitchFamily="18" charset="0"/>
                <a:ea typeface="Cambria Math" panose="02040503050406030204" pitchFamily="18" charset="0"/>
              </a:rPr>
              <a:t>klientu</a:t>
            </a:r>
            <a:r>
              <a:rPr lang="en-US" b="1" dirty="0">
                <a:solidFill>
                  <a:srgbClr val="061A26"/>
                </a:solidFill>
                <a:latin typeface="Cambria Math" panose="02040503050406030204" pitchFamily="18" charset="0"/>
                <a:ea typeface="Cambria Math" panose="02040503050406030204" pitchFamily="18" charset="0"/>
              </a:rPr>
              <a:t> </a:t>
            </a:r>
            <a:r>
              <a:rPr lang="en-US" b="1" dirty="0" err="1">
                <a:solidFill>
                  <a:srgbClr val="061A26"/>
                </a:solidFill>
                <a:latin typeface="Cambria Math" panose="02040503050406030204" pitchFamily="18" charset="0"/>
                <a:ea typeface="Cambria Math" panose="02040503050406030204" pitchFamily="18" charset="0"/>
              </a:rPr>
              <a:t>apmierinātības</a:t>
            </a:r>
            <a:r>
              <a:rPr lang="en-US" b="1" dirty="0">
                <a:solidFill>
                  <a:srgbClr val="061A26"/>
                </a:solidFill>
                <a:latin typeface="Cambria Math" panose="02040503050406030204" pitchFamily="18" charset="0"/>
                <a:ea typeface="Cambria Math" panose="02040503050406030204" pitchFamily="18" charset="0"/>
              </a:rPr>
              <a:t> </a:t>
            </a:r>
            <a:r>
              <a:rPr lang="en-US" b="1" dirty="0" err="1">
                <a:solidFill>
                  <a:srgbClr val="061A26"/>
                </a:solidFill>
                <a:latin typeface="Cambria Math" panose="02040503050406030204" pitchFamily="18" charset="0"/>
                <a:ea typeface="Cambria Math" panose="02040503050406030204" pitchFamily="18" charset="0"/>
              </a:rPr>
              <a:t>aptauja</a:t>
            </a:r>
            <a:endParaRPr lang="lv-LV" dirty="0">
              <a:solidFill>
                <a:srgbClr val="061A26"/>
              </a:solidFill>
              <a:latin typeface="Cambria Math" panose="02040503050406030204" pitchFamily="18" charset="0"/>
              <a:ea typeface="Cambria Math" panose="02040503050406030204" pitchFamily="18" charset="0"/>
            </a:endParaRPr>
          </a:p>
          <a:p>
            <a:pPr marL="273050"/>
            <a:endParaRPr lang="lv-LV" sz="3600" dirty="0">
              <a:solidFill>
                <a:srgbClr val="061A26"/>
              </a:solidFill>
              <a:latin typeface="Cambria Math" panose="02040503050406030204" pitchFamily="18" charset="0"/>
              <a:ea typeface="Cambria Math" panose="02040503050406030204" pitchFamily="18" charset="0"/>
            </a:endParaRPr>
          </a:p>
          <a:p>
            <a:pPr marL="273050"/>
            <a:r>
              <a:rPr lang="lv-LV" sz="3600" dirty="0">
                <a:solidFill>
                  <a:srgbClr val="061A26"/>
                </a:solidFill>
                <a:latin typeface="Cambria Math" panose="02040503050406030204" pitchFamily="18" charset="0"/>
                <a:ea typeface="Cambria Math" panose="02040503050406030204" pitchFamily="18" charset="0"/>
              </a:rPr>
              <a:t>2020</a:t>
            </a:r>
            <a:endParaRPr lang="en-US" sz="2000" dirty="0">
              <a:latin typeface="Cambria Math" panose="02040503050406030204" pitchFamily="18" charset="0"/>
              <a:ea typeface="Cambria Math" panose="02040503050406030204" pitchFamily="18" charset="0"/>
            </a:endParaRPr>
          </a:p>
        </p:txBody>
      </p:sp>
      <p:sp>
        <p:nvSpPr>
          <p:cNvPr id="14" name="Google Shape;11;p2"/>
          <p:cNvSpPr/>
          <p:nvPr userDrawn="1"/>
        </p:nvSpPr>
        <p:spPr>
          <a:xfrm>
            <a:off x="8128485" y="-2995158"/>
            <a:ext cx="5882790" cy="5990316"/>
          </a:xfrm>
          <a:custGeom>
            <a:avLst/>
            <a:gdLst/>
            <a:ahLst/>
            <a:cxnLst/>
            <a:rect l="l" t="t" r="r" b="b"/>
            <a:pathLst>
              <a:path w="3947121" h="3881628" extrusionOk="0">
                <a:moveTo>
                  <a:pt x="1064704" y="2536431"/>
                </a:moveTo>
                <a:lnTo>
                  <a:pt x="1064704" y="2505227"/>
                </a:lnTo>
                <a:lnTo>
                  <a:pt x="1095908" y="2505227"/>
                </a:lnTo>
                <a:lnTo>
                  <a:pt x="1095908" y="2473681"/>
                </a:lnTo>
                <a:lnTo>
                  <a:pt x="1064704" y="2473681"/>
                </a:lnTo>
                <a:lnTo>
                  <a:pt x="1064704" y="2442477"/>
                </a:lnTo>
                <a:lnTo>
                  <a:pt x="1033158" y="2442477"/>
                </a:lnTo>
                <a:lnTo>
                  <a:pt x="1033158" y="2473681"/>
                </a:lnTo>
                <a:lnTo>
                  <a:pt x="1001954" y="2473681"/>
                </a:lnTo>
                <a:lnTo>
                  <a:pt x="1001954" y="2505227"/>
                </a:lnTo>
                <a:lnTo>
                  <a:pt x="1033158" y="2505227"/>
                </a:lnTo>
                <a:lnTo>
                  <a:pt x="1033158" y="2536431"/>
                </a:lnTo>
                <a:lnTo>
                  <a:pt x="1064704" y="2536431"/>
                </a:lnTo>
                <a:close/>
                <a:moveTo>
                  <a:pt x="1202207" y="2537803"/>
                </a:moveTo>
                <a:lnTo>
                  <a:pt x="1202207" y="2505570"/>
                </a:lnTo>
                <a:lnTo>
                  <a:pt x="1234440" y="2505570"/>
                </a:lnTo>
                <a:lnTo>
                  <a:pt x="1234440" y="2473338"/>
                </a:lnTo>
                <a:lnTo>
                  <a:pt x="1202207" y="2473338"/>
                </a:lnTo>
                <a:lnTo>
                  <a:pt x="1202207" y="2441105"/>
                </a:lnTo>
                <a:lnTo>
                  <a:pt x="1169975" y="2441105"/>
                </a:lnTo>
                <a:lnTo>
                  <a:pt x="1169975" y="2473338"/>
                </a:lnTo>
                <a:lnTo>
                  <a:pt x="1137742" y="2473338"/>
                </a:lnTo>
                <a:lnTo>
                  <a:pt x="1137742" y="2505570"/>
                </a:lnTo>
                <a:lnTo>
                  <a:pt x="1169975" y="2505570"/>
                </a:lnTo>
                <a:lnTo>
                  <a:pt x="1169975" y="2537803"/>
                </a:lnTo>
                <a:lnTo>
                  <a:pt x="1202207" y="2537803"/>
                </a:lnTo>
                <a:close/>
                <a:moveTo>
                  <a:pt x="1270787" y="2674963"/>
                </a:moveTo>
                <a:lnTo>
                  <a:pt x="1270787" y="2642730"/>
                </a:lnTo>
                <a:lnTo>
                  <a:pt x="1303020" y="2642730"/>
                </a:lnTo>
                <a:lnTo>
                  <a:pt x="1303020" y="2610498"/>
                </a:lnTo>
                <a:lnTo>
                  <a:pt x="1270787" y="2610498"/>
                </a:lnTo>
                <a:lnTo>
                  <a:pt x="1270787" y="2578265"/>
                </a:lnTo>
                <a:lnTo>
                  <a:pt x="1238555" y="2578265"/>
                </a:lnTo>
                <a:lnTo>
                  <a:pt x="1238555" y="2610498"/>
                </a:lnTo>
                <a:lnTo>
                  <a:pt x="1206322" y="2610498"/>
                </a:lnTo>
                <a:lnTo>
                  <a:pt x="1206322" y="2642730"/>
                </a:lnTo>
                <a:lnTo>
                  <a:pt x="1238555" y="2642730"/>
                </a:lnTo>
                <a:lnTo>
                  <a:pt x="1238555" y="2674963"/>
                </a:lnTo>
                <a:lnTo>
                  <a:pt x="1270787" y="2674963"/>
                </a:lnTo>
                <a:close/>
                <a:moveTo>
                  <a:pt x="1133627" y="2400643"/>
                </a:moveTo>
                <a:lnTo>
                  <a:pt x="1133627" y="2368410"/>
                </a:lnTo>
                <a:lnTo>
                  <a:pt x="1165860" y="2368410"/>
                </a:lnTo>
                <a:lnTo>
                  <a:pt x="1165860" y="2336178"/>
                </a:lnTo>
                <a:lnTo>
                  <a:pt x="1133627" y="2336178"/>
                </a:lnTo>
                <a:lnTo>
                  <a:pt x="1133627" y="2303945"/>
                </a:lnTo>
                <a:lnTo>
                  <a:pt x="1101395" y="2303945"/>
                </a:lnTo>
                <a:lnTo>
                  <a:pt x="1101395" y="2336178"/>
                </a:lnTo>
                <a:lnTo>
                  <a:pt x="1069162" y="2336178"/>
                </a:lnTo>
                <a:lnTo>
                  <a:pt x="1069162" y="2368410"/>
                </a:lnTo>
                <a:lnTo>
                  <a:pt x="1101395" y="2368410"/>
                </a:lnTo>
                <a:lnTo>
                  <a:pt x="1101395" y="2400643"/>
                </a:lnTo>
                <a:lnTo>
                  <a:pt x="1133627" y="2400643"/>
                </a:lnTo>
                <a:close/>
                <a:moveTo>
                  <a:pt x="996124" y="2399271"/>
                </a:moveTo>
                <a:lnTo>
                  <a:pt x="996124" y="2368067"/>
                </a:lnTo>
                <a:lnTo>
                  <a:pt x="1027328" y="2368067"/>
                </a:lnTo>
                <a:lnTo>
                  <a:pt x="1027328" y="2336521"/>
                </a:lnTo>
                <a:lnTo>
                  <a:pt x="996124" y="2336521"/>
                </a:lnTo>
                <a:lnTo>
                  <a:pt x="996124" y="2305317"/>
                </a:lnTo>
                <a:lnTo>
                  <a:pt x="964578" y="2305317"/>
                </a:lnTo>
                <a:lnTo>
                  <a:pt x="964578" y="2336521"/>
                </a:lnTo>
                <a:lnTo>
                  <a:pt x="933374" y="2336521"/>
                </a:lnTo>
                <a:lnTo>
                  <a:pt x="933374" y="2368067"/>
                </a:lnTo>
                <a:lnTo>
                  <a:pt x="964578" y="2368067"/>
                </a:lnTo>
                <a:lnTo>
                  <a:pt x="964578" y="2399271"/>
                </a:lnTo>
                <a:lnTo>
                  <a:pt x="996124" y="2399271"/>
                </a:lnTo>
                <a:close/>
                <a:moveTo>
                  <a:pt x="651167" y="1981962"/>
                </a:moveTo>
                <a:lnTo>
                  <a:pt x="651167" y="1954530"/>
                </a:lnTo>
                <a:lnTo>
                  <a:pt x="678599" y="1954530"/>
                </a:lnTo>
                <a:lnTo>
                  <a:pt x="678599" y="1927098"/>
                </a:lnTo>
                <a:lnTo>
                  <a:pt x="651167" y="1927098"/>
                </a:lnTo>
                <a:lnTo>
                  <a:pt x="651167" y="1899666"/>
                </a:lnTo>
                <a:lnTo>
                  <a:pt x="623735" y="1899666"/>
                </a:lnTo>
                <a:lnTo>
                  <a:pt x="623735" y="1927098"/>
                </a:lnTo>
                <a:lnTo>
                  <a:pt x="596303" y="1927098"/>
                </a:lnTo>
                <a:lnTo>
                  <a:pt x="596303" y="1954530"/>
                </a:lnTo>
                <a:lnTo>
                  <a:pt x="623735" y="1954530"/>
                </a:lnTo>
                <a:lnTo>
                  <a:pt x="623735" y="1981962"/>
                </a:lnTo>
                <a:lnTo>
                  <a:pt x="651167" y="1981962"/>
                </a:lnTo>
                <a:close/>
                <a:moveTo>
                  <a:pt x="720090" y="2120494"/>
                </a:moveTo>
                <a:lnTo>
                  <a:pt x="720090" y="2092033"/>
                </a:lnTo>
                <a:lnTo>
                  <a:pt x="748551" y="2092033"/>
                </a:lnTo>
                <a:lnTo>
                  <a:pt x="748551" y="2063915"/>
                </a:lnTo>
                <a:lnTo>
                  <a:pt x="720090" y="2063915"/>
                </a:lnTo>
                <a:lnTo>
                  <a:pt x="720090" y="2035454"/>
                </a:lnTo>
                <a:lnTo>
                  <a:pt x="691972" y="2035454"/>
                </a:lnTo>
                <a:lnTo>
                  <a:pt x="691972" y="2063915"/>
                </a:lnTo>
                <a:lnTo>
                  <a:pt x="663511" y="2063915"/>
                </a:lnTo>
                <a:lnTo>
                  <a:pt x="663511" y="2092033"/>
                </a:lnTo>
                <a:lnTo>
                  <a:pt x="691972" y="2092033"/>
                </a:lnTo>
                <a:lnTo>
                  <a:pt x="691972" y="2120494"/>
                </a:lnTo>
                <a:lnTo>
                  <a:pt x="720090" y="2120494"/>
                </a:lnTo>
                <a:close/>
                <a:moveTo>
                  <a:pt x="858279" y="2123580"/>
                </a:moveTo>
                <a:lnTo>
                  <a:pt x="858279" y="2093062"/>
                </a:lnTo>
                <a:lnTo>
                  <a:pt x="888797" y="2093062"/>
                </a:lnTo>
                <a:lnTo>
                  <a:pt x="888797" y="2062886"/>
                </a:lnTo>
                <a:lnTo>
                  <a:pt x="858279" y="2062886"/>
                </a:lnTo>
                <a:lnTo>
                  <a:pt x="858279" y="2032368"/>
                </a:lnTo>
                <a:lnTo>
                  <a:pt x="828103" y="2032368"/>
                </a:lnTo>
                <a:lnTo>
                  <a:pt x="828103" y="2062886"/>
                </a:lnTo>
                <a:lnTo>
                  <a:pt x="797585" y="2062886"/>
                </a:lnTo>
                <a:lnTo>
                  <a:pt x="797585" y="2093062"/>
                </a:lnTo>
                <a:lnTo>
                  <a:pt x="828103" y="2093062"/>
                </a:lnTo>
                <a:lnTo>
                  <a:pt x="828103" y="2123580"/>
                </a:lnTo>
                <a:lnTo>
                  <a:pt x="858279" y="2123580"/>
                </a:lnTo>
                <a:close/>
                <a:moveTo>
                  <a:pt x="927202" y="2261768"/>
                </a:moveTo>
                <a:lnTo>
                  <a:pt x="927202" y="2230565"/>
                </a:lnTo>
                <a:lnTo>
                  <a:pt x="958405" y="2230565"/>
                </a:lnTo>
                <a:lnTo>
                  <a:pt x="958405" y="2199704"/>
                </a:lnTo>
                <a:lnTo>
                  <a:pt x="927202" y="2199704"/>
                </a:lnTo>
                <a:lnTo>
                  <a:pt x="927202" y="2168500"/>
                </a:lnTo>
                <a:lnTo>
                  <a:pt x="896341" y="2168500"/>
                </a:lnTo>
                <a:lnTo>
                  <a:pt x="896341" y="2199704"/>
                </a:lnTo>
                <a:lnTo>
                  <a:pt x="865137" y="2199704"/>
                </a:lnTo>
                <a:lnTo>
                  <a:pt x="865137" y="2230565"/>
                </a:lnTo>
                <a:lnTo>
                  <a:pt x="896341" y="2230565"/>
                </a:lnTo>
                <a:lnTo>
                  <a:pt x="896341" y="2261768"/>
                </a:lnTo>
                <a:lnTo>
                  <a:pt x="927202" y="2261768"/>
                </a:lnTo>
                <a:close/>
                <a:moveTo>
                  <a:pt x="789356" y="2259025"/>
                </a:moveTo>
                <a:lnTo>
                  <a:pt x="789356" y="2229879"/>
                </a:lnTo>
                <a:lnTo>
                  <a:pt x="818502" y="2229879"/>
                </a:lnTo>
                <a:lnTo>
                  <a:pt x="818502" y="2200389"/>
                </a:lnTo>
                <a:lnTo>
                  <a:pt x="789356" y="2200389"/>
                </a:lnTo>
                <a:lnTo>
                  <a:pt x="789356" y="2171243"/>
                </a:lnTo>
                <a:lnTo>
                  <a:pt x="759866" y="2171243"/>
                </a:lnTo>
                <a:lnTo>
                  <a:pt x="759866" y="2200389"/>
                </a:lnTo>
                <a:lnTo>
                  <a:pt x="730720" y="2200389"/>
                </a:lnTo>
                <a:lnTo>
                  <a:pt x="730720" y="2229879"/>
                </a:lnTo>
                <a:lnTo>
                  <a:pt x="759866" y="2229879"/>
                </a:lnTo>
                <a:lnTo>
                  <a:pt x="759866" y="2259025"/>
                </a:lnTo>
                <a:lnTo>
                  <a:pt x="789356" y="2259025"/>
                </a:lnTo>
                <a:close/>
                <a:moveTo>
                  <a:pt x="1888007" y="2812123"/>
                </a:moveTo>
                <a:lnTo>
                  <a:pt x="1888007" y="2779890"/>
                </a:lnTo>
                <a:lnTo>
                  <a:pt x="1920240" y="2779890"/>
                </a:lnTo>
                <a:lnTo>
                  <a:pt x="1920240" y="2747658"/>
                </a:lnTo>
                <a:lnTo>
                  <a:pt x="1888007" y="2747658"/>
                </a:lnTo>
                <a:lnTo>
                  <a:pt x="1888007" y="2715425"/>
                </a:lnTo>
                <a:lnTo>
                  <a:pt x="1855775" y="2715425"/>
                </a:lnTo>
                <a:lnTo>
                  <a:pt x="1855775" y="2747658"/>
                </a:lnTo>
                <a:lnTo>
                  <a:pt x="1823542" y="2747658"/>
                </a:lnTo>
                <a:lnTo>
                  <a:pt x="1823542" y="2779890"/>
                </a:lnTo>
                <a:lnTo>
                  <a:pt x="1855775" y="2779890"/>
                </a:lnTo>
                <a:lnTo>
                  <a:pt x="1855775" y="2812123"/>
                </a:lnTo>
                <a:lnTo>
                  <a:pt x="1888007" y="2812123"/>
                </a:lnTo>
                <a:close/>
                <a:moveTo>
                  <a:pt x="1750847" y="2812123"/>
                </a:moveTo>
                <a:lnTo>
                  <a:pt x="1750847" y="2779890"/>
                </a:lnTo>
                <a:lnTo>
                  <a:pt x="1783080" y="2779890"/>
                </a:lnTo>
                <a:lnTo>
                  <a:pt x="1783080" y="2747658"/>
                </a:lnTo>
                <a:lnTo>
                  <a:pt x="1750847" y="2747658"/>
                </a:lnTo>
                <a:lnTo>
                  <a:pt x="1750847" y="2715425"/>
                </a:lnTo>
                <a:lnTo>
                  <a:pt x="1718615" y="2715425"/>
                </a:lnTo>
                <a:lnTo>
                  <a:pt x="1718615" y="2747658"/>
                </a:lnTo>
                <a:lnTo>
                  <a:pt x="1686382" y="2747658"/>
                </a:lnTo>
                <a:lnTo>
                  <a:pt x="1686382" y="2779890"/>
                </a:lnTo>
                <a:lnTo>
                  <a:pt x="1718615" y="2779890"/>
                </a:lnTo>
                <a:lnTo>
                  <a:pt x="1718615" y="2812123"/>
                </a:lnTo>
                <a:lnTo>
                  <a:pt x="1750847" y="2812123"/>
                </a:lnTo>
                <a:close/>
                <a:moveTo>
                  <a:pt x="1819427" y="2674963"/>
                </a:moveTo>
                <a:lnTo>
                  <a:pt x="1819427" y="2642730"/>
                </a:lnTo>
                <a:lnTo>
                  <a:pt x="1851660" y="2642730"/>
                </a:lnTo>
                <a:lnTo>
                  <a:pt x="1851660" y="2610498"/>
                </a:lnTo>
                <a:lnTo>
                  <a:pt x="1819427" y="2610498"/>
                </a:lnTo>
                <a:lnTo>
                  <a:pt x="1819427" y="2578265"/>
                </a:lnTo>
                <a:lnTo>
                  <a:pt x="1787195" y="2578265"/>
                </a:lnTo>
                <a:lnTo>
                  <a:pt x="1787195" y="2610498"/>
                </a:lnTo>
                <a:lnTo>
                  <a:pt x="1754962" y="2610498"/>
                </a:lnTo>
                <a:lnTo>
                  <a:pt x="1754962" y="2642730"/>
                </a:lnTo>
                <a:lnTo>
                  <a:pt x="1787195" y="2642730"/>
                </a:lnTo>
                <a:lnTo>
                  <a:pt x="1787195" y="2674963"/>
                </a:lnTo>
                <a:lnTo>
                  <a:pt x="1819427" y="2674963"/>
                </a:lnTo>
                <a:close/>
                <a:moveTo>
                  <a:pt x="691972" y="1761134"/>
                </a:moveTo>
                <a:lnTo>
                  <a:pt x="691972" y="1789595"/>
                </a:lnTo>
                <a:lnTo>
                  <a:pt x="663511" y="1789595"/>
                </a:lnTo>
                <a:lnTo>
                  <a:pt x="663511" y="1817713"/>
                </a:lnTo>
                <a:lnTo>
                  <a:pt x="691972" y="1817713"/>
                </a:lnTo>
                <a:lnTo>
                  <a:pt x="691972" y="1846174"/>
                </a:lnTo>
                <a:lnTo>
                  <a:pt x="720090" y="1846174"/>
                </a:lnTo>
                <a:lnTo>
                  <a:pt x="720090" y="1817713"/>
                </a:lnTo>
                <a:lnTo>
                  <a:pt x="748551" y="1817713"/>
                </a:lnTo>
                <a:lnTo>
                  <a:pt x="748551" y="1789595"/>
                </a:lnTo>
                <a:lnTo>
                  <a:pt x="720090" y="1789595"/>
                </a:lnTo>
                <a:lnTo>
                  <a:pt x="720090" y="1761134"/>
                </a:lnTo>
                <a:lnTo>
                  <a:pt x="691972" y="1761134"/>
                </a:lnTo>
                <a:close/>
                <a:moveTo>
                  <a:pt x="1682267" y="2674963"/>
                </a:moveTo>
                <a:lnTo>
                  <a:pt x="1682267" y="2642730"/>
                </a:lnTo>
                <a:lnTo>
                  <a:pt x="1714500" y="2642730"/>
                </a:lnTo>
                <a:lnTo>
                  <a:pt x="1714500" y="2610498"/>
                </a:lnTo>
                <a:lnTo>
                  <a:pt x="1682267" y="2610498"/>
                </a:lnTo>
                <a:lnTo>
                  <a:pt x="1682267" y="2578265"/>
                </a:lnTo>
                <a:lnTo>
                  <a:pt x="1650035" y="2578265"/>
                </a:lnTo>
                <a:lnTo>
                  <a:pt x="1650035" y="2610498"/>
                </a:lnTo>
                <a:lnTo>
                  <a:pt x="1617802" y="2610498"/>
                </a:lnTo>
                <a:lnTo>
                  <a:pt x="1617802" y="2642730"/>
                </a:lnTo>
                <a:lnTo>
                  <a:pt x="1650035" y="2642730"/>
                </a:lnTo>
                <a:lnTo>
                  <a:pt x="1650035" y="2674963"/>
                </a:lnTo>
                <a:lnTo>
                  <a:pt x="1682267" y="2674963"/>
                </a:lnTo>
                <a:close/>
                <a:moveTo>
                  <a:pt x="1476527" y="2537803"/>
                </a:moveTo>
                <a:lnTo>
                  <a:pt x="1476527" y="2505570"/>
                </a:lnTo>
                <a:lnTo>
                  <a:pt x="1508760" y="2505570"/>
                </a:lnTo>
                <a:lnTo>
                  <a:pt x="1508760" y="2473338"/>
                </a:lnTo>
                <a:lnTo>
                  <a:pt x="1476527" y="2473338"/>
                </a:lnTo>
                <a:lnTo>
                  <a:pt x="1476527" y="2441105"/>
                </a:lnTo>
                <a:lnTo>
                  <a:pt x="1444295" y="2441105"/>
                </a:lnTo>
                <a:lnTo>
                  <a:pt x="1444295" y="2473338"/>
                </a:lnTo>
                <a:lnTo>
                  <a:pt x="1412062" y="2473338"/>
                </a:lnTo>
                <a:lnTo>
                  <a:pt x="1412062" y="2505570"/>
                </a:lnTo>
                <a:lnTo>
                  <a:pt x="1444295" y="2505570"/>
                </a:lnTo>
                <a:lnTo>
                  <a:pt x="1444295" y="2537803"/>
                </a:lnTo>
                <a:lnTo>
                  <a:pt x="1476527" y="2537803"/>
                </a:lnTo>
                <a:close/>
                <a:moveTo>
                  <a:pt x="1407947" y="2674963"/>
                </a:moveTo>
                <a:lnTo>
                  <a:pt x="1407947" y="2642730"/>
                </a:lnTo>
                <a:lnTo>
                  <a:pt x="1440180" y="2642730"/>
                </a:lnTo>
                <a:lnTo>
                  <a:pt x="1440180" y="2610498"/>
                </a:lnTo>
                <a:lnTo>
                  <a:pt x="1407947" y="2610498"/>
                </a:lnTo>
                <a:lnTo>
                  <a:pt x="1407947" y="2578265"/>
                </a:lnTo>
                <a:lnTo>
                  <a:pt x="1375715" y="2578265"/>
                </a:lnTo>
                <a:lnTo>
                  <a:pt x="1375715" y="2610498"/>
                </a:lnTo>
                <a:lnTo>
                  <a:pt x="1343482" y="2610498"/>
                </a:lnTo>
                <a:lnTo>
                  <a:pt x="1343482" y="2642730"/>
                </a:lnTo>
                <a:lnTo>
                  <a:pt x="1375715" y="2642730"/>
                </a:lnTo>
                <a:lnTo>
                  <a:pt x="1375715" y="2674963"/>
                </a:lnTo>
                <a:lnTo>
                  <a:pt x="1407947" y="2674963"/>
                </a:lnTo>
                <a:close/>
                <a:moveTo>
                  <a:pt x="1339367" y="2537803"/>
                </a:moveTo>
                <a:lnTo>
                  <a:pt x="1339367" y="2505570"/>
                </a:lnTo>
                <a:lnTo>
                  <a:pt x="1371600" y="2505570"/>
                </a:lnTo>
                <a:lnTo>
                  <a:pt x="1371600" y="2473338"/>
                </a:lnTo>
                <a:lnTo>
                  <a:pt x="1339367" y="2473338"/>
                </a:lnTo>
                <a:lnTo>
                  <a:pt x="1339367" y="2441105"/>
                </a:lnTo>
                <a:lnTo>
                  <a:pt x="1307135" y="2441105"/>
                </a:lnTo>
                <a:lnTo>
                  <a:pt x="1307135" y="2473338"/>
                </a:lnTo>
                <a:lnTo>
                  <a:pt x="1274902" y="2473338"/>
                </a:lnTo>
                <a:lnTo>
                  <a:pt x="1274902" y="2505570"/>
                </a:lnTo>
                <a:lnTo>
                  <a:pt x="1307135" y="2505570"/>
                </a:lnTo>
                <a:lnTo>
                  <a:pt x="1307135" y="2537803"/>
                </a:lnTo>
                <a:lnTo>
                  <a:pt x="1339367" y="2537803"/>
                </a:lnTo>
                <a:close/>
                <a:moveTo>
                  <a:pt x="1613687" y="2812123"/>
                </a:moveTo>
                <a:lnTo>
                  <a:pt x="1613687" y="2779890"/>
                </a:lnTo>
                <a:lnTo>
                  <a:pt x="1645920" y="2779890"/>
                </a:lnTo>
                <a:lnTo>
                  <a:pt x="1645920" y="2747658"/>
                </a:lnTo>
                <a:lnTo>
                  <a:pt x="1613687" y="2747658"/>
                </a:lnTo>
                <a:lnTo>
                  <a:pt x="1613687" y="2715425"/>
                </a:lnTo>
                <a:lnTo>
                  <a:pt x="1581455" y="2715425"/>
                </a:lnTo>
                <a:lnTo>
                  <a:pt x="1581455" y="2747658"/>
                </a:lnTo>
                <a:lnTo>
                  <a:pt x="1549222" y="2747658"/>
                </a:lnTo>
                <a:lnTo>
                  <a:pt x="1549222" y="2779890"/>
                </a:lnTo>
                <a:lnTo>
                  <a:pt x="1581455" y="2779890"/>
                </a:lnTo>
                <a:lnTo>
                  <a:pt x="1581455" y="2812123"/>
                </a:lnTo>
                <a:lnTo>
                  <a:pt x="1613687" y="2812123"/>
                </a:lnTo>
                <a:close/>
                <a:moveTo>
                  <a:pt x="1956587" y="2674963"/>
                </a:moveTo>
                <a:lnTo>
                  <a:pt x="1956587" y="2642730"/>
                </a:lnTo>
                <a:lnTo>
                  <a:pt x="1988820" y="2642730"/>
                </a:lnTo>
                <a:lnTo>
                  <a:pt x="1988820" y="2610498"/>
                </a:lnTo>
                <a:lnTo>
                  <a:pt x="1956587" y="2610498"/>
                </a:lnTo>
                <a:lnTo>
                  <a:pt x="1956587" y="2578265"/>
                </a:lnTo>
                <a:lnTo>
                  <a:pt x="1924355" y="2578265"/>
                </a:lnTo>
                <a:lnTo>
                  <a:pt x="1924355" y="2610498"/>
                </a:lnTo>
                <a:lnTo>
                  <a:pt x="1892122" y="2610498"/>
                </a:lnTo>
                <a:lnTo>
                  <a:pt x="1892122" y="2642730"/>
                </a:lnTo>
                <a:lnTo>
                  <a:pt x="1924355" y="2642730"/>
                </a:lnTo>
                <a:lnTo>
                  <a:pt x="1924355" y="2674963"/>
                </a:lnTo>
                <a:lnTo>
                  <a:pt x="1956587" y="2674963"/>
                </a:lnTo>
                <a:close/>
                <a:moveTo>
                  <a:pt x="2130095" y="1069505"/>
                </a:moveTo>
                <a:lnTo>
                  <a:pt x="2130095" y="1101738"/>
                </a:lnTo>
                <a:lnTo>
                  <a:pt x="2097862" y="1101738"/>
                </a:lnTo>
                <a:lnTo>
                  <a:pt x="2097862" y="1133970"/>
                </a:lnTo>
                <a:lnTo>
                  <a:pt x="2130095" y="1133970"/>
                </a:lnTo>
                <a:lnTo>
                  <a:pt x="2130095" y="1166203"/>
                </a:lnTo>
                <a:lnTo>
                  <a:pt x="2162327" y="1166203"/>
                </a:lnTo>
                <a:lnTo>
                  <a:pt x="2162327" y="1133970"/>
                </a:lnTo>
                <a:lnTo>
                  <a:pt x="2194560" y="1133970"/>
                </a:lnTo>
                <a:lnTo>
                  <a:pt x="2194560" y="1101738"/>
                </a:lnTo>
                <a:lnTo>
                  <a:pt x="2162327" y="1101738"/>
                </a:lnTo>
                <a:lnTo>
                  <a:pt x="2162327" y="1069505"/>
                </a:lnTo>
                <a:lnTo>
                  <a:pt x="2130095" y="1069505"/>
                </a:lnTo>
                <a:close/>
                <a:moveTo>
                  <a:pt x="1444295" y="1069505"/>
                </a:moveTo>
                <a:lnTo>
                  <a:pt x="1444295" y="1101738"/>
                </a:lnTo>
                <a:lnTo>
                  <a:pt x="1412062" y="1101738"/>
                </a:lnTo>
                <a:lnTo>
                  <a:pt x="1412062" y="1133970"/>
                </a:lnTo>
                <a:lnTo>
                  <a:pt x="1444295" y="1133970"/>
                </a:lnTo>
                <a:lnTo>
                  <a:pt x="1444295" y="1166203"/>
                </a:lnTo>
                <a:lnTo>
                  <a:pt x="1476527" y="1166203"/>
                </a:lnTo>
                <a:lnTo>
                  <a:pt x="1476527" y="1133970"/>
                </a:lnTo>
                <a:lnTo>
                  <a:pt x="1508760" y="1133970"/>
                </a:lnTo>
                <a:lnTo>
                  <a:pt x="1508760" y="1101738"/>
                </a:lnTo>
                <a:lnTo>
                  <a:pt x="1476527" y="1101738"/>
                </a:lnTo>
                <a:lnTo>
                  <a:pt x="1476527" y="1069505"/>
                </a:lnTo>
                <a:lnTo>
                  <a:pt x="1444295" y="1069505"/>
                </a:lnTo>
                <a:close/>
                <a:moveTo>
                  <a:pt x="1718615" y="1069505"/>
                </a:moveTo>
                <a:lnTo>
                  <a:pt x="1718615" y="1101738"/>
                </a:lnTo>
                <a:lnTo>
                  <a:pt x="1686382" y="1101738"/>
                </a:lnTo>
                <a:lnTo>
                  <a:pt x="1686382" y="1133970"/>
                </a:lnTo>
                <a:lnTo>
                  <a:pt x="1718615" y="1133970"/>
                </a:lnTo>
                <a:lnTo>
                  <a:pt x="1718615" y="1166203"/>
                </a:lnTo>
                <a:lnTo>
                  <a:pt x="1750847" y="1166203"/>
                </a:lnTo>
                <a:lnTo>
                  <a:pt x="1750847" y="1133970"/>
                </a:lnTo>
                <a:lnTo>
                  <a:pt x="1783080" y="1133970"/>
                </a:lnTo>
                <a:lnTo>
                  <a:pt x="1783080" y="1101738"/>
                </a:lnTo>
                <a:lnTo>
                  <a:pt x="1750847" y="1101738"/>
                </a:lnTo>
                <a:lnTo>
                  <a:pt x="1750847" y="1069505"/>
                </a:lnTo>
                <a:lnTo>
                  <a:pt x="1718615" y="1069505"/>
                </a:lnTo>
                <a:close/>
                <a:moveTo>
                  <a:pt x="1787195" y="1206665"/>
                </a:moveTo>
                <a:lnTo>
                  <a:pt x="1787195" y="1238898"/>
                </a:lnTo>
                <a:lnTo>
                  <a:pt x="1754962" y="1238898"/>
                </a:lnTo>
                <a:lnTo>
                  <a:pt x="1754962" y="1271130"/>
                </a:lnTo>
                <a:lnTo>
                  <a:pt x="1787195" y="1271130"/>
                </a:lnTo>
                <a:lnTo>
                  <a:pt x="1787195" y="1303363"/>
                </a:lnTo>
                <a:lnTo>
                  <a:pt x="1819427" y="1303363"/>
                </a:lnTo>
                <a:lnTo>
                  <a:pt x="1819427" y="1271130"/>
                </a:lnTo>
                <a:lnTo>
                  <a:pt x="1851660" y="1271130"/>
                </a:lnTo>
                <a:lnTo>
                  <a:pt x="1851660" y="1238898"/>
                </a:lnTo>
                <a:lnTo>
                  <a:pt x="1819427" y="1238898"/>
                </a:lnTo>
                <a:lnTo>
                  <a:pt x="1819427" y="1206665"/>
                </a:lnTo>
                <a:lnTo>
                  <a:pt x="1787195" y="1206665"/>
                </a:lnTo>
                <a:close/>
                <a:moveTo>
                  <a:pt x="1512875" y="1206665"/>
                </a:moveTo>
                <a:lnTo>
                  <a:pt x="1512875" y="1238898"/>
                </a:lnTo>
                <a:lnTo>
                  <a:pt x="1480642" y="1238898"/>
                </a:lnTo>
                <a:lnTo>
                  <a:pt x="1480642" y="1271130"/>
                </a:lnTo>
                <a:lnTo>
                  <a:pt x="1512875" y="1271130"/>
                </a:lnTo>
                <a:lnTo>
                  <a:pt x="1512875" y="1303363"/>
                </a:lnTo>
                <a:lnTo>
                  <a:pt x="1545107" y="1303363"/>
                </a:lnTo>
                <a:lnTo>
                  <a:pt x="1545107" y="1271130"/>
                </a:lnTo>
                <a:lnTo>
                  <a:pt x="1577340" y="1271130"/>
                </a:lnTo>
                <a:lnTo>
                  <a:pt x="1577340" y="1238898"/>
                </a:lnTo>
                <a:lnTo>
                  <a:pt x="1545107" y="1238898"/>
                </a:lnTo>
                <a:lnTo>
                  <a:pt x="1545107" y="1206665"/>
                </a:lnTo>
                <a:lnTo>
                  <a:pt x="1512875" y="1206665"/>
                </a:lnTo>
                <a:close/>
                <a:moveTo>
                  <a:pt x="1650035" y="1206665"/>
                </a:moveTo>
                <a:lnTo>
                  <a:pt x="1650035" y="1238898"/>
                </a:lnTo>
                <a:lnTo>
                  <a:pt x="1617802" y="1238898"/>
                </a:lnTo>
                <a:lnTo>
                  <a:pt x="1617802" y="1271130"/>
                </a:lnTo>
                <a:lnTo>
                  <a:pt x="1650035" y="1271130"/>
                </a:lnTo>
                <a:lnTo>
                  <a:pt x="1650035" y="1303363"/>
                </a:lnTo>
                <a:lnTo>
                  <a:pt x="1682267" y="1303363"/>
                </a:lnTo>
                <a:lnTo>
                  <a:pt x="1682267" y="1271130"/>
                </a:lnTo>
                <a:lnTo>
                  <a:pt x="1714500" y="1271130"/>
                </a:lnTo>
                <a:lnTo>
                  <a:pt x="1714500" y="1238898"/>
                </a:lnTo>
                <a:lnTo>
                  <a:pt x="1682267" y="1238898"/>
                </a:lnTo>
                <a:lnTo>
                  <a:pt x="1682267" y="1206665"/>
                </a:lnTo>
                <a:lnTo>
                  <a:pt x="1650035" y="1206665"/>
                </a:lnTo>
                <a:close/>
                <a:moveTo>
                  <a:pt x="2061515" y="1206665"/>
                </a:moveTo>
                <a:lnTo>
                  <a:pt x="2061515" y="1238898"/>
                </a:lnTo>
                <a:lnTo>
                  <a:pt x="2029282" y="1238898"/>
                </a:lnTo>
                <a:lnTo>
                  <a:pt x="2029282" y="1271130"/>
                </a:lnTo>
                <a:lnTo>
                  <a:pt x="2061515" y="1271130"/>
                </a:lnTo>
                <a:lnTo>
                  <a:pt x="2061515" y="1303363"/>
                </a:lnTo>
                <a:lnTo>
                  <a:pt x="2093747" y="1303363"/>
                </a:lnTo>
                <a:lnTo>
                  <a:pt x="2093747" y="1271130"/>
                </a:lnTo>
                <a:lnTo>
                  <a:pt x="2125980" y="1271130"/>
                </a:lnTo>
                <a:lnTo>
                  <a:pt x="2125980" y="1238898"/>
                </a:lnTo>
                <a:lnTo>
                  <a:pt x="2093747" y="1238898"/>
                </a:lnTo>
                <a:lnTo>
                  <a:pt x="2093747" y="1206665"/>
                </a:lnTo>
                <a:lnTo>
                  <a:pt x="2061515" y="1206665"/>
                </a:lnTo>
                <a:close/>
                <a:moveTo>
                  <a:pt x="1855775" y="1069505"/>
                </a:moveTo>
                <a:lnTo>
                  <a:pt x="1855775" y="1101738"/>
                </a:lnTo>
                <a:lnTo>
                  <a:pt x="1823542" y="1101738"/>
                </a:lnTo>
                <a:lnTo>
                  <a:pt x="1823542" y="1133970"/>
                </a:lnTo>
                <a:lnTo>
                  <a:pt x="1855775" y="1133970"/>
                </a:lnTo>
                <a:lnTo>
                  <a:pt x="1855775" y="1166203"/>
                </a:lnTo>
                <a:lnTo>
                  <a:pt x="1888007" y="1166203"/>
                </a:lnTo>
                <a:lnTo>
                  <a:pt x="1888007" y="1133970"/>
                </a:lnTo>
                <a:lnTo>
                  <a:pt x="1920240" y="1133970"/>
                </a:lnTo>
                <a:lnTo>
                  <a:pt x="1920240" y="1101738"/>
                </a:lnTo>
                <a:lnTo>
                  <a:pt x="1888007" y="1101738"/>
                </a:lnTo>
                <a:lnTo>
                  <a:pt x="1888007" y="1069505"/>
                </a:lnTo>
                <a:lnTo>
                  <a:pt x="1855775" y="1069505"/>
                </a:lnTo>
                <a:close/>
                <a:moveTo>
                  <a:pt x="1992935" y="1069505"/>
                </a:moveTo>
                <a:lnTo>
                  <a:pt x="1992935" y="1101738"/>
                </a:lnTo>
                <a:lnTo>
                  <a:pt x="1960702" y="1101738"/>
                </a:lnTo>
                <a:lnTo>
                  <a:pt x="1960702" y="1133970"/>
                </a:lnTo>
                <a:lnTo>
                  <a:pt x="1992935" y="1133970"/>
                </a:lnTo>
                <a:lnTo>
                  <a:pt x="1992935" y="1166203"/>
                </a:lnTo>
                <a:lnTo>
                  <a:pt x="2025167" y="1166203"/>
                </a:lnTo>
                <a:lnTo>
                  <a:pt x="2025167" y="1133970"/>
                </a:lnTo>
                <a:lnTo>
                  <a:pt x="2057400" y="1133970"/>
                </a:lnTo>
                <a:lnTo>
                  <a:pt x="2057400" y="1101738"/>
                </a:lnTo>
                <a:lnTo>
                  <a:pt x="2025167" y="1101738"/>
                </a:lnTo>
                <a:lnTo>
                  <a:pt x="2025167" y="1069505"/>
                </a:lnTo>
                <a:lnTo>
                  <a:pt x="1992935" y="1069505"/>
                </a:lnTo>
                <a:close/>
                <a:moveTo>
                  <a:pt x="1924355" y="1206665"/>
                </a:moveTo>
                <a:lnTo>
                  <a:pt x="1924355" y="1238898"/>
                </a:lnTo>
                <a:lnTo>
                  <a:pt x="1892122" y="1238898"/>
                </a:lnTo>
                <a:lnTo>
                  <a:pt x="1892122" y="1271130"/>
                </a:lnTo>
                <a:lnTo>
                  <a:pt x="1924355" y="1271130"/>
                </a:lnTo>
                <a:lnTo>
                  <a:pt x="1924355" y="1303363"/>
                </a:lnTo>
                <a:lnTo>
                  <a:pt x="1956587" y="1303363"/>
                </a:lnTo>
                <a:lnTo>
                  <a:pt x="1956587" y="1271130"/>
                </a:lnTo>
                <a:lnTo>
                  <a:pt x="1988820" y="1271130"/>
                </a:lnTo>
                <a:lnTo>
                  <a:pt x="1988820" y="1238898"/>
                </a:lnTo>
                <a:lnTo>
                  <a:pt x="1956587" y="1238898"/>
                </a:lnTo>
                <a:lnTo>
                  <a:pt x="1956587" y="1206665"/>
                </a:lnTo>
                <a:lnTo>
                  <a:pt x="1924355" y="1206665"/>
                </a:lnTo>
                <a:close/>
                <a:moveTo>
                  <a:pt x="1169975" y="1343825"/>
                </a:moveTo>
                <a:lnTo>
                  <a:pt x="1169975" y="1376058"/>
                </a:lnTo>
                <a:lnTo>
                  <a:pt x="1137742" y="1376058"/>
                </a:lnTo>
                <a:lnTo>
                  <a:pt x="1137742" y="1408290"/>
                </a:lnTo>
                <a:lnTo>
                  <a:pt x="1169975" y="1408290"/>
                </a:lnTo>
                <a:lnTo>
                  <a:pt x="1169975" y="1440523"/>
                </a:lnTo>
                <a:lnTo>
                  <a:pt x="1202207" y="1440523"/>
                </a:lnTo>
                <a:lnTo>
                  <a:pt x="1202207" y="1408290"/>
                </a:lnTo>
                <a:lnTo>
                  <a:pt x="1234440" y="1408290"/>
                </a:lnTo>
                <a:lnTo>
                  <a:pt x="1234440" y="1376058"/>
                </a:lnTo>
                <a:lnTo>
                  <a:pt x="1202207" y="1376058"/>
                </a:lnTo>
                <a:lnTo>
                  <a:pt x="1202207" y="1343825"/>
                </a:lnTo>
                <a:lnTo>
                  <a:pt x="1169975" y="1343825"/>
                </a:lnTo>
                <a:close/>
                <a:moveTo>
                  <a:pt x="964578" y="1482357"/>
                </a:moveTo>
                <a:lnTo>
                  <a:pt x="964578" y="1513561"/>
                </a:lnTo>
                <a:lnTo>
                  <a:pt x="933374" y="1513561"/>
                </a:lnTo>
                <a:lnTo>
                  <a:pt x="933374" y="1545107"/>
                </a:lnTo>
                <a:lnTo>
                  <a:pt x="964578" y="1545107"/>
                </a:lnTo>
                <a:lnTo>
                  <a:pt x="964578" y="1576311"/>
                </a:lnTo>
                <a:lnTo>
                  <a:pt x="996124" y="1576311"/>
                </a:lnTo>
                <a:lnTo>
                  <a:pt x="996124" y="1545107"/>
                </a:lnTo>
                <a:lnTo>
                  <a:pt x="1027328" y="1545107"/>
                </a:lnTo>
                <a:lnTo>
                  <a:pt x="1027328" y="1513561"/>
                </a:lnTo>
                <a:lnTo>
                  <a:pt x="996124" y="1513561"/>
                </a:lnTo>
                <a:lnTo>
                  <a:pt x="996124" y="1482357"/>
                </a:lnTo>
                <a:lnTo>
                  <a:pt x="964578" y="1482357"/>
                </a:lnTo>
                <a:close/>
                <a:moveTo>
                  <a:pt x="896341" y="1619860"/>
                </a:moveTo>
                <a:lnTo>
                  <a:pt x="896341" y="1651064"/>
                </a:lnTo>
                <a:lnTo>
                  <a:pt x="865137" y="1651064"/>
                </a:lnTo>
                <a:lnTo>
                  <a:pt x="865137" y="1681925"/>
                </a:lnTo>
                <a:lnTo>
                  <a:pt x="896341" y="1681925"/>
                </a:lnTo>
                <a:lnTo>
                  <a:pt x="896341" y="1713128"/>
                </a:lnTo>
                <a:lnTo>
                  <a:pt x="927202" y="1713128"/>
                </a:lnTo>
                <a:lnTo>
                  <a:pt x="927202" y="1681925"/>
                </a:lnTo>
                <a:lnTo>
                  <a:pt x="958405" y="1681925"/>
                </a:lnTo>
                <a:lnTo>
                  <a:pt x="958405" y="1651064"/>
                </a:lnTo>
                <a:lnTo>
                  <a:pt x="927202" y="1651064"/>
                </a:lnTo>
                <a:lnTo>
                  <a:pt x="927202" y="1619860"/>
                </a:lnTo>
                <a:lnTo>
                  <a:pt x="896341" y="1619860"/>
                </a:lnTo>
                <a:close/>
                <a:moveTo>
                  <a:pt x="1033158" y="1345197"/>
                </a:moveTo>
                <a:lnTo>
                  <a:pt x="1033158" y="1376401"/>
                </a:lnTo>
                <a:lnTo>
                  <a:pt x="1001954" y="1376401"/>
                </a:lnTo>
                <a:lnTo>
                  <a:pt x="1001954" y="1407947"/>
                </a:lnTo>
                <a:lnTo>
                  <a:pt x="1033158" y="1407947"/>
                </a:lnTo>
                <a:lnTo>
                  <a:pt x="1033158" y="1439151"/>
                </a:lnTo>
                <a:lnTo>
                  <a:pt x="1064704" y="1439151"/>
                </a:lnTo>
                <a:lnTo>
                  <a:pt x="1064704" y="1407947"/>
                </a:lnTo>
                <a:lnTo>
                  <a:pt x="1095908" y="1407947"/>
                </a:lnTo>
                <a:lnTo>
                  <a:pt x="1095908" y="1376401"/>
                </a:lnTo>
                <a:lnTo>
                  <a:pt x="1064704" y="1376401"/>
                </a:lnTo>
                <a:lnTo>
                  <a:pt x="1064704" y="1345197"/>
                </a:lnTo>
                <a:lnTo>
                  <a:pt x="1033158" y="1345197"/>
                </a:lnTo>
                <a:close/>
                <a:moveTo>
                  <a:pt x="1375715" y="1206665"/>
                </a:moveTo>
                <a:lnTo>
                  <a:pt x="1375715" y="1238898"/>
                </a:lnTo>
                <a:lnTo>
                  <a:pt x="1343482" y="1238898"/>
                </a:lnTo>
                <a:lnTo>
                  <a:pt x="1343482" y="1271130"/>
                </a:lnTo>
                <a:lnTo>
                  <a:pt x="1375715" y="1271130"/>
                </a:lnTo>
                <a:lnTo>
                  <a:pt x="1375715" y="1303363"/>
                </a:lnTo>
                <a:lnTo>
                  <a:pt x="1407947" y="1303363"/>
                </a:lnTo>
                <a:lnTo>
                  <a:pt x="1407947" y="1271130"/>
                </a:lnTo>
                <a:lnTo>
                  <a:pt x="1440180" y="1271130"/>
                </a:lnTo>
                <a:lnTo>
                  <a:pt x="1440180" y="1238898"/>
                </a:lnTo>
                <a:lnTo>
                  <a:pt x="1407947" y="1238898"/>
                </a:lnTo>
                <a:lnTo>
                  <a:pt x="1407947" y="1206665"/>
                </a:lnTo>
                <a:lnTo>
                  <a:pt x="1375715" y="1206665"/>
                </a:lnTo>
                <a:close/>
                <a:moveTo>
                  <a:pt x="828446" y="1485100"/>
                </a:moveTo>
                <a:lnTo>
                  <a:pt x="828446" y="1514589"/>
                </a:lnTo>
                <a:lnTo>
                  <a:pt x="798957" y="1514589"/>
                </a:lnTo>
                <a:lnTo>
                  <a:pt x="798957" y="1544079"/>
                </a:lnTo>
                <a:lnTo>
                  <a:pt x="828446" y="1544079"/>
                </a:lnTo>
                <a:lnTo>
                  <a:pt x="828446" y="1573568"/>
                </a:lnTo>
                <a:lnTo>
                  <a:pt x="857936" y="1573568"/>
                </a:lnTo>
                <a:lnTo>
                  <a:pt x="857936" y="1544079"/>
                </a:lnTo>
                <a:lnTo>
                  <a:pt x="887425" y="1544079"/>
                </a:lnTo>
                <a:lnTo>
                  <a:pt x="887425" y="1514589"/>
                </a:lnTo>
                <a:lnTo>
                  <a:pt x="857936" y="1514589"/>
                </a:lnTo>
                <a:lnTo>
                  <a:pt x="857936" y="1485100"/>
                </a:lnTo>
                <a:lnTo>
                  <a:pt x="828446" y="1485100"/>
                </a:lnTo>
                <a:close/>
                <a:moveTo>
                  <a:pt x="1238555" y="1206665"/>
                </a:moveTo>
                <a:lnTo>
                  <a:pt x="1238555" y="1238898"/>
                </a:lnTo>
                <a:lnTo>
                  <a:pt x="1206322" y="1238898"/>
                </a:lnTo>
                <a:lnTo>
                  <a:pt x="1206322" y="1271130"/>
                </a:lnTo>
                <a:lnTo>
                  <a:pt x="1238555" y="1271130"/>
                </a:lnTo>
                <a:lnTo>
                  <a:pt x="1238555" y="1303363"/>
                </a:lnTo>
                <a:lnTo>
                  <a:pt x="1270787" y="1303363"/>
                </a:lnTo>
                <a:lnTo>
                  <a:pt x="1270787" y="1271130"/>
                </a:lnTo>
                <a:lnTo>
                  <a:pt x="1303020" y="1271130"/>
                </a:lnTo>
                <a:lnTo>
                  <a:pt x="1303020" y="1238898"/>
                </a:lnTo>
                <a:lnTo>
                  <a:pt x="1270787" y="1238898"/>
                </a:lnTo>
                <a:lnTo>
                  <a:pt x="1270787" y="1206665"/>
                </a:lnTo>
                <a:lnTo>
                  <a:pt x="1238555" y="1206665"/>
                </a:lnTo>
                <a:close/>
                <a:moveTo>
                  <a:pt x="1307135" y="1343825"/>
                </a:moveTo>
                <a:lnTo>
                  <a:pt x="1307135" y="1376058"/>
                </a:lnTo>
                <a:lnTo>
                  <a:pt x="1274902" y="1376058"/>
                </a:lnTo>
                <a:lnTo>
                  <a:pt x="1274902" y="1408290"/>
                </a:lnTo>
                <a:lnTo>
                  <a:pt x="1307135" y="1408290"/>
                </a:lnTo>
                <a:lnTo>
                  <a:pt x="1307135" y="1440523"/>
                </a:lnTo>
                <a:lnTo>
                  <a:pt x="1339367" y="1440523"/>
                </a:lnTo>
                <a:lnTo>
                  <a:pt x="1339367" y="1408290"/>
                </a:lnTo>
                <a:lnTo>
                  <a:pt x="1371600" y="1408290"/>
                </a:lnTo>
                <a:lnTo>
                  <a:pt x="1371600" y="1376058"/>
                </a:lnTo>
                <a:lnTo>
                  <a:pt x="1339367" y="1376058"/>
                </a:lnTo>
                <a:lnTo>
                  <a:pt x="1339367" y="1343825"/>
                </a:lnTo>
                <a:lnTo>
                  <a:pt x="1307135" y="1343825"/>
                </a:lnTo>
                <a:close/>
                <a:moveTo>
                  <a:pt x="1101395" y="1480985"/>
                </a:moveTo>
                <a:lnTo>
                  <a:pt x="1101395" y="1513218"/>
                </a:lnTo>
                <a:lnTo>
                  <a:pt x="1069162" y="1513218"/>
                </a:lnTo>
                <a:lnTo>
                  <a:pt x="1069162" y="1545450"/>
                </a:lnTo>
                <a:lnTo>
                  <a:pt x="1101395" y="1545450"/>
                </a:lnTo>
                <a:lnTo>
                  <a:pt x="1101395" y="1577683"/>
                </a:lnTo>
                <a:lnTo>
                  <a:pt x="1133627" y="1577683"/>
                </a:lnTo>
                <a:lnTo>
                  <a:pt x="1133627" y="1545450"/>
                </a:lnTo>
                <a:lnTo>
                  <a:pt x="1165860" y="1545450"/>
                </a:lnTo>
                <a:lnTo>
                  <a:pt x="1165860" y="1513218"/>
                </a:lnTo>
                <a:lnTo>
                  <a:pt x="1133627" y="1513218"/>
                </a:lnTo>
                <a:lnTo>
                  <a:pt x="1133627" y="1480985"/>
                </a:lnTo>
                <a:lnTo>
                  <a:pt x="1101395" y="1480985"/>
                </a:lnTo>
                <a:close/>
                <a:moveTo>
                  <a:pt x="759866" y="1622603"/>
                </a:moveTo>
                <a:lnTo>
                  <a:pt x="759866" y="1651749"/>
                </a:lnTo>
                <a:lnTo>
                  <a:pt x="730720" y="1651749"/>
                </a:lnTo>
                <a:lnTo>
                  <a:pt x="730720" y="1681239"/>
                </a:lnTo>
                <a:lnTo>
                  <a:pt x="759866" y="1681239"/>
                </a:lnTo>
                <a:lnTo>
                  <a:pt x="759866" y="1710385"/>
                </a:lnTo>
                <a:lnTo>
                  <a:pt x="789356" y="1710385"/>
                </a:lnTo>
                <a:lnTo>
                  <a:pt x="789356" y="1681239"/>
                </a:lnTo>
                <a:lnTo>
                  <a:pt x="818502" y="1681239"/>
                </a:lnTo>
                <a:lnTo>
                  <a:pt x="818502" y="1651749"/>
                </a:lnTo>
                <a:lnTo>
                  <a:pt x="789356" y="1651749"/>
                </a:lnTo>
                <a:lnTo>
                  <a:pt x="789356" y="1622603"/>
                </a:lnTo>
                <a:lnTo>
                  <a:pt x="759866" y="1622603"/>
                </a:lnTo>
                <a:close/>
                <a:moveTo>
                  <a:pt x="1545107" y="2674963"/>
                </a:moveTo>
                <a:lnTo>
                  <a:pt x="1545107" y="2642730"/>
                </a:lnTo>
                <a:lnTo>
                  <a:pt x="1577340" y="2642730"/>
                </a:lnTo>
                <a:lnTo>
                  <a:pt x="1577340" y="2610498"/>
                </a:lnTo>
                <a:lnTo>
                  <a:pt x="1545107" y="2610498"/>
                </a:lnTo>
                <a:lnTo>
                  <a:pt x="1545107" y="2578265"/>
                </a:lnTo>
                <a:lnTo>
                  <a:pt x="1512875" y="2578265"/>
                </a:lnTo>
                <a:lnTo>
                  <a:pt x="1512875" y="2610498"/>
                </a:lnTo>
                <a:lnTo>
                  <a:pt x="1480642" y="2610498"/>
                </a:lnTo>
                <a:lnTo>
                  <a:pt x="1480642" y="2642730"/>
                </a:lnTo>
                <a:lnTo>
                  <a:pt x="1512875" y="2642730"/>
                </a:lnTo>
                <a:lnTo>
                  <a:pt x="1512875" y="2674963"/>
                </a:lnTo>
                <a:lnTo>
                  <a:pt x="1545107" y="2674963"/>
                </a:lnTo>
                <a:close/>
                <a:moveTo>
                  <a:pt x="2679764" y="1072248"/>
                </a:moveTo>
                <a:lnTo>
                  <a:pt x="2679764" y="1102766"/>
                </a:lnTo>
                <a:lnTo>
                  <a:pt x="2649245" y="1102766"/>
                </a:lnTo>
                <a:lnTo>
                  <a:pt x="2649245" y="1132942"/>
                </a:lnTo>
                <a:lnTo>
                  <a:pt x="2679764" y="1132942"/>
                </a:lnTo>
                <a:lnTo>
                  <a:pt x="2679764" y="1163460"/>
                </a:lnTo>
                <a:lnTo>
                  <a:pt x="2709939" y="1163460"/>
                </a:lnTo>
                <a:lnTo>
                  <a:pt x="2709939" y="1132942"/>
                </a:lnTo>
                <a:lnTo>
                  <a:pt x="2740457" y="1132942"/>
                </a:lnTo>
                <a:lnTo>
                  <a:pt x="2740457" y="1102766"/>
                </a:lnTo>
                <a:lnTo>
                  <a:pt x="2709939" y="1102766"/>
                </a:lnTo>
                <a:lnTo>
                  <a:pt x="2709939" y="1072248"/>
                </a:lnTo>
                <a:lnTo>
                  <a:pt x="2679764" y="1072248"/>
                </a:lnTo>
                <a:close/>
                <a:moveTo>
                  <a:pt x="2748001" y="1208380"/>
                </a:moveTo>
                <a:lnTo>
                  <a:pt x="2748001" y="1239584"/>
                </a:lnTo>
                <a:lnTo>
                  <a:pt x="2716797" y="1239584"/>
                </a:lnTo>
                <a:lnTo>
                  <a:pt x="2716797" y="1270445"/>
                </a:lnTo>
                <a:lnTo>
                  <a:pt x="2748001" y="1270445"/>
                </a:lnTo>
                <a:lnTo>
                  <a:pt x="2748001" y="1301648"/>
                </a:lnTo>
                <a:lnTo>
                  <a:pt x="2778862" y="1301648"/>
                </a:lnTo>
                <a:lnTo>
                  <a:pt x="2778862" y="1270445"/>
                </a:lnTo>
                <a:lnTo>
                  <a:pt x="2810066" y="1270445"/>
                </a:lnTo>
                <a:lnTo>
                  <a:pt x="2810066" y="1239584"/>
                </a:lnTo>
                <a:lnTo>
                  <a:pt x="2778862" y="1239584"/>
                </a:lnTo>
                <a:lnTo>
                  <a:pt x="2778862" y="1208380"/>
                </a:lnTo>
                <a:lnTo>
                  <a:pt x="2748001" y="1208380"/>
                </a:lnTo>
                <a:close/>
                <a:moveTo>
                  <a:pt x="2611526" y="936803"/>
                </a:moveTo>
                <a:lnTo>
                  <a:pt x="2611526" y="965949"/>
                </a:lnTo>
                <a:lnTo>
                  <a:pt x="2582380" y="965949"/>
                </a:lnTo>
                <a:lnTo>
                  <a:pt x="2582380" y="995439"/>
                </a:lnTo>
                <a:lnTo>
                  <a:pt x="2611526" y="995439"/>
                </a:lnTo>
                <a:lnTo>
                  <a:pt x="2611526" y="1024585"/>
                </a:lnTo>
                <a:lnTo>
                  <a:pt x="2641016" y="1024585"/>
                </a:lnTo>
                <a:lnTo>
                  <a:pt x="2641016" y="995439"/>
                </a:lnTo>
                <a:lnTo>
                  <a:pt x="2670163" y="995439"/>
                </a:lnTo>
                <a:lnTo>
                  <a:pt x="2670163" y="965949"/>
                </a:lnTo>
                <a:lnTo>
                  <a:pt x="2641016" y="965949"/>
                </a:lnTo>
                <a:lnTo>
                  <a:pt x="2641016" y="936803"/>
                </a:lnTo>
                <a:lnTo>
                  <a:pt x="2611526" y="936803"/>
                </a:lnTo>
                <a:close/>
                <a:moveTo>
                  <a:pt x="2473681" y="934745"/>
                </a:moveTo>
                <a:lnTo>
                  <a:pt x="2473681" y="965264"/>
                </a:lnTo>
                <a:lnTo>
                  <a:pt x="2443163" y="965264"/>
                </a:lnTo>
                <a:lnTo>
                  <a:pt x="2443163" y="996125"/>
                </a:lnTo>
                <a:lnTo>
                  <a:pt x="2473681" y="996125"/>
                </a:lnTo>
                <a:lnTo>
                  <a:pt x="2473681" y="1026643"/>
                </a:lnTo>
                <a:lnTo>
                  <a:pt x="2504542" y="1026643"/>
                </a:lnTo>
                <a:lnTo>
                  <a:pt x="2504542" y="996125"/>
                </a:lnTo>
                <a:lnTo>
                  <a:pt x="2535060" y="996125"/>
                </a:lnTo>
                <a:lnTo>
                  <a:pt x="2535060" y="965264"/>
                </a:lnTo>
                <a:lnTo>
                  <a:pt x="2504542" y="965264"/>
                </a:lnTo>
                <a:lnTo>
                  <a:pt x="2504542" y="934745"/>
                </a:lnTo>
                <a:lnTo>
                  <a:pt x="2473681" y="934745"/>
                </a:lnTo>
                <a:close/>
                <a:moveTo>
                  <a:pt x="2404415" y="1069505"/>
                </a:moveTo>
                <a:lnTo>
                  <a:pt x="2404415" y="1101738"/>
                </a:lnTo>
                <a:lnTo>
                  <a:pt x="2372182" y="1101738"/>
                </a:lnTo>
                <a:lnTo>
                  <a:pt x="2372182" y="1133970"/>
                </a:lnTo>
                <a:lnTo>
                  <a:pt x="2404415" y="1133970"/>
                </a:lnTo>
                <a:lnTo>
                  <a:pt x="2404415" y="1166203"/>
                </a:lnTo>
                <a:lnTo>
                  <a:pt x="2436647" y="1166203"/>
                </a:lnTo>
                <a:lnTo>
                  <a:pt x="2436647" y="1133970"/>
                </a:lnTo>
                <a:lnTo>
                  <a:pt x="2468880" y="1133970"/>
                </a:lnTo>
                <a:lnTo>
                  <a:pt x="2468880" y="1101738"/>
                </a:lnTo>
                <a:lnTo>
                  <a:pt x="2436647" y="1101738"/>
                </a:lnTo>
                <a:lnTo>
                  <a:pt x="2436647" y="1069505"/>
                </a:lnTo>
                <a:lnTo>
                  <a:pt x="2404415" y="1069505"/>
                </a:lnTo>
                <a:close/>
                <a:moveTo>
                  <a:pt x="2541918" y="1070534"/>
                </a:moveTo>
                <a:lnTo>
                  <a:pt x="2541918" y="1102081"/>
                </a:lnTo>
                <a:lnTo>
                  <a:pt x="2510371" y="1102081"/>
                </a:lnTo>
                <a:lnTo>
                  <a:pt x="2510371" y="1133627"/>
                </a:lnTo>
                <a:lnTo>
                  <a:pt x="2541918" y="1133627"/>
                </a:lnTo>
                <a:lnTo>
                  <a:pt x="2541918" y="1165174"/>
                </a:lnTo>
                <a:lnTo>
                  <a:pt x="2573465" y="1165174"/>
                </a:lnTo>
                <a:lnTo>
                  <a:pt x="2573465" y="1133627"/>
                </a:lnTo>
                <a:lnTo>
                  <a:pt x="2605012" y="1133627"/>
                </a:lnTo>
                <a:lnTo>
                  <a:pt x="2605012" y="1102081"/>
                </a:lnTo>
                <a:lnTo>
                  <a:pt x="2573465" y="1102081"/>
                </a:lnTo>
                <a:lnTo>
                  <a:pt x="2573465" y="1070534"/>
                </a:lnTo>
                <a:lnTo>
                  <a:pt x="2541918" y="1070534"/>
                </a:lnTo>
                <a:close/>
                <a:moveTo>
                  <a:pt x="2954426" y="1347597"/>
                </a:moveTo>
                <a:lnTo>
                  <a:pt x="2954426" y="1377429"/>
                </a:lnTo>
                <a:lnTo>
                  <a:pt x="2924594" y="1377429"/>
                </a:lnTo>
                <a:lnTo>
                  <a:pt x="2924594" y="1406919"/>
                </a:lnTo>
                <a:lnTo>
                  <a:pt x="2954426" y="1406919"/>
                </a:lnTo>
                <a:lnTo>
                  <a:pt x="2954426" y="1436751"/>
                </a:lnTo>
                <a:lnTo>
                  <a:pt x="2983916" y="1436751"/>
                </a:lnTo>
                <a:lnTo>
                  <a:pt x="2983916" y="1406919"/>
                </a:lnTo>
                <a:lnTo>
                  <a:pt x="3013748" y="1406919"/>
                </a:lnTo>
                <a:lnTo>
                  <a:pt x="3013748" y="1377429"/>
                </a:lnTo>
                <a:lnTo>
                  <a:pt x="2983916" y="1377429"/>
                </a:lnTo>
                <a:lnTo>
                  <a:pt x="2983916" y="1347597"/>
                </a:lnTo>
                <a:lnTo>
                  <a:pt x="2954426" y="1347597"/>
                </a:lnTo>
                <a:close/>
                <a:moveTo>
                  <a:pt x="3023006" y="1485100"/>
                </a:moveTo>
                <a:lnTo>
                  <a:pt x="3023006" y="1514589"/>
                </a:lnTo>
                <a:lnTo>
                  <a:pt x="2993517" y="1514589"/>
                </a:lnTo>
                <a:lnTo>
                  <a:pt x="2993517" y="1544079"/>
                </a:lnTo>
                <a:lnTo>
                  <a:pt x="3023006" y="1544079"/>
                </a:lnTo>
                <a:lnTo>
                  <a:pt x="3023006" y="1573568"/>
                </a:lnTo>
                <a:lnTo>
                  <a:pt x="3052496" y="1573568"/>
                </a:lnTo>
                <a:lnTo>
                  <a:pt x="3052496" y="1544079"/>
                </a:lnTo>
                <a:lnTo>
                  <a:pt x="3081985" y="1544079"/>
                </a:lnTo>
                <a:lnTo>
                  <a:pt x="3081985" y="1514589"/>
                </a:lnTo>
                <a:lnTo>
                  <a:pt x="3052496" y="1514589"/>
                </a:lnTo>
                <a:lnTo>
                  <a:pt x="3052496" y="1485100"/>
                </a:lnTo>
                <a:lnTo>
                  <a:pt x="3023006" y="1485100"/>
                </a:lnTo>
                <a:close/>
                <a:moveTo>
                  <a:pt x="2817610" y="1074649"/>
                </a:moveTo>
                <a:lnTo>
                  <a:pt x="2817610" y="1103452"/>
                </a:lnTo>
                <a:lnTo>
                  <a:pt x="2788806" y="1103452"/>
                </a:lnTo>
                <a:lnTo>
                  <a:pt x="2788806" y="1132256"/>
                </a:lnTo>
                <a:lnTo>
                  <a:pt x="2817610" y="1132256"/>
                </a:lnTo>
                <a:lnTo>
                  <a:pt x="2817610" y="1161059"/>
                </a:lnTo>
                <a:lnTo>
                  <a:pt x="2846413" y="1161059"/>
                </a:lnTo>
                <a:lnTo>
                  <a:pt x="2846413" y="1132256"/>
                </a:lnTo>
                <a:lnTo>
                  <a:pt x="2875217" y="1132256"/>
                </a:lnTo>
                <a:lnTo>
                  <a:pt x="2875217" y="1103452"/>
                </a:lnTo>
                <a:lnTo>
                  <a:pt x="2846413" y="1103452"/>
                </a:lnTo>
                <a:lnTo>
                  <a:pt x="2846413" y="1074649"/>
                </a:lnTo>
                <a:lnTo>
                  <a:pt x="2817610" y="1074649"/>
                </a:lnTo>
                <a:close/>
                <a:moveTo>
                  <a:pt x="2885846" y="1211123"/>
                </a:moveTo>
                <a:lnTo>
                  <a:pt x="2885846" y="1240269"/>
                </a:lnTo>
                <a:lnTo>
                  <a:pt x="2856700" y="1240269"/>
                </a:lnTo>
                <a:lnTo>
                  <a:pt x="2856700" y="1269759"/>
                </a:lnTo>
                <a:lnTo>
                  <a:pt x="2885846" y="1269759"/>
                </a:lnTo>
                <a:lnTo>
                  <a:pt x="2885846" y="1298905"/>
                </a:lnTo>
                <a:lnTo>
                  <a:pt x="2915336" y="1298905"/>
                </a:lnTo>
                <a:lnTo>
                  <a:pt x="2915336" y="1269759"/>
                </a:lnTo>
                <a:lnTo>
                  <a:pt x="2944483" y="1269759"/>
                </a:lnTo>
                <a:lnTo>
                  <a:pt x="2944483" y="1240269"/>
                </a:lnTo>
                <a:lnTo>
                  <a:pt x="2915336" y="1240269"/>
                </a:lnTo>
                <a:lnTo>
                  <a:pt x="2915336" y="1211123"/>
                </a:lnTo>
                <a:lnTo>
                  <a:pt x="2885846" y="1211123"/>
                </a:lnTo>
                <a:close/>
                <a:moveTo>
                  <a:pt x="1856461" y="797585"/>
                </a:moveTo>
                <a:lnTo>
                  <a:pt x="1856461" y="828104"/>
                </a:lnTo>
                <a:lnTo>
                  <a:pt x="1825942" y="828104"/>
                </a:lnTo>
                <a:lnTo>
                  <a:pt x="1825942" y="858965"/>
                </a:lnTo>
                <a:lnTo>
                  <a:pt x="1856461" y="858965"/>
                </a:lnTo>
                <a:lnTo>
                  <a:pt x="1856461" y="889483"/>
                </a:lnTo>
                <a:lnTo>
                  <a:pt x="1887322" y="889483"/>
                </a:lnTo>
                <a:lnTo>
                  <a:pt x="1887322" y="858965"/>
                </a:lnTo>
                <a:lnTo>
                  <a:pt x="1917840" y="858965"/>
                </a:lnTo>
                <a:lnTo>
                  <a:pt x="1917840" y="828104"/>
                </a:lnTo>
                <a:lnTo>
                  <a:pt x="1887322" y="828104"/>
                </a:lnTo>
                <a:lnTo>
                  <a:pt x="1887322" y="797585"/>
                </a:lnTo>
                <a:lnTo>
                  <a:pt x="1856461" y="797585"/>
                </a:lnTo>
                <a:close/>
                <a:moveTo>
                  <a:pt x="1993621" y="797585"/>
                </a:moveTo>
                <a:lnTo>
                  <a:pt x="1993621" y="828104"/>
                </a:lnTo>
                <a:lnTo>
                  <a:pt x="1963102" y="828104"/>
                </a:lnTo>
                <a:lnTo>
                  <a:pt x="1963102" y="858965"/>
                </a:lnTo>
                <a:lnTo>
                  <a:pt x="1993621" y="858965"/>
                </a:lnTo>
                <a:lnTo>
                  <a:pt x="1993621" y="889483"/>
                </a:lnTo>
                <a:lnTo>
                  <a:pt x="2024482" y="889483"/>
                </a:lnTo>
                <a:lnTo>
                  <a:pt x="2024482" y="858965"/>
                </a:lnTo>
                <a:lnTo>
                  <a:pt x="2055000" y="858965"/>
                </a:lnTo>
                <a:lnTo>
                  <a:pt x="2055000" y="828104"/>
                </a:lnTo>
                <a:lnTo>
                  <a:pt x="2024482" y="828104"/>
                </a:lnTo>
                <a:lnTo>
                  <a:pt x="2024482" y="797585"/>
                </a:lnTo>
                <a:lnTo>
                  <a:pt x="1993621" y="797585"/>
                </a:lnTo>
                <a:close/>
                <a:moveTo>
                  <a:pt x="1924355" y="932345"/>
                </a:moveTo>
                <a:lnTo>
                  <a:pt x="1924355" y="964578"/>
                </a:lnTo>
                <a:lnTo>
                  <a:pt x="1892122" y="964578"/>
                </a:lnTo>
                <a:lnTo>
                  <a:pt x="1892122" y="996810"/>
                </a:lnTo>
                <a:lnTo>
                  <a:pt x="1924355" y="996810"/>
                </a:lnTo>
                <a:lnTo>
                  <a:pt x="1924355" y="1029043"/>
                </a:lnTo>
                <a:lnTo>
                  <a:pt x="1956587" y="1029043"/>
                </a:lnTo>
                <a:lnTo>
                  <a:pt x="1956587" y="996810"/>
                </a:lnTo>
                <a:lnTo>
                  <a:pt x="1988820" y="996810"/>
                </a:lnTo>
                <a:lnTo>
                  <a:pt x="1988820" y="964578"/>
                </a:lnTo>
                <a:lnTo>
                  <a:pt x="1956587" y="964578"/>
                </a:lnTo>
                <a:lnTo>
                  <a:pt x="1956587" y="932345"/>
                </a:lnTo>
                <a:lnTo>
                  <a:pt x="1924355" y="932345"/>
                </a:lnTo>
                <a:close/>
                <a:moveTo>
                  <a:pt x="2336178" y="933717"/>
                </a:moveTo>
                <a:lnTo>
                  <a:pt x="2336178" y="964921"/>
                </a:lnTo>
                <a:lnTo>
                  <a:pt x="2304974" y="964921"/>
                </a:lnTo>
                <a:lnTo>
                  <a:pt x="2304974" y="996467"/>
                </a:lnTo>
                <a:lnTo>
                  <a:pt x="2336178" y="996467"/>
                </a:lnTo>
                <a:lnTo>
                  <a:pt x="2336178" y="1027671"/>
                </a:lnTo>
                <a:lnTo>
                  <a:pt x="2367725" y="1027671"/>
                </a:lnTo>
                <a:lnTo>
                  <a:pt x="2367725" y="996467"/>
                </a:lnTo>
                <a:lnTo>
                  <a:pt x="2398928" y="996467"/>
                </a:lnTo>
                <a:lnTo>
                  <a:pt x="2398928" y="964921"/>
                </a:lnTo>
                <a:lnTo>
                  <a:pt x="2367725" y="964921"/>
                </a:lnTo>
                <a:lnTo>
                  <a:pt x="2367725" y="933717"/>
                </a:lnTo>
                <a:lnTo>
                  <a:pt x="2336178" y="933717"/>
                </a:lnTo>
                <a:close/>
                <a:moveTo>
                  <a:pt x="1787195" y="932345"/>
                </a:moveTo>
                <a:lnTo>
                  <a:pt x="1787195" y="964578"/>
                </a:lnTo>
                <a:lnTo>
                  <a:pt x="1754962" y="964578"/>
                </a:lnTo>
                <a:lnTo>
                  <a:pt x="1754962" y="996810"/>
                </a:lnTo>
                <a:lnTo>
                  <a:pt x="1787195" y="996810"/>
                </a:lnTo>
                <a:lnTo>
                  <a:pt x="1787195" y="1029043"/>
                </a:lnTo>
                <a:lnTo>
                  <a:pt x="1819427" y="1029043"/>
                </a:lnTo>
                <a:lnTo>
                  <a:pt x="1819427" y="996810"/>
                </a:lnTo>
                <a:lnTo>
                  <a:pt x="1851660" y="996810"/>
                </a:lnTo>
                <a:lnTo>
                  <a:pt x="1851660" y="964578"/>
                </a:lnTo>
                <a:lnTo>
                  <a:pt x="1819427" y="964578"/>
                </a:lnTo>
                <a:lnTo>
                  <a:pt x="1819427" y="932345"/>
                </a:lnTo>
                <a:lnTo>
                  <a:pt x="1787195" y="932345"/>
                </a:lnTo>
                <a:close/>
                <a:moveTo>
                  <a:pt x="3092615" y="1350683"/>
                </a:moveTo>
                <a:lnTo>
                  <a:pt x="3092615" y="1378458"/>
                </a:lnTo>
                <a:lnTo>
                  <a:pt x="3064840" y="1378458"/>
                </a:lnTo>
                <a:lnTo>
                  <a:pt x="3064840" y="1405890"/>
                </a:lnTo>
                <a:lnTo>
                  <a:pt x="3092615" y="1405890"/>
                </a:lnTo>
                <a:lnTo>
                  <a:pt x="3092615" y="1433665"/>
                </a:lnTo>
                <a:lnTo>
                  <a:pt x="3120047" y="1433665"/>
                </a:lnTo>
                <a:lnTo>
                  <a:pt x="3120047" y="1405890"/>
                </a:lnTo>
                <a:lnTo>
                  <a:pt x="3147822" y="1405890"/>
                </a:lnTo>
                <a:lnTo>
                  <a:pt x="3147822" y="1378458"/>
                </a:lnTo>
                <a:lnTo>
                  <a:pt x="3120047" y="1378458"/>
                </a:lnTo>
                <a:lnTo>
                  <a:pt x="3120047" y="1350683"/>
                </a:lnTo>
                <a:lnTo>
                  <a:pt x="3092615" y="1350683"/>
                </a:lnTo>
                <a:close/>
                <a:moveTo>
                  <a:pt x="2061515" y="932345"/>
                </a:moveTo>
                <a:lnTo>
                  <a:pt x="2061515" y="964578"/>
                </a:lnTo>
                <a:lnTo>
                  <a:pt x="2029282" y="964578"/>
                </a:lnTo>
                <a:lnTo>
                  <a:pt x="2029282" y="996810"/>
                </a:lnTo>
                <a:lnTo>
                  <a:pt x="2061515" y="996810"/>
                </a:lnTo>
                <a:lnTo>
                  <a:pt x="2061515" y="1029043"/>
                </a:lnTo>
                <a:lnTo>
                  <a:pt x="2093747" y="1029043"/>
                </a:lnTo>
                <a:lnTo>
                  <a:pt x="2093747" y="996810"/>
                </a:lnTo>
                <a:lnTo>
                  <a:pt x="2125980" y="996810"/>
                </a:lnTo>
                <a:lnTo>
                  <a:pt x="2125980" y="964578"/>
                </a:lnTo>
                <a:lnTo>
                  <a:pt x="2093747" y="964578"/>
                </a:lnTo>
                <a:lnTo>
                  <a:pt x="2093747" y="932345"/>
                </a:lnTo>
                <a:lnTo>
                  <a:pt x="2061515" y="932345"/>
                </a:lnTo>
                <a:close/>
                <a:moveTo>
                  <a:pt x="2268284" y="798614"/>
                </a:moveTo>
                <a:lnTo>
                  <a:pt x="2268284" y="828446"/>
                </a:lnTo>
                <a:lnTo>
                  <a:pt x="2238451" y="828446"/>
                </a:lnTo>
                <a:lnTo>
                  <a:pt x="2238451" y="858622"/>
                </a:lnTo>
                <a:lnTo>
                  <a:pt x="2268284" y="858622"/>
                </a:lnTo>
                <a:lnTo>
                  <a:pt x="2268284" y="888454"/>
                </a:lnTo>
                <a:lnTo>
                  <a:pt x="2298459" y="888454"/>
                </a:lnTo>
                <a:lnTo>
                  <a:pt x="2298459" y="858622"/>
                </a:lnTo>
                <a:lnTo>
                  <a:pt x="2328291" y="858622"/>
                </a:lnTo>
                <a:lnTo>
                  <a:pt x="2328291" y="828446"/>
                </a:lnTo>
                <a:lnTo>
                  <a:pt x="2298459" y="828446"/>
                </a:lnTo>
                <a:lnTo>
                  <a:pt x="2298459" y="798614"/>
                </a:lnTo>
                <a:lnTo>
                  <a:pt x="2268284" y="798614"/>
                </a:lnTo>
                <a:close/>
                <a:moveTo>
                  <a:pt x="2198675" y="932688"/>
                </a:moveTo>
                <a:lnTo>
                  <a:pt x="2198675" y="964578"/>
                </a:lnTo>
                <a:lnTo>
                  <a:pt x="2166785" y="964578"/>
                </a:lnTo>
                <a:lnTo>
                  <a:pt x="2166785" y="996810"/>
                </a:lnTo>
                <a:lnTo>
                  <a:pt x="2198675" y="996810"/>
                </a:lnTo>
                <a:lnTo>
                  <a:pt x="2198675" y="1028700"/>
                </a:lnTo>
                <a:lnTo>
                  <a:pt x="2230907" y="1028700"/>
                </a:lnTo>
                <a:lnTo>
                  <a:pt x="2230907" y="996810"/>
                </a:lnTo>
                <a:lnTo>
                  <a:pt x="2262797" y="996810"/>
                </a:lnTo>
                <a:lnTo>
                  <a:pt x="2262797" y="964578"/>
                </a:lnTo>
                <a:lnTo>
                  <a:pt x="2230907" y="964578"/>
                </a:lnTo>
                <a:lnTo>
                  <a:pt x="2230907" y="932688"/>
                </a:lnTo>
                <a:lnTo>
                  <a:pt x="2198675" y="932688"/>
                </a:lnTo>
                <a:close/>
                <a:moveTo>
                  <a:pt x="2131124" y="797928"/>
                </a:moveTo>
                <a:lnTo>
                  <a:pt x="2131124" y="828446"/>
                </a:lnTo>
                <a:lnTo>
                  <a:pt x="2100605" y="828446"/>
                </a:lnTo>
                <a:lnTo>
                  <a:pt x="2100605" y="858622"/>
                </a:lnTo>
                <a:lnTo>
                  <a:pt x="2131124" y="858622"/>
                </a:lnTo>
                <a:lnTo>
                  <a:pt x="2131124" y="889140"/>
                </a:lnTo>
                <a:lnTo>
                  <a:pt x="2161299" y="889140"/>
                </a:lnTo>
                <a:lnTo>
                  <a:pt x="2161299" y="858622"/>
                </a:lnTo>
                <a:lnTo>
                  <a:pt x="2191817" y="858622"/>
                </a:lnTo>
                <a:lnTo>
                  <a:pt x="2191817" y="828446"/>
                </a:lnTo>
                <a:lnTo>
                  <a:pt x="2161299" y="828446"/>
                </a:lnTo>
                <a:lnTo>
                  <a:pt x="2161299" y="797928"/>
                </a:lnTo>
                <a:lnTo>
                  <a:pt x="2131124" y="797928"/>
                </a:lnTo>
                <a:close/>
                <a:moveTo>
                  <a:pt x="2847785" y="2536431"/>
                </a:moveTo>
                <a:lnTo>
                  <a:pt x="2847785" y="2505227"/>
                </a:lnTo>
                <a:lnTo>
                  <a:pt x="2878988" y="2505227"/>
                </a:lnTo>
                <a:lnTo>
                  <a:pt x="2878988" y="2473681"/>
                </a:lnTo>
                <a:lnTo>
                  <a:pt x="2847785" y="2473681"/>
                </a:lnTo>
                <a:lnTo>
                  <a:pt x="2847785" y="2442477"/>
                </a:lnTo>
                <a:lnTo>
                  <a:pt x="2816238" y="2442477"/>
                </a:lnTo>
                <a:lnTo>
                  <a:pt x="2816238" y="2473681"/>
                </a:lnTo>
                <a:lnTo>
                  <a:pt x="2785034" y="2473681"/>
                </a:lnTo>
                <a:lnTo>
                  <a:pt x="2785034" y="2505227"/>
                </a:lnTo>
                <a:lnTo>
                  <a:pt x="2816238" y="2505227"/>
                </a:lnTo>
                <a:lnTo>
                  <a:pt x="2816238" y="2536431"/>
                </a:lnTo>
                <a:lnTo>
                  <a:pt x="2847785" y="2536431"/>
                </a:lnTo>
                <a:close/>
                <a:moveTo>
                  <a:pt x="2710967" y="2537803"/>
                </a:moveTo>
                <a:lnTo>
                  <a:pt x="2710967" y="2505570"/>
                </a:lnTo>
                <a:lnTo>
                  <a:pt x="2743200" y="2505570"/>
                </a:lnTo>
                <a:lnTo>
                  <a:pt x="2743200" y="2473338"/>
                </a:lnTo>
                <a:lnTo>
                  <a:pt x="2710967" y="2473338"/>
                </a:lnTo>
                <a:lnTo>
                  <a:pt x="2710967" y="2441105"/>
                </a:lnTo>
                <a:lnTo>
                  <a:pt x="2678735" y="2441105"/>
                </a:lnTo>
                <a:lnTo>
                  <a:pt x="2678735" y="2473338"/>
                </a:lnTo>
                <a:lnTo>
                  <a:pt x="2646502" y="2473338"/>
                </a:lnTo>
                <a:lnTo>
                  <a:pt x="2646502" y="2505570"/>
                </a:lnTo>
                <a:lnTo>
                  <a:pt x="2678735" y="2505570"/>
                </a:lnTo>
                <a:lnTo>
                  <a:pt x="2678735" y="2537803"/>
                </a:lnTo>
                <a:lnTo>
                  <a:pt x="2710967" y="2537803"/>
                </a:lnTo>
                <a:close/>
                <a:moveTo>
                  <a:pt x="2368067" y="2674963"/>
                </a:moveTo>
                <a:lnTo>
                  <a:pt x="2368067" y="2642730"/>
                </a:lnTo>
                <a:lnTo>
                  <a:pt x="2400300" y="2642730"/>
                </a:lnTo>
                <a:lnTo>
                  <a:pt x="2400300" y="2610498"/>
                </a:lnTo>
                <a:lnTo>
                  <a:pt x="2368067" y="2610498"/>
                </a:lnTo>
                <a:lnTo>
                  <a:pt x="2368067" y="2578265"/>
                </a:lnTo>
                <a:lnTo>
                  <a:pt x="2335835" y="2578265"/>
                </a:lnTo>
                <a:lnTo>
                  <a:pt x="2335835" y="2610498"/>
                </a:lnTo>
                <a:lnTo>
                  <a:pt x="2303602" y="2610498"/>
                </a:lnTo>
                <a:lnTo>
                  <a:pt x="2303602" y="2642730"/>
                </a:lnTo>
                <a:lnTo>
                  <a:pt x="2335835" y="2642730"/>
                </a:lnTo>
                <a:lnTo>
                  <a:pt x="2335835" y="2674963"/>
                </a:lnTo>
                <a:lnTo>
                  <a:pt x="2368067" y="2674963"/>
                </a:lnTo>
                <a:close/>
                <a:moveTo>
                  <a:pt x="2505227" y="2674963"/>
                </a:moveTo>
                <a:lnTo>
                  <a:pt x="2505227" y="2642730"/>
                </a:lnTo>
                <a:lnTo>
                  <a:pt x="2537460" y="2642730"/>
                </a:lnTo>
                <a:lnTo>
                  <a:pt x="2537460" y="2610498"/>
                </a:lnTo>
                <a:lnTo>
                  <a:pt x="2505227" y="2610498"/>
                </a:lnTo>
                <a:lnTo>
                  <a:pt x="2505227" y="2578265"/>
                </a:lnTo>
                <a:lnTo>
                  <a:pt x="2472995" y="2578265"/>
                </a:lnTo>
                <a:lnTo>
                  <a:pt x="2472995" y="2610498"/>
                </a:lnTo>
                <a:lnTo>
                  <a:pt x="2440762" y="2610498"/>
                </a:lnTo>
                <a:lnTo>
                  <a:pt x="2440762" y="2642730"/>
                </a:lnTo>
                <a:lnTo>
                  <a:pt x="2472995" y="2642730"/>
                </a:lnTo>
                <a:lnTo>
                  <a:pt x="2472995" y="2674963"/>
                </a:lnTo>
                <a:lnTo>
                  <a:pt x="2505227" y="2674963"/>
                </a:lnTo>
                <a:close/>
                <a:moveTo>
                  <a:pt x="2642387" y="2674963"/>
                </a:moveTo>
                <a:lnTo>
                  <a:pt x="2642387" y="2642730"/>
                </a:lnTo>
                <a:lnTo>
                  <a:pt x="2674620" y="2642730"/>
                </a:lnTo>
                <a:lnTo>
                  <a:pt x="2674620" y="2610498"/>
                </a:lnTo>
                <a:lnTo>
                  <a:pt x="2642387" y="2610498"/>
                </a:lnTo>
                <a:lnTo>
                  <a:pt x="2642387" y="2578265"/>
                </a:lnTo>
                <a:lnTo>
                  <a:pt x="2610155" y="2578265"/>
                </a:lnTo>
                <a:lnTo>
                  <a:pt x="2610155" y="2610498"/>
                </a:lnTo>
                <a:lnTo>
                  <a:pt x="2577922" y="2610498"/>
                </a:lnTo>
                <a:lnTo>
                  <a:pt x="2577922" y="2642730"/>
                </a:lnTo>
                <a:lnTo>
                  <a:pt x="2610155" y="2642730"/>
                </a:lnTo>
                <a:lnTo>
                  <a:pt x="2610155" y="2674963"/>
                </a:lnTo>
                <a:lnTo>
                  <a:pt x="2642387" y="2674963"/>
                </a:lnTo>
                <a:close/>
                <a:moveTo>
                  <a:pt x="2573807" y="2537803"/>
                </a:moveTo>
                <a:lnTo>
                  <a:pt x="2573807" y="2505570"/>
                </a:lnTo>
                <a:lnTo>
                  <a:pt x="2606040" y="2505570"/>
                </a:lnTo>
                <a:lnTo>
                  <a:pt x="2606040" y="2473338"/>
                </a:lnTo>
                <a:lnTo>
                  <a:pt x="2573807" y="2473338"/>
                </a:lnTo>
                <a:lnTo>
                  <a:pt x="2573807" y="2441105"/>
                </a:lnTo>
                <a:lnTo>
                  <a:pt x="2541575" y="2441105"/>
                </a:lnTo>
                <a:lnTo>
                  <a:pt x="2541575" y="2473338"/>
                </a:lnTo>
                <a:lnTo>
                  <a:pt x="2509342" y="2473338"/>
                </a:lnTo>
                <a:lnTo>
                  <a:pt x="2509342" y="2505570"/>
                </a:lnTo>
                <a:lnTo>
                  <a:pt x="2541575" y="2505570"/>
                </a:lnTo>
                <a:lnTo>
                  <a:pt x="2541575" y="2537803"/>
                </a:lnTo>
                <a:lnTo>
                  <a:pt x="2573807" y="2537803"/>
                </a:lnTo>
                <a:close/>
                <a:moveTo>
                  <a:pt x="2436647" y="2812123"/>
                </a:moveTo>
                <a:lnTo>
                  <a:pt x="2436647" y="2779890"/>
                </a:lnTo>
                <a:lnTo>
                  <a:pt x="2468880" y="2779890"/>
                </a:lnTo>
                <a:lnTo>
                  <a:pt x="2468880" y="2747658"/>
                </a:lnTo>
                <a:lnTo>
                  <a:pt x="2436647" y="2747658"/>
                </a:lnTo>
                <a:lnTo>
                  <a:pt x="2436647" y="2715425"/>
                </a:lnTo>
                <a:lnTo>
                  <a:pt x="2404415" y="2715425"/>
                </a:lnTo>
                <a:lnTo>
                  <a:pt x="2404415" y="2747658"/>
                </a:lnTo>
                <a:lnTo>
                  <a:pt x="2372182" y="2747658"/>
                </a:lnTo>
                <a:lnTo>
                  <a:pt x="2372182" y="2779890"/>
                </a:lnTo>
                <a:lnTo>
                  <a:pt x="2404415" y="2779890"/>
                </a:lnTo>
                <a:lnTo>
                  <a:pt x="2404415" y="2812123"/>
                </a:lnTo>
                <a:lnTo>
                  <a:pt x="2436647" y="2812123"/>
                </a:lnTo>
                <a:close/>
                <a:moveTo>
                  <a:pt x="2162327" y="2812123"/>
                </a:moveTo>
                <a:lnTo>
                  <a:pt x="2162327" y="2779890"/>
                </a:lnTo>
                <a:lnTo>
                  <a:pt x="2194560" y="2779890"/>
                </a:lnTo>
                <a:lnTo>
                  <a:pt x="2194560" y="2747658"/>
                </a:lnTo>
                <a:lnTo>
                  <a:pt x="2162327" y="2747658"/>
                </a:lnTo>
                <a:lnTo>
                  <a:pt x="2162327" y="2715425"/>
                </a:lnTo>
                <a:lnTo>
                  <a:pt x="2130095" y="2715425"/>
                </a:lnTo>
                <a:lnTo>
                  <a:pt x="2130095" y="2747658"/>
                </a:lnTo>
                <a:lnTo>
                  <a:pt x="2097862" y="2747658"/>
                </a:lnTo>
                <a:lnTo>
                  <a:pt x="2097862" y="2779890"/>
                </a:lnTo>
                <a:lnTo>
                  <a:pt x="2130095" y="2779890"/>
                </a:lnTo>
                <a:lnTo>
                  <a:pt x="2130095" y="2812123"/>
                </a:lnTo>
                <a:lnTo>
                  <a:pt x="2162327" y="2812123"/>
                </a:lnTo>
                <a:close/>
                <a:moveTo>
                  <a:pt x="3161195" y="1488186"/>
                </a:moveTo>
                <a:lnTo>
                  <a:pt x="3161195" y="1515618"/>
                </a:lnTo>
                <a:lnTo>
                  <a:pt x="3133763" y="1515618"/>
                </a:lnTo>
                <a:lnTo>
                  <a:pt x="3133763" y="1543050"/>
                </a:lnTo>
                <a:lnTo>
                  <a:pt x="3161195" y="1543050"/>
                </a:lnTo>
                <a:lnTo>
                  <a:pt x="3161195" y="1570482"/>
                </a:lnTo>
                <a:lnTo>
                  <a:pt x="3188627" y="1570482"/>
                </a:lnTo>
                <a:lnTo>
                  <a:pt x="3188627" y="1543050"/>
                </a:lnTo>
                <a:lnTo>
                  <a:pt x="3216059" y="1543050"/>
                </a:lnTo>
                <a:lnTo>
                  <a:pt x="3216059" y="1515618"/>
                </a:lnTo>
                <a:lnTo>
                  <a:pt x="3188627" y="1515618"/>
                </a:lnTo>
                <a:lnTo>
                  <a:pt x="3188627" y="1488186"/>
                </a:lnTo>
                <a:lnTo>
                  <a:pt x="3161195" y="1488186"/>
                </a:lnTo>
                <a:close/>
                <a:moveTo>
                  <a:pt x="2093747" y="2674963"/>
                </a:moveTo>
                <a:lnTo>
                  <a:pt x="2093747" y="2642730"/>
                </a:lnTo>
                <a:lnTo>
                  <a:pt x="2125980" y="2642730"/>
                </a:lnTo>
                <a:lnTo>
                  <a:pt x="2125980" y="2610498"/>
                </a:lnTo>
                <a:lnTo>
                  <a:pt x="2093747" y="2610498"/>
                </a:lnTo>
                <a:lnTo>
                  <a:pt x="2093747" y="2578265"/>
                </a:lnTo>
                <a:lnTo>
                  <a:pt x="2061515" y="2578265"/>
                </a:lnTo>
                <a:lnTo>
                  <a:pt x="2061515" y="2610498"/>
                </a:lnTo>
                <a:lnTo>
                  <a:pt x="2029282" y="2610498"/>
                </a:lnTo>
                <a:lnTo>
                  <a:pt x="2029282" y="2642730"/>
                </a:lnTo>
                <a:lnTo>
                  <a:pt x="2061515" y="2642730"/>
                </a:lnTo>
                <a:lnTo>
                  <a:pt x="2061515" y="2674963"/>
                </a:lnTo>
                <a:lnTo>
                  <a:pt x="2093747" y="2674963"/>
                </a:lnTo>
                <a:close/>
                <a:moveTo>
                  <a:pt x="2230907" y="2674963"/>
                </a:moveTo>
                <a:lnTo>
                  <a:pt x="2230907" y="2642730"/>
                </a:lnTo>
                <a:lnTo>
                  <a:pt x="2263140" y="2642730"/>
                </a:lnTo>
                <a:lnTo>
                  <a:pt x="2263140" y="2610498"/>
                </a:lnTo>
                <a:lnTo>
                  <a:pt x="2230907" y="2610498"/>
                </a:lnTo>
                <a:lnTo>
                  <a:pt x="2230907" y="2578265"/>
                </a:lnTo>
                <a:lnTo>
                  <a:pt x="2198675" y="2578265"/>
                </a:lnTo>
                <a:lnTo>
                  <a:pt x="2198675" y="2610498"/>
                </a:lnTo>
                <a:lnTo>
                  <a:pt x="2166442" y="2610498"/>
                </a:lnTo>
                <a:lnTo>
                  <a:pt x="2166442" y="2642730"/>
                </a:lnTo>
                <a:lnTo>
                  <a:pt x="2198675" y="2642730"/>
                </a:lnTo>
                <a:lnTo>
                  <a:pt x="2198675" y="2674963"/>
                </a:lnTo>
                <a:lnTo>
                  <a:pt x="2230907" y="2674963"/>
                </a:lnTo>
                <a:close/>
                <a:moveTo>
                  <a:pt x="2299487" y="2812123"/>
                </a:moveTo>
                <a:lnTo>
                  <a:pt x="2299487" y="2779890"/>
                </a:lnTo>
                <a:lnTo>
                  <a:pt x="2331720" y="2779890"/>
                </a:lnTo>
                <a:lnTo>
                  <a:pt x="2331720" y="2747658"/>
                </a:lnTo>
                <a:lnTo>
                  <a:pt x="2299487" y="2747658"/>
                </a:lnTo>
                <a:lnTo>
                  <a:pt x="2299487" y="2715425"/>
                </a:lnTo>
                <a:lnTo>
                  <a:pt x="2267255" y="2715425"/>
                </a:lnTo>
                <a:lnTo>
                  <a:pt x="2267255" y="2747658"/>
                </a:lnTo>
                <a:lnTo>
                  <a:pt x="2235022" y="2747658"/>
                </a:lnTo>
                <a:lnTo>
                  <a:pt x="2235022" y="2779890"/>
                </a:lnTo>
                <a:lnTo>
                  <a:pt x="2267255" y="2779890"/>
                </a:lnTo>
                <a:lnTo>
                  <a:pt x="2267255" y="2812123"/>
                </a:lnTo>
                <a:lnTo>
                  <a:pt x="2299487" y="2812123"/>
                </a:lnTo>
                <a:close/>
                <a:moveTo>
                  <a:pt x="3189313" y="2120837"/>
                </a:moveTo>
                <a:lnTo>
                  <a:pt x="3189313" y="2092376"/>
                </a:lnTo>
                <a:lnTo>
                  <a:pt x="3217774" y="2092376"/>
                </a:lnTo>
                <a:lnTo>
                  <a:pt x="3217774" y="2063572"/>
                </a:lnTo>
                <a:lnTo>
                  <a:pt x="3189313" y="2063572"/>
                </a:lnTo>
                <a:lnTo>
                  <a:pt x="3189313" y="2035112"/>
                </a:lnTo>
                <a:lnTo>
                  <a:pt x="3160510" y="2035112"/>
                </a:lnTo>
                <a:lnTo>
                  <a:pt x="3160510" y="2063572"/>
                </a:lnTo>
                <a:lnTo>
                  <a:pt x="3132049" y="2063572"/>
                </a:lnTo>
                <a:lnTo>
                  <a:pt x="3132049" y="2092376"/>
                </a:lnTo>
                <a:lnTo>
                  <a:pt x="3160510" y="2092376"/>
                </a:lnTo>
                <a:lnTo>
                  <a:pt x="3160510" y="2120837"/>
                </a:lnTo>
                <a:lnTo>
                  <a:pt x="3189313" y="2120837"/>
                </a:lnTo>
                <a:close/>
                <a:moveTo>
                  <a:pt x="3229775" y="1899666"/>
                </a:moveTo>
                <a:lnTo>
                  <a:pt x="3229775" y="1927098"/>
                </a:lnTo>
                <a:lnTo>
                  <a:pt x="3202343" y="1927098"/>
                </a:lnTo>
                <a:lnTo>
                  <a:pt x="3202343" y="1954530"/>
                </a:lnTo>
                <a:lnTo>
                  <a:pt x="3229775" y="1954530"/>
                </a:lnTo>
                <a:lnTo>
                  <a:pt x="3229775" y="1981962"/>
                </a:lnTo>
                <a:lnTo>
                  <a:pt x="3257207" y="1981962"/>
                </a:lnTo>
                <a:lnTo>
                  <a:pt x="3257207" y="1954530"/>
                </a:lnTo>
                <a:lnTo>
                  <a:pt x="3284639" y="1954530"/>
                </a:lnTo>
                <a:lnTo>
                  <a:pt x="3284639" y="1927098"/>
                </a:lnTo>
                <a:lnTo>
                  <a:pt x="3257207" y="1927098"/>
                </a:lnTo>
                <a:lnTo>
                  <a:pt x="3257207" y="1899666"/>
                </a:lnTo>
                <a:lnTo>
                  <a:pt x="3229775" y="1899666"/>
                </a:lnTo>
                <a:close/>
                <a:moveTo>
                  <a:pt x="3120733" y="2258682"/>
                </a:moveTo>
                <a:lnTo>
                  <a:pt x="3120733" y="2229536"/>
                </a:lnTo>
                <a:lnTo>
                  <a:pt x="3149879" y="2229536"/>
                </a:lnTo>
                <a:lnTo>
                  <a:pt x="3149879" y="2200732"/>
                </a:lnTo>
                <a:lnTo>
                  <a:pt x="3120733" y="2200732"/>
                </a:lnTo>
                <a:lnTo>
                  <a:pt x="3120733" y="2171586"/>
                </a:lnTo>
                <a:lnTo>
                  <a:pt x="3091930" y="2171586"/>
                </a:lnTo>
                <a:lnTo>
                  <a:pt x="3091930" y="2200732"/>
                </a:lnTo>
                <a:lnTo>
                  <a:pt x="3062783" y="2200732"/>
                </a:lnTo>
                <a:lnTo>
                  <a:pt x="3062783" y="2229536"/>
                </a:lnTo>
                <a:lnTo>
                  <a:pt x="3091930" y="2229536"/>
                </a:lnTo>
                <a:lnTo>
                  <a:pt x="3091930" y="2258682"/>
                </a:lnTo>
                <a:lnTo>
                  <a:pt x="3120733" y="2258682"/>
                </a:lnTo>
                <a:close/>
                <a:moveTo>
                  <a:pt x="3230118" y="1626375"/>
                </a:moveTo>
                <a:lnTo>
                  <a:pt x="3230118" y="1653121"/>
                </a:lnTo>
                <a:lnTo>
                  <a:pt x="3203372" y="1653121"/>
                </a:lnTo>
                <a:lnTo>
                  <a:pt x="3203372" y="1679867"/>
                </a:lnTo>
                <a:lnTo>
                  <a:pt x="3230118" y="1679867"/>
                </a:lnTo>
                <a:lnTo>
                  <a:pt x="3230118" y="1706613"/>
                </a:lnTo>
                <a:lnTo>
                  <a:pt x="3256864" y="1706613"/>
                </a:lnTo>
                <a:lnTo>
                  <a:pt x="3256864" y="1679867"/>
                </a:lnTo>
                <a:lnTo>
                  <a:pt x="3283610" y="1679867"/>
                </a:lnTo>
                <a:lnTo>
                  <a:pt x="3283610" y="1653121"/>
                </a:lnTo>
                <a:lnTo>
                  <a:pt x="3256864" y="1653121"/>
                </a:lnTo>
                <a:lnTo>
                  <a:pt x="3256864" y="1626375"/>
                </a:lnTo>
                <a:lnTo>
                  <a:pt x="3230118" y="1626375"/>
                </a:lnTo>
                <a:close/>
                <a:moveTo>
                  <a:pt x="2025167" y="2812123"/>
                </a:moveTo>
                <a:lnTo>
                  <a:pt x="2025167" y="2779890"/>
                </a:lnTo>
                <a:lnTo>
                  <a:pt x="2057400" y="2779890"/>
                </a:lnTo>
                <a:lnTo>
                  <a:pt x="2057400" y="2747658"/>
                </a:lnTo>
                <a:lnTo>
                  <a:pt x="2025167" y="2747658"/>
                </a:lnTo>
                <a:lnTo>
                  <a:pt x="2025167" y="2715425"/>
                </a:lnTo>
                <a:lnTo>
                  <a:pt x="1992935" y="2715425"/>
                </a:lnTo>
                <a:lnTo>
                  <a:pt x="1992935" y="2747658"/>
                </a:lnTo>
                <a:lnTo>
                  <a:pt x="1960702" y="2747658"/>
                </a:lnTo>
                <a:lnTo>
                  <a:pt x="1960702" y="2779890"/>
                </a:lnTo>
                <a:lnTo>
                  <a:pt x="1992935" y="2779890"/>
                </a:lnTo>
                <a:lnTo>
                  <a:pt x="1992935" y="2812123"/>
                </a:lnTo>
                <a:lnTo>
                  <a:pt x="2025167" y="2812123"/>
                </a:lnTo>
                <a:close/>
                <a:moveTo>
                  <a:pt x="2779547" y="2400643"/>
                </a:moveTo>
                <a:lnTo>
                  <a:pt x="2779547" y="2368410"/>
                </a:lnTo>
                <a:lnTo>
                  <a:pt x="2811780" y="2368410"/>
                </a:lnTo>
                <a:lnTo>
                  <a:pt x="2811780" y="2336178"/>
                </a:lnTo>
                <a:lnTo>
                  <a:pt x="2779547" y="2336178"/>
                </a:lnTo>
                <a:lnTo>
                  <a:pt x="2779547" y="2303945"/>
                </a:lnTo>
                <a:lnTo>
                  <a:pt x="2747315" y="2303945"/>
                </a:lnTo>
                <a:lnTo>
                  <a:pt x="2747315" y="2336178"/>
                </a:lnTo>
                <a:lnTo>
                  <a:pt x="2715082" y="2336178"/>
                </a:lnTo>
                <a:lnTo>
                  <a:pt x="2715082" y="2368410"/>
                </a:lnTo>
                <a:lnTo>
                  <a:pt x="2747315" y="2368410"/>
                </a:lnTo>
                <a:lnTo>
                  <a:pt x="2747315" y="2400643"/>
                </a:lnTo>
                <a:lnTo>
                  <a:pt x="2779547" y="2400643"/>
                </a:lnTo>
                <a:close/>
                <a:moveTo>
                  <a:pt x="2916365" y="2399271"/>
                </a:moveTo>
                <a:lnTo>
                  <a:pt x="2916365" y="2368067"/>
                </a:lnTo>
                <a:lnTo>
                  <a:pt x="2947568" y="2368067"/>
                </a:lnTo>
                <a:lnTo>
                  <a:pt x="2947568" y="2336521"/>
                </a:lnTo>
                <a:lnTo>
                  <a:pt x="2916365" y="2336521"/>
                </a:lnTo>
                <a:lnTo>
                  <a:pt x="2916365" y="2305317"/>
                </a:lnTo>
                <a:lnTo>
                  <a:pt x="2884818" y="2305317"/>
                </a:lnTo>
                <a:lnTo>
                  <a:pt x="2884818" y="2336521"/>
                </a:lnTo>
                <a:lnTo>
                  <a:pt x="2853614" y="2336521"/>
                </a:lnTo>
                <a:lnTo>
                  <a:pt x="2853614" y="2368067"/>
                </a:lnTo>
                <a:lnTo>
                  <a:pt x="2884818" y="2368067"/>
                </a:lnTo>
                <a:lnTo>
                  <a:pt x="2884818" y="2399271"/>
                </a:lnTo>
                <a:lnTo>
                  <a:pt x="2916365" y="2399271"/>
                </a:lnTo>
                <a:close/>
                <a:moveTo>
                  <a:pt x="2984602" y="2261768"/>
                </a:moveTo>
                <a:lnTo>
                  <a:pt x="2984602" y="2230565"/>
                </a:lnTo>
                <a:lnTo>
                  <a:pt x="3015806" y="2230565"/>
                </a:lnTo>
                <a:lnTo>
                  <a:pt x="3015806" y="2199704"/>
                </a:lnTo>
                <a:lnTo>
                  <a:pt x="2984602" y="2199704"/>
                </a:lnTo>
                <a:lnTo>
                  <a:pt x="2984602" y="2168500"/>
                </a:lnTo>
                <a:lnTo>
                  <a:pt x="2953741" y="2168500"/>
                </a:lnTo>
                <a:lnTo>
                  <a:pt x="2953741" y="2199704"/>
                </a:lnTo>
                <a:lnTo>
                  <a:pt x="2922537" y="2199704"/>
                </a:lnTo>
                <a:lnTo>
                  <a:pt x="2922537" y="2230565"/>
                </a:lnTo>
                <a:lnTo>
                  <a:pt x="2953741" y="2230565"/>
                </a:lnTo>
                <a:lnTo>
                  <a:pt x="2953741" y="2261768"/>
                </a:lnTo>
                <a:lnTo>
                  <a:pt x="2984602" y="2261768"/>
                </a:lnTo>
                <a:close/>
                <a:moveTo>
                  <a:pt x="3052496" y="2396871"/>
                </a:moveTo>
                <a:lnTo>
                  <a:pt x="3052496" y="2367039"/>
                </a:lnTo>
                <a:lnTo>
                  <a:pt x="3082328" y="2367039"/>
                </a:lnTo>
                <a:lnTo>
                  <a:pt x="3082328" y="2337549"/>
                </a:lnTo>
                <a:lnTo>
                  <a:pt x="3052496" y="2337549"/>
                </a:lnTo>
                <a:lnTo>
                  <a:pt x="3052496" y="2307717"/>
                </a:lnTo>
                <a:lnTo>
                  <a:pt x="3023006" y="2307717"/>
                </a:lnTo>
                <a:lnTo>
                  <a:pt x="3023006" y="2337549"/>
                </a:lnTo>
                <a:lnTo>
                  <a:pt x="2993174" y="2337549"/>
                </a:lnTo>
                <a:lnTo>
                  <a:pt x="2993174" y="2367039"/>
                </a:lnTo>
                <a:lnTo>
                  <a:pt x="3023006" y="2367039"/>
                </a:lnTo>
                <a:lnTo>
                  <a:pt x="3023006" y="2396871"/>
                </a:lnTo>
                <a:lnTo>
                  <a:pt x="3052496" y="2396871"/>
                </a:lnTo>
                <a:close/>
                <a:moveTo>
                  <a:pt x="1855775" y="1343825"/>
                </a:moveTo>
                <a:lnTo>
                  <a:pt x="1855775" y="1376058"/>
                </a:lnTo>
                <a:lnTo>
                  <a:pt x="1823542" y="1376058"/>
                </a:lnTo>
                <a:lnTo>
                  <a:pt x="1823542" y="1408290"/>
                </a:lnTo>
                <a:lnTo>
                  <a:pt x="1855775" y="1408290"/>
                </a:lnTo>
                <a:lnTo>
                  <a:pt x="1855775" y="1440523"/>
                </a:lnTo>
                <a:lnTo>
                  <a:pt x="1888007" y="1440523"/>
                </a:lnTo>
                <a:lnTo>
                  <a:pt x="1888007" y="1408290"/>
                </a:lnTo>
                <a:lnTo>
                  <a:pt x="1920240" y="1408290"/>
                </a:lnTo>
                <a:lnTo>
                  <a:pt x="1920240" y="1376058"/>
                </a:lnTo>
                <a:lnTo>
                  <a:pt x="1888007" y="1376058"/>
                </a:lnTo>
                <a:lnTo>
                  <a:pt x="1888007" y="1343825"/>
                </a:lnTo>
                <a:lnTo>
                  <a:pt x="1855775" y="1343825"/>
                </a:lnTo>
                <a:close/>
                <a:moveTo>
                  <a:pt x="1238555" y="1480985"/>
                </a:moveTo>
                <a:lnTo>
                  <a:pt x="1238555" y="1513218"/>
                </a:lnTo>
                <a:lnTo>
                  <a:pt x="1206322" y="1513218"/>
                </a:lnTo>
                <a:lnTo>
                  <a:pt x="1206322" y="1545450"/>
                </a:lnTo>
                <a:lnTo>
                  <a:pt x="1238555" y="1545450"/>
                </a:lnTo>
                <a:lnTo>
                  <a:pt x="1238555" y="1577683"/>
                </a:lnTo>
                <a:lnTo>
                  <a:pt x="1270787" y="1577683"/>
                </a:lnTo>
                <a:lnTo>
                  <a:pt x="1270787" y="1545450"/>
                </a:lnTo>
                <a:lnTo>
                  <a:pt x="1303020" y="1545450"/>
                </a:lnTo>
                <a:lnTo>
                  <a:pt x="1303020" y="1513218"/>
                </a:lnTo>
                <a:lnTo>
                  <a:pt x="1270787" y="1513218"/>
                </a:lnTo>
                <a:lnTo>
                  <a:pt x="1270787" y="1480985"/>
                </a:lnTo>
                <a:lnTo>
                  <a:pt x="1238555" y="1480985"/>
                </a:lnTo>
                <a:close/>
                <a:moveTo>
                  <a:pt x="1307135" y="1618145"/>
                </a:moveTo>
                <a:lnTo>
                  <a:pt x="1307135" y="1650378"/>
                </a:lnTo>
                <a:lnTo>
                  <a:pt x="1274902" y="1650378"/>
                </a:lnTo>
                <a:lnTo>
                  <a:pt x="1274902" y="1682610"/>
                </a:lnTo>
                <a:lnTo>
                  <a:pt x="1307135" y="1682610"/>
                </a:lnTo>
                <a:lnTo>
                  <a:pt x="1307135" y="1714843"/>
                </a:lnTo>
                <a:lnTo>
                  <a:pt x="1339367" y="1714843"/>
                </a:lnTo>
                <a:lnTo>
                  <a:pt x="1339367" y="1682610"/>
                </a:lnTo>
                <a:lnTo>
                  <a:pt x="1371600" y="1682610"/>
                </a:lnTo>
                <a:lnTo>
                  <a:pt x="1371600" y="1650378"/>
                </a:lnTo>
                <a:lnTo>
                  <a:pt x="1339367" y="1650378"/>
                </a:lnTo>
                <a:lnTo>
                  <a:pt x="1339367" y="1618145"/>
                </a:lnTo>
                <a:lnTo>
                  <a:pt x="1307135" y="1618145"/>
                </a:lnTo>
                <a:close/>
                <a:moveTo>
                  <a:pt x="1032815" y="1618145"/>
                </a:moveTo>
                <a:lnTo>
                  <a:pt x="1032815" y="1650378"/>
                </a:lnTo>
                <a:lnTo>
                  <a:pt x="1000582" y="1650378"/>
                </a:lnTo>
                <a:lnTo>
                  <a:pt x="1000582" y="1682610"/>
                </a:lnTo>
                <a:lnTo>
                  <a:pt x="1032815" y="1682610"/>
                </a:lnTo>
                <a:lnTo>
                  <a:pt x="1032815" y="1714843"/>
                </a:lnTo>
                <a:lnTo>
                  <a:pt x="1065047" y="1714843"/>
                </a:lnTo>
                <a:lnTo>
                  <a:pt x="1065047" y="1682610"/>
                </a:lnTo>
                <a:lnTo>
                  <a:pt x="1097280" y="1682610"/>
                </a:lnTo>
                <a:lnTo>
                  <a:pt x="1097280" y="1650378"/>
                </a:lnTo>
                <a:lnTo>
                  <a:pt x="1065047" y="1650378"/>
                </a:lnTo>
                <a:lnTo>
                  <a:pt x="1065047" y="1618145"/>
                </a:lnTo>
                <a:lnTo>
                  <a:pt x="1032815" y="1618145"/>
                </a:lnTo>
                <a:close/>
                <a:moveTo>
                  <a:pt x="1169975" y="1618145"/>
                </a:moveTo>
                <a:lnTo>
                  <a:pt x="1169975" y="1650378"/>
                </a:lnTo>
                <a:lnTo>
                  <a:pt x="1137742" y="1650378"/>
                </a:lnTo>
                <a:lnTo>
                  <a:pt x="1137742" y="1682610"/>
                </a:lnTo>
                <a:lnTo>
                  <a:pt x="1169975" y="1682610"/>
                </a:lnTo>
                <a:lnTo>
                  <a:pt x="1169975" y="1714843"/>
                </a:lnTo>
                <a:lnTo>
                  <a:pt x="1202207" y="1714843"/>
                </a:lnTo>
                <a:lnTo>
                  <a:pt x="1202207" y="1682610"/>
                </a:lnTo>
                <a:lnTo>
                  <a:pt x="1234440" y="1682610"/>
                </a:lnTo>
                <a:lnTo>
                  <a:pt x="1234440" y="1650378"/>
                </a:lnTo>
                <a:lnTo>
                  <a:pt x="1202207" y="1650378"/>
                </a:lnTo>
                <a:lnTo>
                  <a:pt x="1202207" y="1618145"/>
                </a:lnTo>
                <a:lnTo>
                  <a:pt x="1169975" y="1618145"/>
                </a:lnTo>
                <a:close/>
                <a:moveTo>
                  <a:pt x="1375715" y="1480985"/>
                </a:moveTo>
                <a:lnTo>
                  <a:pt x="1375715" y="1513218"/>
                </a:lnTo>
                <a:lnTo>
                  <a:pt x="1343482" y="1513218"/>
                </a:lnTo>
                <a:lnTo>
                  <a:pt x="1343482" y="1545450"/>
                </a:lnTo>
                <a:lnTo>
                  <a:pt x="1375715" y="1545450"/>
                </a:lnTo>
                <a:lnTo>
                  <a:pt x="1375715" y="1577683"/>
                </a:lnTo>
                <a:lnTo>
                  <a:pt x="1407947" y="1577683"/>
                </a:lnTo>
                <a:lnTo>
                  <a:pt x="1407947" y="1545450"/>
                </a:lnTo>
                <a:lnTo>
                  <a:pt x="1440180" y="1545450"/>
                </a:lnTo>
                <a:lnTo>
                  <a:pt x="1440180" y="1513218"/>
                </a:lnTo>
                <a:lnTo>
                  <a:pt x="1407947" y="1513218"/>
                </a:lnTo>
                <a:lnTo>
                  <a:pt x="1407947" y="1480985"/>
                </a:lnTo>
                <a:lnTo>
                  <a:pt x="1375715" y="1480985"/>
                </a:lnTo>
                <a:close/>
                <a:moveTo>
                  <a:pt x="1101395" y="1755305"/>
                </a:moveTo>
                <a:lnTo>
                  <a:pt x="1101395" y="1787538"/>
                </a:lnTo>
                <a:lnTo>
                  <a:pt x="1069162" y="1787538"/>
                </a:lnTo>
                <a:lnTo>
                  <a:pt x="1069162" y="1819770"/>
                </a:lnTo>
                <a:lnTo>
                  <a:pt x="1101395" y="1819770"/>
                </a:lnTo>
                <a:lnTo>
                  <a:pt x="1101395" y="1852003"/>
                </a:lnTo>
                <a:lnTo>
                  <a:pt x="1133627" y="1852003"/>
                </a:lnTo>
                <a:lnTo>
                  <a:pt x="1133627" y="1819770"/>
                </a:lnTo>
                <a:lnTo>
                  <a:pt x="1165860" y="1819770"/>
                </a:lnTo>
                <a:lnTo>
                  <a:pt x="1165860" y="1787538"/>
                </a:lnTo>
                <a:lnTo>
                  <a:pt x="1133627" y="1787538"/>
                </a:lnTo>
                <a:lnTo>
                  <a:pt x="1133627" y="1755305"/>
                </a:lnTo>
                <a:lnTo>
                  <a:pt x="1101395" y="1755305"/>
                </a:lnTo>
                <a:close/>
                <a:moveTo>
                  <a:pt x="1444295" y="1343825"/>
                </a:moveTo>
                <a:lnTo>
                  <a:pt x="1444295" y="1376058"/>
                </a:lnTo>
                <a:lnTo>
                  <a:pt x="1412062" y="1376058"/>
                </a:lnTo>
                <a:lnTo>
                  <a:pt x="1412062" y="1408290"/>
                </a:lnTo>
                <a:lnTo>
                  <a:pt x="1444295" y="1408290"/>
                </a:lnTo>
                <a:lnTo>
                  <a:pt x="1444295" y="1440523"/>
                </a:lnTo>
                <a:lnTo>
                  <a:pt x="1476527" y="1440523"/>
                </a:lnTo>
                <a:lnTo>
                  <a:pt x="1476527" y="1408290"/>
                </a:lnTo>
                <a:lnTo>
                  <a:pt x="1508760" y="1408290"/>
                </a:lnTo>
                <a:lnTo>
                  <a:pt x="1508760" y="1376058"/>
                </a:lnTo>
                <a:lnTo>
                  <a:pt x="1476527" y="1376058"/>
                </a:lnTo>
                <a:lnTo>
                  <a:pt x="1476527" y="1343825"/>
                </a:lnTo>
                <a:lnTo>
                  <a:pt x="1444295" y="1343825"/>
                </a:lnTo>
                <a:close/>
                <a:moveTo>
                  <a:pt x="1650035" y="1480985"/>
                </a:moveTo>
                <a:lnTo>
                  <a:pt x="1650035" y="1513218"/>
                </a:lnTo>
                <a:lnTo>
                  <a:pt x="1617802" y="1513218"/>
                </a:lnTo>
                <a:lnTo>
                  <a:pt x="1617802" y="1545450"/>
                </a:lnTo>
                <a:lnTo>
                  <a:pt x="1650035" y="1545450"/>
                </a:lnTo>
                <a:lnTo>
                  <a:pt x="1650035" y="1577683"/>
                </a:lnTo>
                <a:lnTo>
                  <a:pt x="1682267" y="1577683"/>
                </a:lnTo>
                <a:lnTo>
                  <a:pt x="1682267" y="1545450"/>
                </a:lnTo>
                <a:lnTo>
                  <a:pt x="1714500" y="1545450"/>
                </a:lnTo>
                <a:lnTo>
                  <a:pt x="1714500" y="1513218"/>
                </a:lnTo>
                <a:lnTo>
                  <a:pt x="1682267" y="1513218"/>
                </a:lnTo>
                <a:lnTo>
                  <a:pt x="1682267" y="1480985"/>
                </a:lnTo>
                <a:lnTo>
                  <a:pt x="1650035" y="1480985"/>
                </a:lnTo>
                <a:close/>
                <a:moveTo>
                  <a:pt x="1581455" y="1343825"/>
                </a:moveTo>
                <a:lnTo>
                  <a:pt x="1581455" y="1376058"/>
                </a:lnTo>
                <a:lnTo>
                  <a:pt x="1549222" y="1376058"/>
                </a:lnTo>
                <a:lnTo>
                  <a:pt x="1549222" y="1408290"/>
                </a:lnTo>
                <a:lnTo>
                  <a:pt x="1581455" y="1408290"/>
                </a:lnTo>
                <a:lnTo>
                  <a:pt x="1581455" y="1440523"/>
                </a:lnTo>
                <a:lnTo>
                  <a:pt x="1613687" y="1440523"/>
                </a:lnTo>
                <a:lnTo>
                  <a:pt x="1613687" y="1408290"/>
                </a:lnTo>
                <a:lnTo>
                  <a:pt x="1645920" y="1408290"/>
                </a:lnTo>
                <a:lnTo>
                  <a:pt x="1645920" y="1376058"/>
                </a:lnTo>
                <a:lnTo>
                  <a:pt x="1613687" y="1376058"/>
                </a:lnTo>
                <a:lnTo>
                  <a:pt x="1613687" y="1343825"/>
                </a:lnTo>
                <a:lnTo>
                  <a:pt x="1581455" y="1343825"/>
                </a:lnTo>
                <a:close/>
                <a:moveTo>
                  <a:pt x="1512875" y="1480985"/>
                </a:moveTo>
                <a:lnTo>
                  <a:pt x="1512875" y="1513218"/>
                </a:lnTo>
                <a:lnTo>
                  <a:pt x="1480642" y="1513218"/>
                </a:lnTo>
                <a:lnTo>
                  <a:pt x="1480642" y="1545450"/>
                </a:lnTo>
                <a:lnTo>
                  <a:pt x="1512875" y="1545450"/>
                </a:lnTo>
                <a:lnTo>
                  <a:pt x="1512875" y="1577683"/>
                </a:lnTo>
                <a:lnTo>
                  <a:pt x="1545107" y="1577683"/>
                </a:lnTo>
                <a:lnTo>
                  <a:pt x="1545107" y="1545450"/>
                </a:lnTo>
                <a:lnTo>
                  <a:pt x="1577340" y="1545450"/>
                </a:lnTo>
                <a:lnTo>
                  <a:pt x="1577340" y="1513218"/>
                </a:lnTo>
                <a:lnTo>
                  <a:pt x="1545107" y="1513218"/>
                </a:lnTo>
                <a:lnTo>
                  <a:pt x="1545107" y="1480985"/>
                </a:lnTo>
                <a:lnTo>
                  <a:pt x="1512875" y="1480985"/>
                </a:lnTo>
                <a:close/>
                <a:moveTo>
                  <a:pt x="1133627" y="2126323"/>
                </a:moveTo>
                <a:lnTo>
                  <a:pt x="1133627" y="2094090"/>
                </a:lnTo>
                <a:lnTo>
                  <a:pt x="1165860" y="2094090"/>
                </a:lnTo>
                <a:lnTo>
                  <a:pt x="1165860" y="2061858"/>
                </a:lnTo>
                <a:lnTo>
                  <a:pt x="1133627" y="2061858"/>
                </a:lnTo>
                <a:lnTo>
                  <a:pt x="1133627" y="2029625"/>
                </a:lnTo>
                <a:lnTo>
                  <a:pt x="1101395" y="2029625"/>
                </a:lnTo>
                <a:lnTo>
                  <a:pt x="1101395" y="2061858"/>
                </a:lnTo>
                <a:lnTo>
                  <a:pt x="1069162" y="2061858"/>
                </a:lnTo>
                <a:lnTo>
                  <a:pt x="1069162" y="2094090"/>
                </a:lnTo>
                <a:lnTo>
                  <a:pt x="1101395" y="2094090"/>
                </a:lnTo>
                <a:lnTo>
                  <a:pt x="1101395" y="2126323"/>
                </a:lnTo>
                <a:lnTo>
                  <a:pt x="1133627" y="2126323"/>
                </a:lnTo>
                <a:close/>
                <a:moveTo>
                  <a:pt x="1202207" y="2263483"/>
                </a:moveTo>
                <a:lnTo>
                  <a:pt x="1202207" y="2231250"/>
                </a:lnTo>
                <a:lnTo>
                  <a:pt x="1234440" y="2231250"/>
                </a:lnTo>
                <a:lnTo>
                  <a:pt x="1234440" y="2199018"/>
                </a:lnTo>
                <a:lnTo>
                  <a:pt x="1202207" y="2199018"/>
                </a:lnTo>
                <a:lnTo>
                  <a:pt x="1202207" y="2166785"/>
                </a:lnTo>
                <a:lnTo>
                  <a:pt x="1169975" y="2166785"/>
                </a:lnTo>
                <a:lnTo>
                  <a:pt x="1169975" y="2199018"/>
                </a:lnTo>
                <a:lnTo>
                  <a:pt x="1137742" y="2199018"/>
                </a:lnTo>
                <a:lnTo>
                  <a:pt x="1137742" y="2231250"/>
                </a:lnTo>
                <a:lnTo>
                  <a:pt x="1169975" y="2231250"/>
                </a:lnTo>
                <a:lnTo>
                  <a:pt x="1169975" y="2263483"/>
                </a:lnTo>
                <a:lnTo>
                  <a:pt x="1202207" y="2263483"/>
                </a:lnTo>
                <a:close/>
                <a:moveTo>
                  <a:pt x="1718615" y="1343825"/>
                </a:moveTo>
                <a:lnTo>
                  <a:pt x="1718615" y="1376058"/>
                </a:lnTo>
                <a:lnTo>
                  <a:pt x="1686382" y="1376058"/>
                </a:lnTo>
                <a:lnTo>
                  <a:pt x="1686382" y="1408290"/>
                </a:lnTo>
                <a:lnTo>
                  <a:pt x="1718615" y="1408290"/>
                </a:lnTo>
                <a:lnTo>
                  <a:pt x="1718615" y="1440523"/>
                </a:lnTo>
                <a:lnTo>
                  <a:pt x="1750847" y="1440523"/>
                </a:lnTo>
                <a:lnTo>
                  <a:pt x="1750847" y="1408290"/>
                </a:lnTo>
                <a:lnTo>
                  <a:pt x="1783080" y="1408290"/>
                </a:lnTo>
                <a:lnTo>
                  <a:pt x="1783080" y="1376058"/>
                </a:lnTo>
                <a:lnTo>
                  <a:pt x="1750847" y="1376058"/>
                </a:lnTo>
                <a:lnTo>
                  <a:pt x="1750847" y="1343825"/>
                </a:lnTo>
                <a:lnTo>
                  <a:pt x="1718615" y="1343825"/>
                </a:lnTo>
                <a:close/>
                <a:moveTo>
                  <a:pt x="1270787" y="2400643"/>
                </a:moveTo>
                <a:lnTo>
                  <a:pt x="1270787" y="2368410"/>
                </a:lnTo>
                <a:lnTo>
                  <a:pt x="1303020" y="2368410"/>
                </a:lnTo>
                <a:lnTo>
                  <a:pt x="1303020" y="2336178"/>
                </a:lnTo>
                <a:lnTo>
                  <a:pt x="1270787" y="2336178"/>
                </a:lnTo>
                <a:lnTo>
                  <a:pt x="1270787" y="2303945"/>
                </a:lnTo>
                <a:lnTo>
                  <a:pt x="1238555" y="2303945"/>
                </a:lnTo>
                <a:lnTo>
                  <a:pt x="1238555" y="2336178"/>
                </a:lnTo>
                <a:lnTo>
                  <a:pt x="1206322" y="2336178"/>
                </a:lnTo>
                <a:lnTo>
                  <a:pt x="1206322" y="2368410"/>
                </a:lnTo>
                <a:lnTo>
                  <a:pt x="1238555" y="2368410"/>
                </a:lnTo>
                <a:lnTo>
                  <a:pt x="1238555" y="2400643"/>
                </a:lnTo>
                <a:lnTo>
                  <a:pt x="1270787" y="2400643"/>
                </a:lnTo>
                <a:close/>
                <a:moveTo>
                  <a:pt x="1065047" y="2263483"/>
                </a:moveTo>
                <a:lnTo>
                  <a:pt x="1065047" y="2231250"/>
                </a:lnTo>
                <a:lnTo>
                  <a:pt x="1097280" y="2231250"/>
                </a:lnTo>
                <a:lnTo>
                  <a:pt x="1097280" y="2199018"/>
                </a:lnTo>
                <a:lnTo>
                  <a:pt x="1065047" y="2199018"/>
                </a:lnTo>
                <a:lnTo>
                  <a:pt x="1065047" y="2166785"/>
                </a:lnTo>
                <a:lnTo>
                  <a:pt x="1032815" y="2166785"/>
                </a:lnTo>
                <a:lnTo>
                  <a:pt x="1032815" y="2199018"/>
                </a:lnTo>
                <a:lnTo>
                  <a:pt x="1000582" y="2199018"/>
                </a:lnTo>
                <a:lnTo>
                  <a:pt x="1000582" y="2231250"/>
                </a:lnTo>
                <a:lnTo>
                  <a:pt x="1032815" y="2231250"/>
                </a:lnTo>
                <a:lnTo>
                  <a:pt x="1032815" y="2263483"/>
                </a:lnTo>
                <a:lnTo>
                  <a:pt x="1065047" y="2263483"/>
                </a:lnTo>
                <a:close/>
                <a:moveTo>
                  <a:pt x="1339367" y="2263483"/>
                </a:moveTo>
                <a:lnTo>
                  <a:pt x="1339367" y="2231250"/>
                </a:lnTo>
                <a:lnTo>
                  <a:pt x="1371600" y="2231250"/>
                </a:lnTo>
                <a:lnTo>
                  <a:pt x="1371600" y="2199018"/>
                </a:lnTo>
                <a:lnTo>
                  <a:pt x="1339367" y="2199018"/>
                </a:lnTo>
                <a:lnTo>
                  <a:pt x="1339367" y="2166785"/>
                </a:lnTo>
                <a:lnTo>
                  <a:pt x="1307135" y="2166785"/>
                </a:lnTo>
                <a:lnTo>
                  <a:pt x="1307135" y="2199018"/>
                </a:lnTo>
                <a:lnTo>
                  <a:pt x="1274902" y="2199018"/>
                </a:lnTo>
                <a:lnTo>
                  <a:pt x="1274902" y="2231250"/>
                </a:lnTo>
                <a:lnTo>
                  <a:pt x="1307135" y="2231250"/>
                </a:lnTo>
                <a:lnTo>
                  <a:pt x="1307135" y="2263483"/>
                </a:lnTo>
                <a:lnTo>
                  <a:pt x="1339367" y="2263483"/>
                </a:lnTo>
                <a:close/>
                <a:moveTo>
                  <a:pt x="858622" y="1849603"/>
                </a:moveTo>
                <a:lnTo>
                  <a:pt x="858622" y="1819085"/>
                </a:lnTo>
                <a:lnTo>
                  <a:pt x="889140" y="1819085"/>
                </a:lnTo>
                <a:lnTo>
                  <a:pt x="889140" y="1788224"/>
                </a:lnTo>
                <a:lnTo>
                  <a:pt x="858622" y="1788224"/>
                </a:lnTo>
                <a:lnTo>
                  <a:pt x="858622" y="1757705"/>
                </a:lnTo>
                <a:lnTo>
                  <a:pt x="827761" y="1757705"/>
                </a:lnTo>
                <a:lnTo>
                  <a:pt x="827761" y="1788224"/>
                </a:lnTo>
                <a:lnTo>
                  <a:pt x="797242" y="1788224"/>
                </a:lnTo>
                <a:lnTo>
                  <a:pt x="797242" y="1819085"/>
                </a:lnTo>
                <a:lnTo>
                  <a:pt x="827761" y="1819085"/>
                </a:lnTo>
                <a:lnTo>
                  <a:pt x="827761" y="1849603"/>
                </a:lnTo>
                <a:lnTo>
                  <a:pt x="858622" y="1849603"/>
                </a:lnTo>
                <a:close/>
                <a:moveTo>
                  <a:pt x="996467" y="2126323"/>
                </a:moveTo>
                <a:lnTo>
                  <a:pt x="996467" y="2094090"/>
                </a:lnTo>
                <a:lnTo>
                  <a:pt x="1028700" y="2094090"/>
                </a:lnTo>
                <a:lnTo>
                  <a:pt x="1028700" y="2061858"/>
                </a:lnTo>
                <a:lnTo>
                  <a:pt x="996467" y="2061858"/>
                </a:lnTo>
                <a:lnTo>
                  <a:pt x="996467" y="2029625"/>
                </a:lnTo>
                <a:lnTo>
                  <a:pt x="964235" y="2029625"/>
                </a:lnTo>
                <a:lnTo>
                  <a:pt x="964235" y="2061858"/>
                </a:lnTo>
                <a:lnTo>
                  <a:pt x="932002" y="2061858"/>
                </a:lnTo>
                <a:lnTo>
                  <a:pt x="932002" y="2094090"/>
                </a:lnTo>
                <a:lnTo>
                  <a:pt x="964235" y="2094090"/>
                </a:lnTo>
                <a:lnTo>
                  <a:pt x="964235" y="2126323"/>
                </a:lnTo>
                <a:lnTo>
                  <a:pt x="996467" y="2126323"/>
                </a:lnTo>
                <a:close/>
                <a:moveTo>
                  <a:pt x="964235" y="1755648"/>
                </a:moveTo>
                <a:lnTo>
                  <a:pt x="964235" y="1787538"/>
                </a:lnTo>
                <a:lnTo>
                  <a:pt x="932345" y="1787538"/>
                </a:lnTo>
                <a:lnTo>
                  <a:pt x="932345" y="1819770"/>
                </a:lnTo>
                <a:lnTo>
                  <a:pt x="964235" y="1819770"/>
                </a:lnTo>
                <a:lnTo>
                  <a:pt x="964235" y="1851660"/>
                </a:lnTo>
                <a:lnTo>
                  <a:pt x="996467" y="1851660"/>
                </a:lnTo>
                <a:lnTo>
                  <a:pt x="996467" y="1819770"/>
                </a:lnTo>
                <a:lnTo>
                  <a:pt x="1028357" y="1819770"/>
                </a:lnTo>
                <a:lnTo>
                  <a:pt x="1028357" y="1787538"/>
                </a:lnTo>
                <a:lnTo>
                  <a:pt x="996467" y="1787538"/>
                </a:lnTo>
                <a:lnTo>
                  <a:pt x="996467" y="1755648"/>
                </a:lnTo>
                <a:lnTo>
                  <a:pt x="964235" y="1755648"/>
                </a:lnTo>
                <a:close/>
                <a:moveTo>
                  <a:pt x="927544" y="1988134"/>
                </a:moveTo>
                <a:lnTo>
                  <a:pt x="927544" y="1956587"/>
                </a:lnTo>
                <a:lnTo>
                  <a:pt x="959091" y="1956587"/>
                </a:lnTo>
                <a:lnTo>
                  <a:pt x="959091" y="1925041"/>
                </a:lnTo>
                <a:lnTo>
                  <a:pt x="927544" y="1925041"/>
                </a:lnTo>
                <a:lnTo>
                  <a:pt x="927544" y="1893494"/>
                </a:lnTo>
                <a:lnTo>
                  <a:pt x="895998" y="1893494"/>
                </a:lnTo>
                <a:lnTo>
                  <a:pt x="895998" y="1925041"/>
                </a:lnTo>
                <a:lnTo>
                  <a:pt x="864451" y="1925041"/>
                </a:lnTo>
                <a:lnTo>
                  <a:pt x="864451" y="1956587"/>
                </a:lnTo>
                <a:lnTo>
                  <a:pt x="895998" y="1956587"/>
                </a:lnTo>
                <a:lnTo>
                  <a:pt x="895998" y="1988134"/>
                </a:lnTo>
                <a:lnTo>
                  <a:pt x="927544" y="1988134"/>
                </a:lnTo>
                <a:close/>
                <a:moveTo>
                  <a:pt x="789356" y="1985391"/>
                </a:moveTo>
                <a:lnTo>
                  <a:pt x="789356" y="1955559"/>
                </a:lnTo>
                <a:lnTo>
                  <a:pt x="819188" y="1955559"/>
                </a:lnTo>
                <a:lnTo>
                  <a:pt x="819188" y="1926069"/>
                </a:lnTo>
                <a:lnTo>
                  <a:pt x="789356" y="1926069"/>
                </a:lnTo>
                <a:lnTo>
                  <a:pt x="789356" y="1896237"/>
                </a:lnTo>
                <a:lnTo>
                  <a:pt x="759866" y="1896237"/>
                </a:lnTo>
                <a:lnTo>
                  <a:pt x="759866" y="1926069"/>
                </a:lnTo>
                <a:lnTo>
                  <a:pt x="730034" y="1926069"/>
                </a:lnTo>
                <a:lnTo>
                  <a:pt x="730034" y="1955559"/>
                </a:lnTo>
                <a:lnTo>
                  <a:pt x="759866" y="1955559"/>
                </a:lnTo>
                <a:lnTo>
                  <a:pt x="759866" y="1985391"/>
                </a:lnTo>
                <a:lnTo>
                  <a:pt x="789356" y="1985391"/>
                </a:lnTo>
                <a:close/>
                <a:moveTo>
                  <a:pt x="2747315" y="1755305"/>
                </a:moveTo>
                <a:lnTo>
                  <a:pt x="2747315" y="1787538"/>
                </a:lnTo>
                <a:lnTo>
                  <a:pt x="2715082" y="1787538"/>
                </a:lnTo>
                <a:lnTo>
                  <a:pt x="2715082" y="1819770"/>
                </a:lnTo>
                <a:lnTo>
                  <a:pt x="2747315" y="1819770"/>
                </a:lnTo>
                <a:lnTo>
                  <a:pt x="2747315" y="1852003"/>
                </a:lnTo>
                <a:lnTo>
                  <a:pt x="2779547" y="1852003"/>
                </a:lnTo>
                <a:lnTo>
                  <a:pt x="2779547" y="1819770"/>
                </a:lnTo>
                <a:lnTo>
                  <a:pt x="2811780" y="1819770"/>
                </a:lnTo>
                <a:lnTo>
                  <a:pt x="2811780" y="1787538"/>
                </a:lnTo>
                <a:lnTo>
                  <a:pt x="2779547" y="1787538"/>
                </a:lnTo>
                <a:lnTo>
                  <a:pt x="2779547" y="1755305"/>
                </a:lnTo>
                <a:lnTo>
                  <a:pt x="2747315" y="1755305"/>
                </a:lnTo>
                <a:close/>
                <a:moveTo>
                  <a:pt x="2815895" y="1618145"/>
                </a:moveTo>
                <a:lnTo>
                  <a:pt x="2815895" y="1650378"/>
                </a:lnTo>
                <a:lnTo>
                  <a:pt x="2783662" y="1650378"/>
                </a:lnTo>
                <a:lnTo>
                  <a:pt x="2783662" y="1682610"/>
                </a:lnTo>
                <a:lnTo>
                  <a:pt x="2815895" y="1682610"/>
                </a:lnTo>
                <a:lnTo>
                  <a:pt x="2815895" y="1714843"/>
                </a:lnTo>
                <a:lnTo>
                  <a:pt x="2848127" y="1714843"/>
                </a:lnTo>
                <a:lnTo>
                  <a:pt x="2848127" y="1682610"/>
                </a:lnTo>
                <a:lnTo>
                  <a:pt x="2880360" y="1682610"/>
                </a:lnTo>
                <a:lnTo>
                  <a:pt x="2880360" y="1650378"/>
                </a:lnTo>
                <a:lnTo>
                  <a:pt x="2848127" y="1650378"/>
                </a:lnTo>
                <a:lnTo>
                  <a:pt x="2848127" y="1618145"/>
                </a:lnTo>
                <a:lnTo>
                  <a:pt x="2815895" y="1618145"/>
                </a:lnTo>
                <a:close/>
                <a:moveTo>
                  <a:pt x="2472995" y="1480985"/>
                </a:moveTo>
                <a:lnTo>
                  <a:pt x="2472995" y="1513218"/>
                </a:lnTo>
                <a:lnTo>
                  <a:pt x="2440762" y="1513218"/>
                </a:lnTo>
                <a:lnTo>
                  <a:pt x="2440762" y="1545450"/>
                </a:lnTo>
                <a:lnTo>
                  <a:pt x="2472995" y="1545450"/>
                </a:lnTo>
                <a:lnTo>
                  <a:pt x="2472995" y="1577683"/>
                </a:lnTo>
                <a:lnTo>
                  <a:pt x="2505227" y="1577683"/>
                </a:lnTo>
                <a:lnTo>
                  <a:pt x="2505227" y="1545450"/>
                </a:lnTo>
                <a:lnTo>
                  <a:pt x="2537460" y="1545450"/>
                </a:lnTo>
                <a:lnTo>
                  <a:pt x="2537460" y="1513218"/>
                </a:lnTo>
                <a:lnTo>
                  <a:pt x="2505227" y="1513218"/>
                </a:lnTo>
                <a:lnTo>
                  <a:pt x="2505227" y="1480985"/>
                </a:lnTo>
                <a:lnTo>
                  <a:pt x="2472995" y="1480985"/>
                </a:lnTo>
                <a:close/>
                <a:moveTo>
                  <a:pt x="2610155" y="1480985"/>
                </a:moveTo>
                <a:lnTo>
                  <a:pt x="2610155" y="1513218"/>
                </a:lnTo>
                <a:lnTo>
                  <a:pt x="2577922" y="1513218"/>
                </a:lnTo>
                <a:lnTo>
                  <a:pt x="2577922" y="1545450"/>
                </a:lnTo>
                <a:lnTo>
                  <a:pt x="2610155" y="1545450"/>
                </a:lnTo>
                <a:lnTo>
                  <a:pt x="2610155" y="1577683"/>
                </a:lnTo>
                <a:lnTo>
                  <a:pt x="2642387" y="1577683"/>
                </a:lnTo>
                <a:lnTo>
                  <a:pt x="2642387" y="1545450"/>
                </a:lnTo>
                <a:lnTo>
                  <a:pt x="2674620" y="1545450"/>
                </a:lnTo>
                <a:lnTo>
                  <a:pt x="2674620" y="1513218"/>
                </a:lnTo>
                <a:lnTo>
                  <a:pt x="2642387" y="1513218"/>
                </a:lnTo>
                <a:lnTo>
                  <a:pt x="2642387" y="1480985"/>
                </a:lnTo>
                <a:lnTo>
                  <a:pt x="2610155" y="1480985"/>
                </a:lnTo>
                <a:close/>
                <a:moveTo>
                  <a:pt x="1787195" y="1480985"/>
                </a:moveTo>
                <a:lnTo>
                  <a:pt x="1787195" y="1513218"/>
                </a:lnTo>
                <a:lnTo>
                  <a:pt x="1754962" y="1513218"/>
                </a:lnTo>
                <a:lnTo>
                  <a:pt x="1754962" y="1545450"/>
                </a:lnTo>
                <a:lnTo>
                  <a:pt x="1787195" y="1545450"/>
                </a:lnTo>
                <a:lnTo>
                  <a:pt x="1787195" y="1577683"/>
                </a:lnTo>
                <a:lnTo>
                  <a:pt x="1819427" y="1577683"/>
                </a:lnTo>
                <a:lnTo>
                  <a:pt x="1819427" y="1545450"/>
                </a:lnTo>
                <a:lnTo>
                  <a:pt x="1851660" y="1545450"/>
                </a:lnTo>
                <a:lnTo>
                  <a:pt x="1851660" y="1513218"/>
                </a:lnTo>
                <a:lnTo>
                  <a:pt x="1819427" y="1513218"/>
                </a:lnTo>
                <a:lnTo>
                  <a:pt x="1819427" y="1480985"/>
                </a:lnTo>
                <a:lnTo>
                  <a:pt x="1787195" y="1480985"/>
                </a:lnTo>
                <a:close/>
                <a:moveTo>
                  <a:pt x="2198675" y="1206665"/>
                </a:moveTo>
                <a:lnTo>
                  <a:pt x="2198675" y="1238898"/>
                </a:lnTo>
                <a:lnTo>
                  <a:pt x="2166442" y="1238898"/>
                </a:lnTo>
                <a:lnTo>
                  <a:pt x="2166442" y="1271130"/>
                </a:lnTo>
                <a:lnTo>
                  <a:pt x="2198675" y="1271130"/>
                </a:lnTo>
                <a:lnTo>
                  <a:pt x="2198675" y="1303363"/>
                </a:lnTo>
                <a:lnTo>
                  <a:pt x="2230907" y="1303363"/>
                </a:lnTo>
                <a:lnTo>
                  <a:pt x="2230907" y="1271130"/>
                </a:lnTo>
                <a:lnTo>
                  <a:pt x="2263140" y="1271130"/>
                </a:lnTo>
                <a:lnTo>
                  <a:pt x="2263140" y="1238898"/>
                </a:lnTo>
                <a:lnTo>
                  <a:pt x="2230907" y="1238898"/>
                </a:lnTo>
                <a:lnTo>
                  <a:pt x="2230907" y="1206665"/>
                </a:lnTo>
                <a:lnTo>
                  <a:pt x="2198675" y="1206665"/>
                </a:lnTo>
                <a:close/>
                <a:moveTo>
                  <a:pt x="2884475" y="1755305"/>
                </a:moveTo>
                <a:lnTo>
                  <a:pt x="2884475" y="1787538"/>
                </a:lnTo>
                <a:lnTo>
                  <a:pt x="2852242" y="1787538"/>
                </a:lnTo>
                <a:lnTo>
                  <a:pt x="2852242" y="1819770"/>
                </a:lnTo>
                <a:lnTo>
                  <a:pt x="2884475" y="1819770"/>
                </a:lnTo>
                <a:lnTo>
                  <a:pt x="2884475" y="1852003"/>
                </a:lnTo>
                <a:lnTo>
                  <a:pt x="2916707" y="1852003"/>
                </a:lnTo>
                <a:lnTo>
                  <a:pt x="2916707" y="1819770"/>
                </a:lnTo>
                <a:lnTo>
                  <a:pt x="2948940" y="1819770"/>
                </a:lnTo>
                <a:lnTo>
                  <a:pt x="2948940" y="1787538"/>
                </a:lnTo>
                <a:lnTo>
                  <a:pt x="2916707" y="1787538"/>
                </a:lnTo>
                <a:lnTo>
                  <a:pt x="2916707" y="1755305"/>
                </a:lnTo>
                <a:lnTo>
                  <a:pt x="2884475" y="1755305"/>
                </a:lnTo>
                <a:close/>
                <a:moveTo>
                  <a:pt x="2642387" y="2126323"/>
                </a:moveTo>
                <a:lnTo>
                  <a:pt x="2642387" y="2094090"/>
                </a:lnTo>
                <a:lnTo>
                  <a:pt x="2674620" y="2094090"/>
                </a:lnTo>
                <a:lnTo>
                  <a:pt x="2674620" y="2061858"/>
                </a:lnTo>
                <a:lnTo>
                  <a:pt x="2642387" y="2061858"/>
                </a:lnTo>
                <a:lnTo>
                  <a:pt x="2642387" y="2029625"/>
                </a:lnTo>
                <a:lnTo>
                  <a:pt x="2610155" y="2029625"/>
                </a:lnTo>
                <a:lnTo>
                  <a:pt x="2610155" y="2061858"/>
                </a:lnTo>
                <a:lnTo>
                  <a:pt x="2577922" y="2061858"/>
                </a:lnTo>
                <a:lnTo>
                  <a:pt x="2577922" y="2094090"/>
                </a:lnTo>
                <a:lnTo>
                  <a:pt x="2610155" y="2094090"/>
                </a:lnTo>
                <a:lnTo>
                  <a:pt x="2610155" y="2126323"/>
                </a:lnTo>
                <a:lnTo>
                  <a:pt x="2642387" y="2126323"/>
                </a:lnTo>
                <a:close/>
                <a:moveTo>
                  <a:pt x="2710967" y="1989163"/>
                </a:moveTo>
                <a:lnTo>
                  <a:pt x="2710967" y="1956930"/>
                </a:lnTo>
                <a:lnTo>
                  <a:pt x="2743200" y="1956930"/>
                </a:lnTo>
                <a:lnTo>
                  <a:pt x="2743200" y="1924698"/>
                </a:lnTo>
                <a:lnTo>
                  <a:pt x="2710967" y="1924698"/>
                </a:lnTo>
                <a:lnTo>
                  <a:pt x="2710967" y="1892465"/>
                </a:lnTo>
                <a:lnTo>
                  <a:pt x="2678735" y="1892465"/>
                </a:lnTo>
                <a:lnTo>
                  <a:pt x="2678735" y="1924698"/>
                </a:lnTo>
                <a:lnTo>
                  <a:pt x="2646502" y="1924698"/>
                </a:lnTo>
                <a:lnTo>
                  <a:pt x="2646502" y="1956930"/>
                </a:lnTo>
                <a:lnTo>
                  <a:pt x="2678735" y="1956930"/>
                </a:lnTo>
                <a:lnTo>
                  <a:pt x="2678735" y="1989163"/>
                </a:lnTo>
                <a:lnTo>
                  <a:pt x="2710967" y="1989163"/>
                </a:lnTo>
                <a:close/>
                <a:moveTo>
                  <a:pt x="2848127" y="1989163"/>
                </a:moveTo>
                <a:lnTo>
                  <a:pt x="2848127" y="1956930"/>
                </a:lnTo>
                <a:lnTo>
                  <a:pt x="2880360" y="1956930"/>
                </a:lnTo>
                <a:lnTo>
                  <a:pt x="2880360" y="1924698"/>
                </a:lnTo>
                <a:lnTo>
                  <a:pt x="2848127" y="1924698"/>
                </a:lnTo>
                <a:lnTo>
                  <a:pt x="2848127" y="1892465"/>
                </a:lnTo>
                <a:lnTo>
                  <a:pt x="2815895" y="1892465"/>
                </a:lnTo>
                <a:lnTo>
                  <a:pt x="2815895" y="1924698"/>
                </a:lnTo>
                <a:lnTo>
                  <a:pt x="2783662" y="1924698"/>
                </a:lnTo>
                <a:lnTo>
                  <a:pt x="2783662" y="1956930"/>
                </a:lnTo>
                <a:lnTo>
                  <a:pt x="2815895" y="1956930"/>
                </a:lnTo>
                <a:lnTo>
                  <a:pt x="2815895" y="1989163"/>
                </a:lnTo>
                <a:lnTo>
                  <a:pt x="2848127" y="1989163"/>
                </a:lnTo>
                <a:close/>
                <a:moveTo>
                  <a:pt x="2541575" y="1618145"/>
                </a:moveTo>
                <a:lnTo>
                  <a:pt x="2541575" y="1650378"/>
                </a:lnTo>
                <a:lnTo>
                  <a:pt x="2509342" y="1650378"/>
                </a:lnTo>
                <a:lnTo>
                  <a:pt x="2509342" y="1682610"/>
                </a:lnTo>
                <a:lnTo>
                  <a:pt x="2541575" y="1682610"/>
                </a:lnTo>
                <a:lnTo>
                  <a:pt x="2541575" y="1714843"/>
                </a:lnTo>
                <a:lnTo>
                  <a:pt x="2573807" y="1714843"/>
                </a:lnTo>
                <a:lnTo>
                  <a:pt x="2573807" y="1682610"/>
                </a:lnTo>
                <a:lnTo>
                  <a:pt x="2606040" y="1682610"/>
                </a:lnTo>
                <a:lnTo>
                  <a:pt x="2606040" y="1650378"/>
                </a:lnTo>
                <a:lnTo>
                  <a:pt x="2573807" y="1650378"/>
                </a:lnTo>
                <a:lnTo>
                  <a:pt x="2573807" y="1618145"/>
                </a:lnTo>
                <a:lnTo>
                  <a:pt x="2541575" y="1618145"/>
                </a:lnTo>
                <a:close/>
                <a:moveTo>
                  <a:pt x="1924355" y="1480985"/>
                </a:moveTo>
                <a:lnTo>
                  <a:pt x="1924355" y="1513218"/>
                </a:lnTo>
                <a:lnTo>
                  <a:pt x="1892122" y="1513218"/>
                </a:lnTo>
                <a:lnTo>
                  <a:pt x="1892122" y="1545450"/>
                </a:lnTo>
                <a:lnTo>
                  <a:pt x="1924355" y="1545450"/>
                </a:lnTo>
                <a:lnTo>
                  <a:pt x="1924355" y="1577683"/>
                </a:lnTo>
                <a:lnTo>
                  <a:pt x="1956587" y="1577683"/>
                </a:lnTo>
                <a:lnTo>
                  <a:pt x="1956587" y="1545450"/>
                </a:lnTo>
                <a:lnTo>
                  <a:pt x="1988820" y="1545450"/>
                </a:lnTo>
                <a:lnTo>
                  <a:pt x="1988820" y="1513218"/>
                </a:lnTo>
                <a:lnTo>
                  <a:pt x="1956587" y="1513218"/>
                </a:lnTo>
                <a:lnTo>
                  <a:pt x="1956587" y="1480985"/>
                </a:lnTo>
                <a:lnTo>
                  <a:pt x="1924355" y="1480985"/>
                </a:lnTo>
                <a:close/>
                <a:moveTo>
                  <a:pt x="1992935" y="1343825"/>
                </a:moveTo>
                <a:lnTo>
                  <a:pt x="1992935" y="1376058"/>
                </a:lnTo>
                <a:lnTo>
                  <a:pt x="1960702" y="1376058"/>
                </a:lnTo>
                <a:lnTo>
                  <a:pt x="1960702" y="1408290"/>
                </a:lnTo>
                <a:lnTo>
                  <a:pt x="1992935" y="1408290"/>
                </a:lnTo>
                <a:lnTo>
                  <a:pt x="1992935" y="1440523"/>
                </a:lnTo>
                <a:lnTo>
                  <a:pt x="2025167" y="1440523"/>
                </a:lnTo>
                <a:lnTo>
                  <a:pt x="2025167" y="1408290"/>
                </a:lnTo>
                <a:lnTo>
                  <a:pt x="2057400" y="1408290"/>
                </a:lnTo>
                <a:lnTo>
                  <a:pt x="2057400" y="1376058"/>
                </a:lnTo>
                <a:lnTo>
                  <a:pt x="2025167" y="1376058"/>
                </a:lnTo>
                <a:lnTo>
                  <a:pt x="2025167" y="1343825"/>
                </a:lnTo>
                <a:lnTo>
                  <a:pt x="1992935" y="1343825"/>
                </a:lnTo>
                <a:close/>
                <a:moveTo>
                  <a:pt x="2061515" y="1480985"/>
                </a:moveTo>
                <a:lnTo>
                  <a:pt x="2061515" y="1513218"/>
                </a:lnTo>
                <a:lnTo>
                  <a:pt x="2029282" y="1513218"/>
                </a:lnTo>
                <a:lnTo>
                  <a:pt x="2029282" y="1545450"/>
                </a:lnTo>
                <a:lnTo>
                  <a:pt x="2061515" y="1545450"/>
                </a:lnTo>
                <a:lnTo>
                  <a:pt x="2061515" y="1577683"/>
                </a:lnTo>
                <a:lnTo>
                  <a:pt x="2093747" y="1577683"/>
                </a:lnTo>
                <a:lnTo>
                  <a:pt x="2093747" y="1545450"/>
                </a:lnTo>
                <a:lnTo>
                  <a:pt x="2125980" y="1545450"/>
                </a:lnTo>
                <a:lnTo>
                  <a:pt x="2125980" y="1513218"/>
                </a:lnTo>
                <a:lnTo>
                  <a:pt x="2093747" y="1513218"/>
                </a:lnTo>
                <a:lnTo>
                  <a:pt x="2093747" y="1480985"/>
                </a:lnTo>
                <a:lnTo>
                  <a:pt x="2061515" y="1480985"/>
                </a:lnTo>
                <a:close/>
                <a:moveTo>
                  <a:pt x="1719643" y="797928"/>
                </a:moveTo>
                <a:lnTo>
                  <a:pt x="1719643" y="828446"/>
                </a:lnTo>
                <a:lnTo>
                  <a:pt x="1689125" y="828446"/>
                </a:lnTo>
                <a:lnTo>
                  <a:pt x="1689125" y="858622"/>
                </a:lnTo>
                <a:lnTo>
                  <a:pt x="1719643" y="858622"/>
                </a:lnTo>
                <a:lnTo>
                  <a:pt x="1719643" y="889140"/>
                </a:lnTo>
                <a:lnTo>
                  <a:pt x="1749819" y="889140"/>
                </a:lnTo>
                <a:lnTo>
                  <a:pt x="1749819" y="858622"/>
                </a:lnTo>
                <a:lnTo>
                  <a:pt x="1780337" y="858622"/>
                </a:lnTo>
                <a:lnTo>
                  <a:pt x="1780337" y="828446"/>
                </a:lnTo>
                <a:lnTo>
                  <a:pt x="1749819" y="828446"/>
                </a:lnTo>
                <a:lnTo>
                  <a:pt x="1749819" y="797928"/>
                </a:lnTo>
                <a:lnTo>
                  <a:pt x="1719643" y="797928"/>
                </a:lnTo>
                <a:close/>
                <a:moveTo>
                  <a:pt x="2404415" y="1618145"/>
                </a:moveTo>
                <a:lnTo>
                  <a:pt x="2404415" y="1650378"/>
                </a:lnTo>
                <a:lnTo>
                  <a:pt x="2372182" y="1650378"/>
                </a:lnTo>
                <a:lnTo>
                  <a:pt x="2372182" y="1682610"/>
                </a:lnTo>
                <a:lnTo>
                  <a:pt x="2404415" y="1682610"/>
                </a:lnTo>
                <a:lnTo>
                  <a:pt x="2404415" y="1714843"/>
                </a:lnTo>
                <a:lnTo>
                  <a:pt x="2436647" y="1714843"/>
                </a:lnTo>
                <a:lnTo>
                  <a:pt x="2436647" y="1682610"/>
                </a:lnTo>
                <a:lnTo>
                  <a:pt x="2468880" y="1682610"/>
                </a:lnTo>
                <a:lnTo>
                  <a:pt x="2468880" y="1650378"/>
                </a:lnTo>
                <a:lnTo>
                  <a:pt x="2436647" y="1650378"/>
                </a:lnTo>
                <a:lnTo>
                  <a:pt x="2436647" y="1618145"/>
                </a:lnTo>
                <a:lnTo>
                  <a:pt x="2404415" y="1618145"/>
                </a:lnTo>
                <a:close/>
                <a:moveTo>
                  <a:pt x="2130095" y="1343825"/>
                </a:moveTo>
                <a:lnTo>
                  <a:pt x="2130095" y="1376058"/>
                </a:lnTo>
                <a:lnTo>
                  <a:pt x="2097862" y="1376058"/>
                </a:lnTo>
                <a:lnTo>
                  <a:pt x="2097862" y="1408290"/>
                </a:lnTo>
                <a:lnTo>
                  <a:pt x="2130095" y="1408290"/>
                </a:lnTo>
                <a:lnTo>
                  <a:pt x="2130095" y="1440523"/>
                </a:lnTo>
                <a:lnTo>
                  <a:pt x="2162327" y="1440523"/>
                </a:lnTo>
                <a:lnTo>
                  <a:pt x="2162327" y="1408290"/>
                </a:lnTo>
                <a:lnTo>
                  <a:pt x="2194560" y="1408290"/>
                </a:lnTo>
                <a:lnTo>
                  <a:pt x="2194560" y="1376058"/>
                </a:lnTo>
                <a:lnTo>
                  <a:pt x="2162327" y="1376058"/>
                </a:lnTo>
                <a:lnTo>
                  <a:pt x="2162327" y="1343825"/>
                </a:lnTo>
                <a:lnTo>
                  <a:pt x="2130095" y="1343825"/>
                </a:lnTo>
                <a:close/>
                <a:moveTo>
                  <a:pt x="2335835" y="1480985"/>
                </a:moveTo>
                <a:lnTo>
                  <a:pt x="2335835" y="1513218"/>
                </a:lnTo>
                <a:lnTo>
                  <a:pt x="2303602" y="1513218"/>
                </a:lnTo>
                <a:lnTo>
                  <a:pt x="2303602" y="1545450"/>
                </a:lnTo>
                <a:lnTo>
                  <a:pt x="2335835" y="1545450"/>
                </a:lnTo>
                <a:lnTo>
                  <a:pt x="2335835" y="1577683"/>
                </a:lnTo>
                <a:lnTo>
                  <a:pt x="2368067" y="1577683"/>
                </a:lnTo>
                <a:lnTo>
                  <a:pt x="2368067" y="1545450"/>
                </a:lnTo>
                <a:lnTo>
                  <a:pt x="2400300" y="1545450"/>
                </a:lnTo>
                <a:lnTo>
                  <a:pt x="2400300" y="1513218"/>
                </a:lnTo>
                <a:lnTo>
                  <a:pt x="2368067" y="1513218"/>
                </a:lnTo>
                <a:lnTo>
                  <a:pt x="2368067" y="1480985"/>
                </a:lnTo>
                <a:lnTo>
                  <a:pt x="2335835" y="1480985"/>
                </a:lnTo>
                <a:close/>
                <a:moveTo>
                  <a:pt x="2267255" y="1343825"/>
                </a:moveTo>
                <a:lnTo>
                  <a:pt x="2267255" y="1376058"/>
                </a:lnTo>
                <a:lnTo>
                  <a:pt x="2235022" y="1376058"/>
                </a:lnTo>
                <a:lnTo>
                  <a:pt x="2235022" y="1408290"/>
                </a:lnTo>
                <a:lnTo>
                  <a:pt x="2267255" y="1408290"/>
                </a:lnTo>
                <a:lnTo>
                  <a:pt x="2267255" y="1440523"/>
                </a:lnTo>
                <a:lnTo>
                  <a:pt x="2299487" y="1440523"/>
                </a:lnTo>
                <a:lnTo>
                  <a:pt x="2299487" y="1408290"/>
                </a:lnTo>
                <a:lnTo>
                  <a:pt x="2331720" y="1408290"/>
                </a:lnTo>
                <a:lnTo>
                  <a:pt x="2331720" y="1376058"/>
                </a:lnTo>
                <a:lnTo>
                  <a:pt x="2299487" y="1376058"/>
                </a:lnTo>
                <a:lnTo>
                  <a:pt x="2299487" y="1343825"/>
                </a:lnTo>
                <a:lnTo>
                  <a:pt x="2267255" y="1343825"/>
                </a:lnTo>
                <a:close/>
                <a:moveTo>
                  <a:pt x="2198675" y="1480985"/>
                </a:moveTo>
                <a:lnTo>
                  <a:pt x="2198675" y="1513218"/>
                </a:lnTo>
                <a:lnTo>
                  <a:pt x="2166442" y="1513218"/>
                </a:lnTo>
                <a:lnTo>
                  <a:pt x="2166442" y="1545450"/>
                </a:lnTo>
                <a:lnTo>
                  <a:pt x="2198675" y="1545450"/>
                </a:lnTo>
                <a:lnTo>
                  <a:pt x="2198675" y="1577683"/>
                </a:lnTo>
                <a:lnTo>
                  <a:pt x="2230907" y="1577683"/>
                </a:lnTo>
                <a:lnTo>
                  <a:pt x="2230907" y="1545450"/>
                </a:lnTo>
                <a:lnTo>
                  <a:pt x="2263140" y="1545450"/>
                </a:lnTo>
                <a:lnTo>
                  <a:pt x="2263140" y="1513218"/>
                </a:lnTo>
                <a:lnTo>
                  <a:pt x="2230907" y="1513218"/>
                </a:lnTo>
                <a:lnTo>
                  <a:pt x="2230907" y="1480985"/>
                </a:lnTo>
                <a:lnTo>
                  <a:pt x="2198675" y="1480985"/>
                </a:lnTo>
                <a:close/>
                <a:moveTo>
                  <a:pt x="2678735" y="1618145"/>
                </a:moveTo>
                <a:lnTo>
                  <a:pt x="2678735" y="1650378"/>
                </a:lnTo>
                <a:lnTo>
                  <a:pt x="2646502" y="1650378"/>
                </a:lnTo>
                <a:lnTo>
                  <a:pt x="2646502" y="1682610"/>
                </a:lnTo>
                <a:lnTo>
                  <a:pt x="2678735" y="1682610"/>
                </a:lnTo>
                <a:lnTo>
                  <a:pt x="2678735" y="1714843"/>
                </a:lnTo>
                <a:lnTo>
                  <a:pt x="2710967" y="1714843"/>
                </a:lnTo>
                <a:lnTo>
                  <a:pt x="2710967" y="1682610"/>
                </a:lnTo>
                <a:lnTo>
                  <a:pt x="2743200" y="1682610"/>
                </a:lnTo>
                <a:lnTo>
                  <a:pt x="2743200" y="1650378"/>
                </a:lnTo>
                <a:lnTo>
                  <a:pt x="2710967" y="1650378"/>
                </a:lnTo>
                <a:lnTo>
                  <a:pt x="2710967" y="1618145"/>
                </a:lnTo>
                <a:lnTo>
                  <a:pt x="2678735" y="1618145"/>
                </a:lnTo>
                <a:close/>
                <a:moveTo>
                  <a:pt x="3121076" y="1985391"/>
                </a:moveTo>
                <a:lnTo>
                  <a:pt x="3121076" y="1955559"/>
                </a:lnTo>
                <a:lnTo>
                  <a:pt x="3150908" y="1955559"/>
                </a:lnTo>
                <a:lnTo>
                  <a:pt x="3150908" y="1926069"/>
                </a:lnTo>
                <a:lnTo>
                  <a:pt x="3121076" y="1926069"/>
                </a:lnTo>
                <a:lnTo>
                  <a:pt x="3121076" y="1896237"/>
                </a:lnTo>
                <a:lnTo>
                  <a:pt x="3091586" y="1896237"/>
                </a:lnTo>
                <a:lnTo>
                  <a:pt x="3091586" y="1926069"/>
                </a:lnTo>
                <a:lnTo>
                  <a:pt x="3061754" y="1926069"/>
                </a:lnTo>
                <a:lnTo>
                  <a:pt x="3061754" y="1955559"/>
                </a:lnTo>
                <a:lnTo>
                  <a:pt x="3091586" y="1955559"/>
                </a:lnTo>
                <a:lnTo>
                  <a:pt x="3091586" y="1985391"/>
                </a:lnTo>
                <a:lnTo>
                  <a:pt x="3121076" y="1985391"/>
                </a:lnTo>
                <a:close/>
                <a:moveTo>
                  <a:pt x="3160852" y="1761134"/>
                </a:moveTo>
                <a:lnTo>
                  <a:pt x="3160852" y="1789595"/>
                </a:lnTo>
                <a:lnTo>
                  <a:pt x="3132392" y="1789595"/>
                </a:lnTo>
                <a:lnTo>
                  <a:pt x="3132392" y="1817713"/>
                </a:lnTo>
                <a:lnTo>
                  <a:pt x="3160852" y="1817713"/>
                </a:lnTo>
                <a:lnTo>
                  <a:pt x="3160852" y="1846174"/>
                </a:lnTo>
                <a:lnTo>
                  <a:pt x="3188970" y="1846174"/>
                </a:lnTo>
                <a:lnTo>
                  <a:pt x="3188970" y="1817713"/>
                </a:lnTo>
                <a:lnTo>
                  <a:pt x="3217431" y="1817713"/>
                </a:lnTo>
                <a:lnTo>
                  <a:pt x="3217431" y="1789595"/>
                </a:lnTo>
                <a:lnTo>
                  <a:pt x="3188970" y="1789595"/>
                </a:lnTo>
                <a:lnTo>
                  <a:pt x="3188970" y="1761134"/>
                </a:lnTo>
                <a:lnTo>
                  <a:pt x="3160852" y="1761134"/>
                </a:lnTo>
                <a:close/>
                <a:moveTo>
                  <a:pt x="3091586" y="1622603"/>
                </a:moveTo>
                <a:lnTo>
                  <a:pt x="3091586" y="1651749"/>
                </a:lnTo>
                <a:lnTo>
                  <a:pt x="3062440" y="1651749"/>
                </a:lnTo>
                <a:lnTo>
                  <a:pt x="3062440" y="1681239"/>
                </a:lnTo>
                <a:lnTo>
                  <a:pt x="3091586" y="1681239"/>
                </a:lnTo>
                <a:lnTo>
                  <a:pt x="3091586" y="1710385"/>
                </a:lnTo>
                <a:lnTo>
                  <a:pt x="3121076" y="1710385"/>
                </a:lnTo>
                <a:lnTo>
                  <a:pt x="3121076" y="1681239"/>
                </a:lnTo>
                <a:lnTo>
                  <a:pt x="3150223" y="1681239"/>
                </a:lnTo>
                <a:lnTo>
                  <a:pt x="3150223" y="1651749"/>
                </a:lnTo>
                <a:lnTo>
                  <a:pt x="3121076" y="1651749"/>
                </a:lnTo>
                <a:lnTo>
                  <a:pt x="3121076" y="1622603"/>
                </a:lnTo>
                <a:lnTo>
                  <a:pt x="3091586" y="1622603"/>
                </a:lnTo>
                <a:close/>
                <a:moveTo>
                  <a:pt x="3022321" y="1757705"/>
                </a:moveTo>
                <a:lnTo>
                  <a:pt x="3022321" y="1788224"/>
                </a:lnTo>
                <a:lnTo>
                  <a:pt x="2991803" y="1788224"/>
                </a:lnTo>
                <a:lnTo>
                  <a:pt x="2991803" y="1819085"/>
                </a:lnTo>
                <a:lnTo>
                  <a:pt x="3022321" y="1819085"/>
                </a:lnTo>
                <a:lnTo>
                  <a:pt x="3022321" y="1849603"/>
                </a:lnTo>
                <a:lnTo>
                  <a:pt x="3053182" y="1849603"/>
                </a:lnTo>
                <a:lnTo>
                  <a:pt x="3053182" y="1819085"/>
                </a:lnTo>
                <a:lnTo>
                  <a:pt x="3083700" y="1819085"/>
                </a:lnTo>
                <a:lnTo>
                  <a:pt x="3083700" y="1788224"/>
                </a:lnTo>
                <a:lnTo>
                  <a:pt x="3053182" y="1788224"/>
                </a:lnTo>
                <a:lnTo>
                  <a:pt x="3053182" y="1757705"/>
                </a:lnTo>
                <a:lnTo>
                  <a:pt x="3022321" y="1757705"/>
                </a:lnTo>
                <a:close/>
                <a:moveTo>
                  <a:pt x="2953741" y="1619860"/>
                </a:moveTo>
                <a:lnTo>
                  <a:pt x="2953741" y="1651064"/>
                </a:lnTo>
                <a:lnTo>
                  <a:pt x="2922537" y="1651064"/>
                </a:lnTo>
                <a:lnTo>
                  <a:pt x="2922537" y="1681925"/>
                </a:lnTo>
                <a:lnTo>
                  <a:pt x="2953741" y="1681925"/>
                </a:lnTo>
                <a:lnTo>
                  <a:pt x="2953741" y="1713128"/>
                </a:lnTo>
                <a:lnTo>
                  <a:pt x="2984602" y="1713128"/>
                </a:lnTo>
                <a:lnTo>
                  <a:pt x="2984602" y="1681925"/>
                </a:lnTo>
                <a:lnTo>
                  <a:pt x="3015806" y="1681925"/>
                </a:lnTo>
                <a:lnTo>
                  <a:pt x="3015806" y="1651064"/>
                </a:lnTo>
                <a:lnTo>
                  <a:pt x="2984602" y="1651064"/>
                </a:lnTo>
                <a:lnTo>
                  <a:pt x="2984602" y="1619860"/>
                </a:lnTo>
                <a:lnTo>
                  <a:pt x="2953741" y="1619860"/>
                </a:lnTo>
                <a:close/>
                <a:moveTo>
                  <a:pt x="2884818" y="1482357"/>
                </a:moveTo>
                <a:lnTo>
                  <a:pt x="2884818" y="1513561"/>
                </a:lnTo>
                <a:lnTo>
                  <a:pt x="2853614" y="1513561"/>
                </a:lnTo>
                <a:lnTo>
                  <a:pt x="2853614" y="1545107"/>
                </a:lnTo>
                <a:lnTo>
                  <a:pt x="2884818" y="1545107"/>
                </a:lnTo>
                <a:lnTo>
                  <a:pt x="2884818" y="1576311"/>
                </a:lnTo>
                <a:lnTo>
                  <a:pt x="2916365" y="1576311"/>
                </a:lnTo>
                <a:lnTo>
                  <a:pt x="2916365" y="1545107"/>
                </a:lnTo>
                <a:lnTo>
                  <a:pt x="2947568" y="1545107"/>
                </a:lnTo>
                <a:lnTo>
                  <a:pt x="2947568" y="1513561"/>
                </a:lnTo>
                <a:lnTo>
                  <a:pt x="2916365" y="1513561"/>
                </a:lnTo>
                <a:lnTo>
                  <a:pt x="2916365" y="1482357"/>
                </a:lnTo>
                <a:lnTo>
                  <a:pt x="2884818" y="1482357"/>
                </a:lnTo>
                <a:close/>
                <a:moveTo>
                  <a:pt x="2848127" y="2263483"/>
                </a:moveTo>
                <a:lnTo>
                  <a:pt x="2848127" y="2231250"/>
                </a:lnTo>
                <a:lnTo>
                  <a:pt x="2880360" y="2231250"/>
                </a:lnTo>
                <a:lnTo>
                  <a:pt x="2880360" y="2199018"/>
                </a:lnTo>
                <a:lnTo>
                  <a:pt x="2848127" y="2199018"/>
                </a:lnTo>
                <a:lnTo>
                  <a:pt x="2848127" y="2166785"/>
                </a:lnTo>
                <a:lnTo>
                  <a:pt x="2815895" y="2166785"/>
                </a:lnTo>
                <a:lnTo>
                  <a:pt x="2815895" y="2199018"/>
                </a:lnTo>
                <a:lnTo>
                  <a:pt x="2783662" y="2199018"/>
                </a:lnTo>
                <a:lnTo>
                  <a:pt x="2783662" y="2231250"/>
                </a:lnTo>
                <a:lnTo>
                  <a:pt x="2815895" y="2231250"/>
                </a:lnTo>
                <a:lnTo>
                  <a:pt x="2815895" y="2263483"/>
                </a:lnTo>
                <a:lnTo>
                  <a:pt x="2848127" y="2263483"/>
                </a:lnTo>
                <a:close/>
                <a:moveTo>
                  <a:pt x="2779547" y="2126323"/>
                </a:moveTo>
                <a:lnTo>
                  <a:pt x="2779547" y="2094090"/>
                </a:lnTo>
                <a:lnTo>
                  <a:pt x="2811780" y="2094090"/>
                </a:lnTo>
                <a:lnTo>
                  <a:pt x="2811780" y="2061858"/>
                </a:lnTo>
                <a:lnTo>
                  <a:pt x="2779547" y="2061858"/>
                </a:lnTo>
                <a:lnTo>
                  <a:pt x="2779547" y="2029625"/>
                </a:lnTo>
                <a:lnTo>
                  <a:pt x="2747315" y="2029625"/>
                </a:lnTo>
                <a:lnTo>
                  <a:pt x="2747315" y="2061858"/>
                </a:lnTo>
                <a:lnTo>
                  <a:pt x="2715082" y="2061858"/>
                </a:lnTo>
                <a:lnTo>
                  <a:pt x="2715082" y="2094090"/>
                </a:lnTo>
                <a:lnTo>
                  <a:pt x="2747315" y="2094090"/>
                </a:lnTo>
                <a:lnTo>
                  <a:pt x="2747315" y="2126323"/>
                </a:lnTo>
                <a:lnTo>
                  <a:pt x="2779547" y="2126323"/>
                </a:lnTo>
                <a:close/>
                <a:moveTo>
                  <a:pt x="2984945" y="1988134"/>
                </a:moveTo>
                <a:lnTo>
                  <a:pt x="2984945" y="1956587"/>
                </a:lnTo>
                <a:lnTo>
                  <a:pt x="3016492" y="1956587"/>
                </a:lnTo>
                <a:lnTo>
                  <a:pt x="3016492" y="1925041"/>
                </a:lnTo>
                <a:lnTo>
                  <a:pt x="2984945" y="1925041"/>
                </a:lnTo>
                <a:lnTo>
                  <a:pt x="2984945" y="1893494"/>
                </a:lnTo>
                <a:lnTo>
                  <a:pt x="2953398" y="1893494"/>
                </a:lnTo>
                <a:lnTo>
                  <a:pt x="2953398" y="1925041"/>
                </a:lnTo>
                <a:lnTo>
                  <a:pt x="2921851" y="1925041"/>
                </a:lnTo>
                <a:lnTo>
                  <a:pt x="2921851" y="1956587"/>
                </a:lnTo>
                <a:lnTo>
                  <a:pt x="2953398" y="1956587"/>
                </a:lnTo>
                <a:lnTo>
                  <a:pt x="2953398" y="1988134"/>
                </a:lnTo>
                <a:lnTo>
                  <a:pt x="2984945" y="1988134"/>
                </a:lnTo>
                <a:close/>
                <a:moveTo>
                  <a:pt x="3053182" y="2123923"/>
                </a:moveTo>
                <a:lnTo>
                  <a:pt x="3053182" y="2093405"/>
                </a:lnTo>
                <a:lnTo>
                  <a:pt x="3083700" y="2093405"/>
                </a:lnTo>
                <a:lnTo>
                  <a:pt x="3083700" y="2062544"/>
                </a:lnTo>
                <a:lnTo>
                  <a:pt x="3053182" y="2062544"/>
                </a:lnTo>
                <a:lnTo>
                  <a:pt x="3053182" y="2032025"/>
                </a:lnTo>
                <a:lnTo>
                  <a:pt x="3022321" y="2032025"/>
                </a:lnTo>
                <a:lnTo>
                  <a:pt x="3022321" y="2062544"/>
                </a:lnTo>
                <a:lnTo>
                  <a:pt x="2991803" y="2062544"/>
                </a:lnTo>
                <a:lnTo>
                  <a:pt x="2991803" y="2093405"/>
                </a:lnTo>
                <a:lnTo>
                  <a:pt x="3022321" y="2093405"/>
                </a:lnTo>
                <a:lnTo>
                  <a:pt x="3022321" y="2123923"/>
                </a:lnTo>
                <a:lnTo>
                  <a:pt x="3053182" y="2123923"/>
                </a:lnTo>
                <a:close/>
                <a:moveTo>
                  <a:pt x="2916707" y="2126323"/>
                </a:moveTo>
                <a:lnTo>
                  <a:pt x="2916707" y="2094090"/>
                </a:lnTo>
                <a:lnTo>
                  <a:pt x="2948940" y="2094090"/>
                </a:lnTo>
                <a:lnTo>
                  <a:pt x="2948940" y="2061858"/>
                </a:lnTo>
                <a:lnTo>
                  <a:pt x="2916707" y="2061858"/>
                </a:lnTo>
                <a:lnTo>
                  <a:pt x="2916707" y="2029625"/>
                </a:lnTo>
                <a:lnTo>
                  <a:pt x="2884475" y="2029625"/>
                </a:lnTo>
                <a:lnTo>
                  <a:pt x="2884475" y="2061858"/>
                </a:lnTo>
                <a:lnTo>
                  <a:pt x="2852242" y="2061858"/>
                </a:lnTo>
                <a:lnTo>
                  <a:pt x="2852242" y="2094090"/>
                </a:lnTo>
                <a:lnTo>
                  <a:pt x="2884475" y="2094090"/>
                </a:lnTo>
                <a:lnTo>
                  <a:pt x="2884475" y="2126323"/>
                </a:lnTo>
                <a:lnTo>
                  <a:pt x="2916707" y="2126323"/>
                </a:lnTo>
                <a:close/>
                <a:moveTo>
                  <a:pt x="2404415" y="1343825"/>
                </a:moveTo>
                <a:lnTo>
                  <a:pt x="2404415" y="1376058"/>
                </a:lnTo>
                <a:lnTo>
                  <a:pt x="2372182" y="1376058"/>
                </a:lnTo>
                <a:lnTo>
                  <a:pt x="2372182" y="1408290"/>
                </a:lnTo>
                <a:lnTo>
                  <a:pt x="2404415" y="1408290"/>
                </a:lnTo>
                <a:lnTo>
                  <a:pt x="2404415" y="1440523"/>
                </a:lnTo>
                <a:lnTo>
                  <a:pt x="2436647" y="1440523"/>
                </a:lnTo>
                <a:lnTo>
                  <a:pt x="2436647" y="1408290"/>
                </a:lnTo>
                <a:lnTo>
                  <a:pt x="2468880" y="1408290"/>
                </a:lnTo>
                <a:lnTo>
                  <a:pt x="2468880" y="1376058"/>
                </a:lnTo>
                <a:lnTo>
                  <a:pt x="2436647" y="1376058"/>
                </a:lnTo>
                <a:lnTo>
                  <a:pt x="2436647" y="1343825"/>
                </a:lnTo>
                <a:lnTo>
                  <a:pt x="2404415" y="1343825"/>
                </a:lnTo>
                <a:close/>
                <a:moveTo>
                  <a:pt x="2335835" y="1206665"/>
                </a:moveTo>
                <a:lnTo>
                  <a:pt x="2335835" y="1238898"/>
                </a:lnTo>
                <a:lnTo>
                  <a:pt x="2303602" y="1238898"/>
                </a:lnTo>
                <a:lnTo>
                  <a:pt x="2303602" y="1271130"/>
                </a:lnTo>
                <a:lnTo>
                  <a:pt x="2335835" y="1271130"/>
                </a:lnTo>
                <a:lnTo>
                  <a:pt x="2335835" y="1303363"/>
                </a:lnTo>
                <a:lnTo>
                  <a:pt x="2368067" y="1303363"/>
                </a:lnTo>
                <a:lnTo>
                  <a:pt x="2368067" y="1271130"/>
                </a:lnTo>
                <a:lnTo>
                  <a:pt x="2400300" y="1271130"/>
                </a:lnTo>
                <a:lnTo>
                  <a:pt x="2400300" y="1238898"/>
                </a:lnTo>
                <a:lnTo>
                  <a:pt x="2368067" y="1238898"/>
                </a:lnTo>
                <a:lnTo>
                  <a:pt x="2368067" y="1206665"/>
                </a:lnTo>
                <a:lnTo>
                  <a:pt x="2335835" y="1206665"/>
                </a:lnTo>
                <a:close/>
                <a:moveTo>
                  <a:pt x="2472995" y="1206665"/>
                </a:moveTo>
                <a:lnTo>
                  <a:pt x="2472995" y="1238898"/>
                </a:lnTo>
                <a:lnTo>
                  <a:pt x="2440762" y="1238898"/>
                </a:lnTo>
                <a:lnTo>
                  <a:pt x="2440762" y="1271130"/>
                </a:lnTo>
                <a:lnTo>
                  <a:pt x="2472995" y="1271130"/>
                </a:lnTo>
                <a:lnTo>
                  <a:pt x="2472995" y="1303363"/>
                </a:lnTo>
                <a:lnTo>
                  <a:pt x="2505227" y="1303363"/>
                </a:lnTo>
                <a:lnTo>
                  <a:pt x="2505227" y="1271130"/>
                </a:lnTo>
                <a:lnTo>
                  <a:pt x="2537460" y="1271130"/>
                </a:lnTo>
                <a:lnTo>
                  <a:pt x="2537460" y="1238898"/>
                </a:lnTo>
                <a:lnTo>
                  <a:pt x="2505227" y="1238898"/>
                </a:lnTo>
                <a:lnTo>
                  <a:pt x="2505227" y="1206665"/>
                </a:lnTo>
                <a:lnTo>
                  <a:pt x="2472995" y="1206665"/>
                </a:lnTo>
                <a:close/>
                <a:moveTo>
                  <a:pt x="2816238" y="1345197"/>
                </a:moveTo>
                <a:lnTo>
                  <a:pt x="2816238" y="1376401"/>
                </a:lnTo>
                <a:lnTo>
                  <a:pt x="2785034" y="1376401"/>
                </a:lnTo>
                <a:lnTo>
                  <a:pt x="2785034" y="1407947"/>
                </a:lnTo>
                <a:lnTo>
                  <a:pt x="2816238" y="1407947"/>
                </a:lnTo>
                <a:lnTo>
                  <a:pt x="2816238" y="1439151"/>
                </a:lnTo>
                <a:lnTo>
                  <a:pt x="2847785" y="1439151"/>
                </a:lnTo>
                <a:lnTo>
                  <a:pt x="2847785" y="1407947"/>
                </a:lnTo>
                <a:lnTo>
                  <a:pt x="2878988" y="1407947"/>
                </a:lnTo>
                <a:lnTo>
                  <a:pt x="2878988" y="1376401"/>
                </a:lnTo>
                <a:lnTo>
                  <a:pt x="2847785" y="1376401"/>
                </a:lnTo>
                <a:lnTo>
                  <a:pt x="2847785" y="1345197"/>
                </a:lnTo>
                <a:lnTo>
                  <a:pt x="2816238" y="1345197"/>
                </a:lnTo>
                <a:close/>
                <a:moveTo>
                  <a:pt x="2267255" y="1069505"/>
                </a:moveTo>
                <a:lnTo>
                  <a:pt x="2267255" y="1101738"/>
                </a:lnTo>
                <a:lnTo>
                  <a:pt x="2235022" y="1101738"/>
                </a:lnTo>
                <a:lnTo>
                  <a:pt x="2235022" y="1133970"/>
                </a:lnTo>
                <a:lnTo>
                  <a:pt x="2267255" y="1133970"/>
                </a:lnTo>
                <a:lnTo>
                  <a:pt x="2267255" y="1166203"/>
                </a:lnTo>
                <a:lnTo>
                  <a:pt x="2299487" y="1166203"/>
                </a:lnTo>
                <a:lnTo>
                  <a:pt x="2299487" y="1133970"/>
                </a:lnTo>
                <a:lnTo>
                  <a:pt x="2331720" y="1133970"/>
                </a:lnTo>
                <a:lnTo>
                  <a:pt x="2331720" y="1101738"/>
                </a:lnTo>
                <a:lnTo>
                  <a:pt x="2299487" y="1101738"/>
                </a:lnTo>
                <a:lnTo>
                  <a:pt x="2299487" y="1069505"/>
                </a:lnTo>
                <a:lnTo>
                  <a:pt x="2267255" y="1069505"/>
                </a:lnTo>
                <a:close/>
                <a:moveTo>
                  <a:pt x="2541575" y="1343825"/>
                </a:moveTo>
                <a:lnTo>
                  <a:pt x="2541575" y="1376058"/>
                </a:lnTo>
                <a:lnTo>
                  <a:pt x="2509342" y="1376058"/>
                </a:lnTo>
                <a:lnTo>
                  <a:pt x="2509342" y="1408290"/>
                </a:lnTo>
                <a:lnTo>
                  <a:pt x="2541575" y="1408290"/>
                </a:lnTo>
                <a:lnTo>
                  <a:pt x="2541575" y="1440523"/>
                </a:lnTo>
                <a:lnTo>
                  <a:pt x="2573807" y="1440523"/>
                </a:lnTo>
                <a:lnTo>
                  <a:pt x="2573807" y="1408290"/>
                </a:lnTo>
                <a:lnTo>
                  <a:pt x="2606040" y="1408290"/>
                </a:lnTo>
                <a:lnTo>
                  <a:pt x="2606040" y="1376058"/>
                </a:lnTo>
                <a:lnTo>
                  <a:pt x="2573807" y="1376058"/>
                </a:lnTo>
                <a:lnTo>
                  <a:pt x="2573807" y="1343825"/>
                </a:lnTo>
                <a:lnTo>
                  <a:pt x="2541575" y="1343825"/>
                </a:lnTo>
                <a:close/>
                <a:moveTo>
                  <a:pt x="2678735" y="1343825"/>
                </a:moveTo>
                <a:lnTo>
                  <a:pt x="2678735" y="1376058"/>
                </a:lnTo>
                <a:lnTo>
                  <a:pt x="2646502" y="1376058"/>
                </a:lnTo>
                <a:lnTo>
                  <a:pt x="2646502" y="1408290"/>
                </a:lnTo>
                <a:lnTo>
                  <a:pt x="2678735" y="1408290"/>
                </a:lnTo>
                <a:lnTo>
                  <a:pt x="2678735" y="1440523"/>
                </a:lnTo>
                <a:lnTo>
                  <a:pt x="2710967" y="1440523"/>
                </a:lnTo>
                <a:lnTo>
                  <a:pt x="2710967" y="1408290"/>
                </a:lnTo>
                <a:lnTo>
                  <a:pt x="2743200" y="1408290"/>
                </a:lnTo>
                <a:lnTo>
                  <a:pt x="2743200" y="1376058"/>
                </a:lnTo>
                <a:lnTo>
                  <a:pt x="2710967" y="1376058"/>
                </a:lnTo>
                <a:lnTo>
                  <a:pt x="2710967" y="1343825"/>
                </a:lnTo>
                <a:lnTo>
                  <a:pt x="2678735" y="1343825"/>
                </a:lnTo>
                <a:close/>
                <a:moveTo>
                  <a:pt x="2747315" y="1480985"/>
                </a:moveTo>
                <a:lnTo>
                  <a:pt x="2747315" y="1513218"/>
                </a:lnTo>
                <a:lnTo>
                  <a:pt x="2715082" y="1513218"/>
                </a:lnTo>
                <a:lnTo>
                  <a:pt x="2715082" y="1545450"/>
                </a:lnTo>
                <a:lnTo>
                  <a:pt x="2747315" y="1545450"/>
                </a:lnTo>
                <a:lnTo>
                  <a:pt x="2747315" y="1577683"/>
                </a:lnTo>
                <a:lnTo>
                  <a:pt x="2779547" y="1577683"/>
                </a:lnTo>
                <a:lnTo>
                  <a:pt x="2779547" y="1545450"/>
                </a:lnTo>
                <a:lnTo>
                  <a:pt x="2811780" y="1545450"/>
                </a:lnTo>
                <a:lnTo>
                  <a:pt x="2811780" y="1513218"/>
                </a:lnTo>
                <a:lnTo>
                  <a:pt x="2779547" y="1513218"/>
                </a:lnTo>
                <a:lnTo>
                  <a:pt x="2779547" y="1480985"/>
                </a:lnTo>
                <a:lnTo>
                  <a:pt x="2747315" y="1480985"/>
                </a:lnTo>
                <a:close/>
                <a:moveTo>
                  <a:pt x="2610155" y="1206665"/>
                </a:moveTo>
                <a:lnTo>
                  <a:pt x="2610155" y="1238898"/>
                </a:lnTo>
                <a:lnTo>
                  <a:pt x="2577922" y="1238898"/>
                </a:lnTo>
                <a:lnTo>
                  <a:pt x="2577922" y="1271130"/>
                </a:lnTo>
                <a:lnTo>
                  <a:pt x="2610155" y="1271130"/>
                </a:lnTo>
                <a:lnTo>
                  <a:pt x="2610155" y="1303363"/>
                </a:lnTo>
                <a:lnTo>
                  <a:pt x="2642387" y="1303363"/>
                </a:lnTo>
                <a:lnTo>
                  <a:pt x="2642387" y="1271130"/>
                </a:lnTo>
                <a:lnTo>
                  <a:pt x="2674620" y="1271130"/>
                </a:lnTo>
                <a:lnTo>
                  <a:pt x="2674620" y="1238898"/>
                </a:lnTo>
                <a:lnTo>
                  <a:pt x="2642387" y="1238898"/>
                </a:lnTo>
                <a:lnTo>
                  <a:pt x="2642387" y="1206665"/>
                </a:lnTo>
                <a:lnTo>
                  <a:pt x="2610155" y="1206665"/>
                </a:lnTo>
                <a:close/>
                <a:moveTo>
                  <a:pt x="2025167" y="2537803"/>
                </a:moveTo>
                <a:lnTo>
                  <a:pt x="2025167" y="2505570"/>
                </a:lnTo>
                <a:lnTo>
                  <a:pt x="2057400" y="2505570"/>
                </a:lnTo>
                <a:lnTo>
                  <a:pt x="2057400" y="2473338"/>
                </a:lnTo>
                <a:lnTo>
                  <a:pt x="2025167" y="2473338"/>
                </a:lnTo>
                <a:lnTo>
                  <a:pt x="2025167" y="2441105"/>
                </a:lnTo>
                <a:lnTo>
                  <a:pt x="1992935" y="2441105"/>
                </a:lnTo>
                <a:lnTo>
                  <a:pt x="1992935" y="2473338"/>
                </a:lnTo>
                <a:lnTo>
                  <a:pt x="1960702" y="2473338"/>
                </a:lnTo>
                <a:lnTo>
                  <a:pt x="1960702" y="2505570"/>
                </a:lnTo>
                <a:lnTo>
                  <a:pt x="1992935" y="2505570"/>
                </a:lnTo>
                <a:lnTo>
                  <a:pt x="1992935" y="2537803"/>
                </a:lnTo>
                <a:lnTo>
                  <a:pt x="2025167" y="2537803"/>
                </a:lnTo>
                <a:close/>
                <a:moveTo>
                  <a:pt x="1819427" y="2400643"/>
                </a:moveTo>
                <a:lnTo>
                  <a:pt x="1819427" y="2368410"/>
                </a:lnTo>
                <a:lnTo>
                  <a:pt x="1851660" y="2368410"/>
                </a:lnTo>
                <a:lnTo>
                  <a:pt x="1851660" y="2336178"/>
                </a:lnTo>
                <a:lnTo>
                  <a:pt x="1819427" y="2336178"/>
                </a:lnTo>
                <a:lnTo>
                  <a:pt x="1819427" y="2303945"/>
                </a:lnTo>
                <a:lnTo>
                  <a:pt x="1787195" y="2303945"/>
                </a:lnTo>
                <a:lnTo>
                  <a:pt x="1787195" y="2336178"/>
                </a:lnTo>
                <a:lnTo>
                  <a:pt x="1754962" y="2336178"/>
                </a:lnTo>
                <a:lnTo>
                  <a:pt x="1754962" y="2368410"/>
                </a:lnTo>
                <a:lnTo>
                  <a:pt x="1787195" y="2368410"/>
                </a:lnTo>
                <a:lnTo>
                  <a:pt x="1787195" y="2400643"/>
                </a:lnTo>
                <a:lnTo>
                  <a:pt x="1819427" y="2400643"/>
                </a:lnTo>
                <a:close/>
                <a:moveTo>
                  <a:pt x="2710967" y="2263483"/>
                </a:moveTo>
                <a:lnTo>
                  <a:pt x="2710967" y="2231250"/>
                </a:lnTo>
                <a:lnTo>
                  <a:pt x="2743200" y="2231250"/>
                </a:lnTo>
                <a:lnTo>
                  <a:pt x="2743200" y="2199018"/>
                </a:lnTo>
                <a:lnTo>
                  <a:pt x="2710967" y="2199018"/>
                </a:lnTo>
                <a:lnTo>
                  <a:pt x="2710967" y="2166785"/>
                </a:lnTo>
                <a:lnTo>
                  <a:pt x="2678735" y="2166785"/>
                </a:lnTo>
                <a:lnTo>
                  <a:pt x="2678735" y="2199018"/>
                </a:lnTo>
                <a:lnTo>
                  <a:pt x="2646502" y="2199018"/>
                </a:lnTo>
                <a:lnTo>
                  <a:pt x="2646502" y="2231250"/>
                </a:lnTo>
                <a:lnTo>
                  <a:pt x="2678735" y="2231250"/>
                </a:lnTo>
                <a:lnTo>
                  <a:pt x="2678735" y="2263483"/>
                </a:lnTo>
                <a:lnTo>
                  <a:pt x="2710967" y="2263483"/>
                </a:lnTo>
                <a:close/>
                <a:moveTo>
                  <a:pt x="1956587" y="2400643"/>
                </a:moveTo>
                <a:lnTo>
                  <a:pt x="1956587" y="2368410"/>
                </a:lnTo>
                <a:lnTo>
                  <a:pt x="1988820" y="2368410"/>
                </a:lnTo>
                <a:lnTo>
                  <a:pt x="1988820" y="2336178"/>
                </a:lnTo>
                <a:lnTo>
                  <a:pt x="1956587" y="2336178"/>
                </a:lnTo>
                <a:lnTo>
                  <a:pt x="1956587" y="2303945"/>
                </a:lnTo>
                <a:lnTo>
                  <a:pt x="1924355" y="2303945"/>
                </a:lnTo>
                <a:lnTo>
                  <a:pt x="1924355" y="2336178"/>
                </a:lnTo>
                <a:lnTo>
                  <a:pt x="1892122" y="2336178"/>
                </a:lnTo>
                <a:lnTo>
                  <a:pt x="1892122" y="2368410"/>
                </a:lnTo>
                <a:lnTo>
                  <a:pt x="1924355" y="2368410"/>
                </a:lnTo>
                <a:lnTo>
                  <a:pt x="1924355" y="2400643"/>
                </a:lnTo>
                <a:lnTo>
                  <a:pt x="1956587" y="2400643"/>
                </a:lnTo>
                <a:close/>
                <a:moveTo>
                  <a:pt x="1750847" y="2537803"/>
                </a:moveTo>
                <a:lnTo>
                  <a:pt x="1750847" y="2505570"/>
                </a:lnTo>
                <a:lnTo>
                  <a:pt x="1783080" y="2505570"/>
                </a:lnTo>
                <a:lnTo>
                  <a:pt x="1783080" y="2473338"/>
                </a:lnTo>
                <a:lnTo>
                  <a:pt x="1750847" y="2473338"/>
                </a:lnTo>
                <a:lnTo>
                  <a:pt x="1750847" y="2441105"/>
                </a:lnTo>
                <a:lnTo>
                  <a:pt x="1718615" y="2441105"/>
                </a:lnTo>
                <a:lnTo>
                  <a:pt x="1718615" y="2473338"/>
                </a:lnTo>
                <a:lnTo>
                  <a:pt x="1686382" y="2473338"/>
                </a:lnTo>
                <a:lnTo>
                  <a:pt x="1686382" y="2505570"/>
                </a:lnTo>
                <a:lnTo>
                  <a:pt x="1718615" y="2505570"/>
                </a:lnTo>
                <a:lnTo>
                  <a:pt x="1718615" y="2537803"/>
                </a:lnTo>
                <a:lnTo>
                  <a:pt x="1750847" y="2537803"/>
                </a:lnTo>
                <a:close/>
                <a:moveTo>
                  <a:pt x="1476527" y="2263483"/>
                </a:moveTo>
                <a:lnTo>
                  <a:pt x="1476527" y="2231250"/>
                </a:lnTo>
                <a:lnTo>
                  <a:pt x="1508760" y="2231250"/>
                </a:lnTo>
                <a:lnTo>
                  <a:pt x="1508760" y="2199018"/>
                </a:lnTo>
                <a:lnTo>
                  <a:pt x="1476527" y="2199018"/>
                </a:lnTo>
                <a:lnTo>
                  <a:pt x="1476527" y="2166785"/>
                </a:lnTo>
                <a:lnTo>
                  <a:pt x="1444295" y="2166785"/>
                </a:lnTo>
                <a:lnTo>
                  <a:pt x="1444295" y="2199018"/>
                </a:lnTo>
                <a:lnTo>
                  <a:pt x="1412062" y="2199018"/>
                </a:lnTo>
                <a:lnTo>
                  <a:pt x="1412062" y="2231250"/>
                </a:lnTo>
                <a:lnTo>
                  <a:pt x="1444295" y="2231250"/>
                </a:lnTo>
                <a:lnTo>
                  <a:pt x="1444295" y="2263483"/>
                </a:lnTo>
                <a:lnTo>
                  <a:pt x="1476527" y="2263483"/>
                </a:lnTo>
                <a:close/>
                <a:moveTo>
                  <a:pt x="1545107" y="2400643"/>
                </a:moveTo>
                <a:lnTo>
                  <a:pt x="1545107" y="2368410"/>
                </a:lnTo>
                <a:lnTo>
                  <a:pt x="1577340" y="2368410"/>
                </a:lnTo>
                <a:lnTo>
                  <a:pt x="1577340" y="2336178"/>
                </a:lnTo>
                <a:lnTo>
                  <a:pt x="1545107" y="2336178"/>
                </a:lnTo>
                <a:lnTo>
                  <a:pt x="1545107" y="2303945"/>
                </a:lnTo>
                <a:lnTo>
                  <a:pt x="1512875" y="2303945"/>
                </a:lnTo>
                <a:lnTo>
                  <a:pt x="1512875" y="2336178"/>
                </a:lnTo>
                <a:lnTo>
                  <a:pt x="1480642" y="2336178"/>
                </a:lnTo>
                <a:lnTo>
                  <a:pt x="1480642" y="2368410"/>
                </a:lnTo>
                <a:lnTo>
                  <a:pt x="1512875" y="2368410"/>
                </a:lnTo>
                <a:lnTo>
                  <a:pt x="1512875" y="2400643"/>
                </a:lnTo>
                <a:lnTo>
                  <a:pt x="1545107" y="2400643"/>
                </a:lnTo>
                <a:close/>
                <a:moveTo>
                  <a:pt x="1407947" y="2400643"/>
                </a:moveTo>
                <a:lnTo>
                  <a:pt x="1407947" y="2368410"/>
                </a:lnTo>
                <a:lnTo>
                  <a:pt x="1440180" y="2368410"/>
                </a:lnTo>
                <a:lnTo>
                  <a:pt x="1440180" y="2336178"/>
                </a:lnTo>
                <a:lnTo>
                  <a:pt x="1407947" y="2336178"/>
                </a:lnTo>
                <a:lnTo>
                  <a:pt x="1407947" y="2303945"/>
                </a:lnTo>
                <a:lnTo>
                  <a:pt x="1375715" y="2303945"/>
                </a:lnTo>
                <a:lnTo>
                  <a:pt x="1375715" y="2336178"/>
                </a:lnTo>
                <a:lnTo>
                  <a:pt x="1343482" y="2336178"/>
                </a:lnTo>
                <a:lnTo>
                  <a:pt x="1343482" y="2368410"/>
                </a:lnTo>
                <a:lnTo>
                  <a:pt x="1375715" y="2368410"/>
                </a:lnTo>
                <a:lnTo>
                  <a:pt x="1375715" y="2400643"/>
                </a:lnTo>
                <a:lnTo>
                  <a:pt x="1407947" y="2400643"/>
                </a:lnTo>
                <a:close/>
                <a:moveTo>
                  <a:pt x="1613687" y="2537803"/>
                </a:moveTo>
                <a:lnTo>
                  <a:pt x="1613687" y="2505570"/>
                </a:lnTo>
                <a:lnTo>
                  <a:pt x="1645920" y="2505570"/>
                </a:lnTo>
                <a:lnTo>
                  <a:pt x="1645920" y="2473338"/>
                </a:lnTo>
                <a:lnTo>
                  <a:pt x="1613687" y="2473338"/>
                </a:lnTo>
                <a:lnTo>
                  <a:pt x="1613687" y="2441105"/>
                </a:lnTo>
                <a:lnTo>
                  <a:pt x="1581455" y="2441105"/>
                </a:lnTo>
                <a:lnTo>
                  <a:pt x="1581455" y="2473338"/>
                </a:lnTo>
                <a:lnTo>
                  <a:pt x="1549222" y="2473338"/>
                </a:lnTo>
                <a:lnTo>
                  <a:pt x="1549222" y="2505570"/>
                </a:lnTo>
                <a:lnTo>
                  <a:pt x="1581455" y="2505570"/>
                </a:lnTo>
                <a:lnTo>
                  <a:pt x="1581455" y="2537803"/>
                </a:lnTo>
                <a:lnTo>
                  <a:pt x="1613687" y="2537803"/>
                </a:lnTo>
                <a:close/>
                <a:moveTo>
                  <a:pt x="1682267" y="2400643"/>
                </a:moveTo>
                <a:lnTo>
                  <a:pt x="1682267" y="2368410"/>
                </a:lnTo>
                <a:lnTo>
                  <a:pt x="1714500" y="2368410"/>
                </a:lnTo>
                <a:lnTo>
                  <a:pt x="1714500" y="2336178"/>
                </a:lnTo>
                <a:lnTo>
                  <a:pt x="1682267" y="2336178"/>
                </a:lnTo>
                <a:lnTo>
                  <a:pt x="1682267" y="2303945"/>
                </a:lnTo>
                <a:lnTo>
                  <a:pt x="1650035" y="2303945"/>
                </a:lnTo>
                <a:lnTo>
                  <a:pt x="1650035" y="2336178"/>
                </a:lnTo>
                <a:lnTo>
                  <a:pt x="1617802" y="2336178"/>
                </a:lnTo>
                <a:lnTo>
                  <a:pt x="1617802" y="2368410"/>
                </a:lnTo>
                <a:lnTo>
                  <a:pt x="1650035" y="2368410"/>
                </a:lnTo>
                <a:lnTo>
                  <a:pt x="1650035" y="2400643"/>
                </a:lnTo>
                <a:lnTo>
                  <a:pt x="1682267" y="2400643"/>
                </a:lnTo>
                <a:close/>
                <a:moveTo>
                  <a:pt x="1888007" y="2537803"/>
                </a:moveTo>
                <a:lnTo>
                  <a:pt x="1888007" y="2505570"/>
                </a:lnTo>
                <a:lnTo>
                  <a:pt x="1920240" y="2505570"/>
                </a:lnTo>
                <a:lnTo>
                  <a:pt x="1920240" y="2473338"/>
                </a:lnTo>
                <a:lnTo>
                  <a:pt x="1888007" y="2473338"/>
                </a:lnTo>
                <a:lnTo>
                  <a:pt x="1888007" y="2441105"/>
                </a:lnTo>
                <a:lnTo>
                  <a:pt x="1855775" y="2441105"/>
                </a:lnTo>
                <a:lnTo>
                  <a:pt x="1855775" y="2473338"/>
                </a:lnTo>
                <a:lnTo>
                  <a:pt x="1823542" y="2473338"/>
                </a:lnTo>
                <a:lnTo>
                  <a:pt x="1823542" y="2505570"/>
                </a:lnTo>
                <a:lnTo>
                  <a:pt x="1855775" y="2505570"/>
                </a:lnTo>
                <a:lnTo>
                  <a:pt x="1855775" y="2537803"/>
                </a:lnTo>
                <a:lnTo>
                  <a:pt x="1888007" y="2537803"/>
                </a:lnTo>
                <a:close/>
                <a:moveTo>
                  <a:pt x="2505227" y="2400643"/>
                </a:moveTo>
                <a:lnTo>
                  <a:pt x="2505227" y="2368410"/>
                </a:lnTo>
                <a:lnTo>
                  <a:pt x="2537460" y="2368410"/>
                </a:lnTo>
                <a:lnTo>
                  <a:pt x="2537460" y="2336178"/>
                </a:lnTo>
                <a:lnTo>
                  <a:pt x="2505227" y="2336178"/>
                </a:lnTo>
                <a:lnTo>
                  <a:pt x="2505227" y="2303945"/>
                </a:lnTo>
                <a:lnTo>
                  <a:pt x="2472995" y="2303945"/>
                </a:lnTo>
                <a:lnTo>
                  <a:pt x="2472995" y="2336178"/>
                </a:lnTo>
                <a:lnTo>
                  <a:pt x="2440762" y="2336178"/>
                </a:lnTo>
                <a:lnTo>
                  <a:pt x="2440762" y="2368410"/>
                </a:lnTo>
                <a:lnTo>
                  <a:pt x="2472995" y="2368410"/>
                </a:lnTo>
                <a:lnTo>
                  <a:pt x="2472995" y="2400643"/>
                </a:lnTo>
                <a:lnTo>
                  <a:pt x="2505227" y="2400643"/>
                </a:lnTo>
                <a:close/>
                <a:moveTo>
                  <a:pt x="2573807" y="2263483"/>
                </a:moveTo>
                <a:lnTo>
                  <a:pt x="2573807" y="2231250"/>
                </a:lnTo>
                <a:lnTo>
                  <a:pt x="2606040" y="2231250"/>
                </a:lnTo>
                <a:lnTo>
                  <a:pt x="2606040" y="2199018"/>
                </a:lnTo>
                <a:lnTo>
                  <a:pt x="2573807" y="2199018"/>
                </a:lnTo>
                <a:lnTo>
                  <a:pt x="2573807" y="2166785"/>
                </a:lnTo>
                <a:lnTo>
                  <a:pt x="2541575" y="2166785"/>
                </a:lnTo>
                <a:lnTo>
                  <a:pt x="2541575" y="2199018"/>
                </a:lnTo>
                <a:lnTo>
                  <a:pt x="2509342" y="2199018"/>
                </a:lnTo>
                <a:lnTo>
                  <a:pt x="2509342" y="2231250"/>
                </a:lnTo>
                <a:lnTo>
                  <a:pt x="2541575" y="2231250"/>
                </a:lnTo>
                <a:lnTo>
                  <a:pt x="2541575" y="2263483"/>
                </a:lnTo>
                <a:lnTo>
                  <a:pt x="2573807" y="2263483"/>
                </a:lnTo>
                <a:close/>
                <a:moveTo>
                  <a:pt x="2642387" y="2400643"/>
                </a:moveTo>
                <a:lnTo>
                  <a:pt x="2642387" y="2368410"/>
                </a:lnTo>
                <a:lnTo>
                  <a:pt x="2674620" y="2368410"/>
                </a:lnTo>
                <a:lnTo>
                  <a:pt x="2674620" y="2336178"/>
                </a:lnTo>
                <a:lnTo>
                  <a:pt x="2642387" y="2336178"/>
                </a:lnTo>
                <a:lnTo>
                  <a:pt x="2642387" y="2303945"/>
                </a:lnTo>
                <a:lnTo>
                  <a:pt x="2610155" y="2303945"/>
                </a:lnTo>
                <a:lnTo>
                  <a:pt x="2610155" y="2336178"/>
                </a:lnTo>
                <a:lnTo>
                  <a:pt x="2577922" y="2336178"/>
                </a:lnTo>
                <a:lnTo>
                  <a:pt x="2577922" y="2368410"/>
                </a:lnTo>
                <a:lnTo>
                  <a:pt x="2610155" y="2368410"/>
                </a:lnTo>
                <a:lnTo>
                  <a:pt x="2610155" y="2400643"/>
                </a:lnTo>
                <a:lnTo>
                  <a:pt x="2642387" y="2400643"/>
                </a:lnTo>
                <a:close/>
                <a:moveTo>
                  <a:pt x="2436647" y="2537803"/>
                </a:moveTo>
                <a:lnTo>
                  <a:pt x="2436647" y="2505570"/>
                </a:lnTo>
                <a:lnTo>
                  <a:pt x="2468880" y="2505570"/>
                </a:lnTo>
                <a:lnTo>
                  <a:pt x="2468880" y="2473338"/>
                </a:lnTo>
                <a:lnTo>
                  <a:pt x="2436647" y="2473338"/>
                </a:lnTo>
                <a:lnTo>
                  <a:pt x="2436647" y="2441105"/>
                </a:lnTo>
                <a:lnTo>
                  <a:pt x="2404415" y="2441105"/>
                </a:lnTo>
                <a:lnTo>
                  <a:pt x="2404415" y="2473338"/>
                </a:lnTo>
                <a:lnTo>
                  <a:pt x="2372182" y="2473338"/>
                </a:lnTo>
                <a:lnTo>
                  <a:pt x="2372182" y="2505570"/>
                </a:lnTo>
                <a:lnTo>
                  <a:pt x="2404415" y="2505570"/>
                </a:lnTo>
                <a:lnTo>
                  <a:pt x="2404415" y="2537803"/>
                </a:lnTo>
                <a:lnTo>
                  <a:pt x="2436647" y="2537803"/>
                </a:lnTo>
                <a:close/>
                <a:moveTo>
                  <a:pt x="2299487" y="2537803"/>
                </a:moveTo>
                <a:lnTo>
                  <a:pt x="2299487" y="2505570"/>
                </a:lnTo>
                <a:lnTo>
                  <a:pt x="2331720" y="2505570"/>
                </a:lnTo>
                <a:lnTo>
                  <a:pt x="2331720" y="2473338"/>
                </a:lnTo>
                <a:lnTo>
                  <a:pt x="2299487" y="2473338"/>
                </a:lnTo>
                <a:lnTo>
                  <a:pt x="2299487" y="2441105"/>
                </a:lnTo>
                <a:lnTo>
                  <a:pt x="2267255" y="2441105"/>
                </a:lnTo>
                <a:lnTo>
                  <a:pt x="2267255" y="2473338"/>
                </a:lnTo>
                <a:lnTo>
                  <a:pt x="2235022" y="2473338"/>
                </a:lnTo>
                <a:lnTo>
                  <a:pt x="2235022" y="2505570"/>
                </a:lnTo>
                <a:lnTo>
                  <a:pt x="2267255" y="2505570"/>
                </a:lnTo>
                <a:lnTo>
                  <a:pt x="2267255" y="2537803"/>
                </a:lnTo>
                <a:lnTo>
                  <a:pt x="2299487" y="2537803"/>
                </a:lnTo>
                <a:close/>
                <a:moveTo>
                  <a:pt x="2230907" y="2400643"/>
                </a:moveTo>
                <a:lnTo>
                  <a:pt x="2230907" y="2368410"/>
                </a:lnTo>
                <a:lnTo>
                  <a:pt x="2263140" y="2368410"/>
                </a:lnTo>
                <a:lnTo>
                  <a:pt x="2263140" y="2336178"/>
                </a:lnTo>
                <a:lnTo>
                  <a:pt x="2230907" y="2336178"/>
                </a:lnTo>
                <a:lnTo>
                  <a:pt x="2230907" y="2303945"/>
                </a:lnTo>
                <a:lnTo>
                  <a:pt x="2198675" y="2303945"/>
                </a:lnTo>
                <a:lnTo>
                  <a:pt x="2198675" y="2336178"/>
                </a:lnTo>
                <a:lnTo>
                  <a:pt x="2166442" y="2336178"/>
                </a:lnTo>
                <a:lnTo>
                  <a:pt x="2166442" y="2368410"/>
                </a:lnTo>
                <a:lnTo>
                  <a:pt x="2198675" y="2368410"/>
                </a:lnTo>
                <a:lnTo>
                  <a:pt x="2198675" y="2400643"/>
                </a:lnTo>
                <a:lnTo>
                  <a:pt x="2230907" y="2400643"/>
                </a:lnTo>
                <a:close/>
                <a:moveTo>
                  <a:pt x="2162327" y="2537803"/>
                </a:moveTo>
                <a:lnTo>
                  <a:pt x="2162327" y="2505570"/>
                </a:lnTo>
                <a:lnTo>
                  <a:pt x="2194560" y="2505570"/>
                </a:lnTo>
                <a:lnTo>
                  <a:pt x="2194560" y="2473338"/>
                </a:lnTo>
                <a:lnTo>
                  <a:pt x="2162327" y="2473338"/>
                </a:lnTo>
                <a:lnTo>
                  <a:pt x="2162327" y="2441105"/>
                </a:lnTo>
                <a:lnTo>
                  <a:pt x="2130095" y="2441105"/>
                </a:lnTo>
                <a:lnTo>
                  <a:pt x="2130095" y="2473338"/>
                </a:lnTo>
                <a:lnTo>
                  <a:pt x="2097862" y="2473338"/>
                </a:lnTo>
                <a:lnTo>
                  <a:pt x="2097862" y="2505570"/>
                </a:lnTo>
                <a:lnTo>
                  <a:pt x="2130095" y="2505570"/>
                </a:lnTo>
                <a:lnTo>
                  <a:pt x="2130095" y="2537803"/>
                </a:lnTo>
                <a:lnTo>
                  <a:pt x="2162327" y="2537803"/>
                </a:lnTo>
                <a:close/>
                <a:moveTo>
                  <a:pt x="2368067" y="2400643"/>
                </a:moveTo>
                <a:lnTo>
                  <a:pt x="2368067" y="2368410"/>
                </a:lnTo>
                <a:lnTo>
                  <a:pt x="2400300" y="2368410"/>
                </a:lnTo>
                <a:lnTo>
                  <a:pt x="2400300" y="2336178"/>
                </a:lnTo>
                <a:lnTo>
                  <a:pt x="2368067" y="2336178"/>
                </a:lnTo>
                <a:lnTo>
                  <a:pt x="2368067" y="2303945"/>
                </a:lnTo>
                <a:lnTo>
                  <a:pt x="2335835" y="2303945"/>
                </a:lnTo>
                <a:lnTo>
                  <a:pt x="2335835" y="2336178"/>
                </a:lnTo>
                <a:lnTo>
                  <a:pt x="2303602" y="2336178"/>
                </a:lnTo>
                <a:lnTo>
                  <a:pt x="2303602" y="2368410"/>
                </a:lnTo>
                <a:lnTo>
                  <a:pt x="2335835" y="2368410"/>
                </a:lnTo>
                <a:lnTo>
                  <a:pt x="2335835" y="2400643"/>
                </a:lnTo>
                <a:lnTo>
                  <a:pt x="2368067" y="2400643"/>
                </a:lnTo>
                <a:close/>
                <a:moveTo>
                  <a:pt x="2093747" y="2400643"/>
                </a:moveTo>
                <a:lnTo>
                  <a:pt x="2093747" y="2368410"/>
                </a:lnTo>
                <a:lnTo>
                  <a:pt x="2125980" y="2368410"/>
                </a:lnTo>
                <a:lnTo>
                  <a:pt x="2125980" y="2336178"/>
                </a:lnTo>
                <a:lnTo>
                  <a:pt x="2093747" y="2336178"/>
                </a:lnTo>
                <a:lnTo>
                  <a:pt x="2093747" y="2303945"/>
                </a:lnTo>
                <a:lnTo>
                  <a:pt x="2061515" y="2303945"/>
                </a:lnTo>
                <a:lnTo>
                  <a:pt x="2061515" y="2336178"/>
                </a:lnTo>
                <a:lnTo>
                  <a:pt x="2029282" y="2336178"/>
                </a:lnTo>
                <a:lnTo>
                  <a:pt x="2029282" y="2368410"/>
                </a:lnTo>
                <a:lnTo>
                  <a:pt x="2061515" y="2368410"/>
                </a:lnTo>
                <a:lnTo>
                  <a:pt x="2061515" y="2400643"/>
                </a:lnTo>
                <a:lnTo>
                  <a:pt x="2093747" y="2400643"/>
                </a:lnTo>
                <a:close/>
                <a:moveTo>
                  <a:pt x="897026" y="1347597"/>
                </a:moveTo>
                <a:lnTo>
                  <a:pt x="897026" y="1377429"/>
                </a:lnTo>
                <a:lnTo>
                  <a:pt x="867194" y="1377429"/>
                </a:lnTo>
                <a:lnTo>
                  <a:pt x="867194" y="1406919"/>
                </a:lnTo>
                <a:lnTo>
                  <a:pt x="897026" y="1406919"/>
                </a:lnTo>
                <a:lnTo>
                  <a:pt x="897026" y="1436751"/>
                </a:lnTo>
                <a:lnTo>
                  <a:pt x="926516" y="1436751"/>
                </a:lnTo>
                <a:lnTo>
                  <a:pt x="926516" y="1406919"/>
                </a:lnTo>
                <a:lnTo>
                  <a:pt x="956348" y="1406919"/>
                </a:lnTo>
                <a:lnTo>
                  <a:pt x="956348" y="1377429"/>
                </a:lnTo>
                <a:lnTo>
                  <a:pt x="926516" y="1377429"/>
                </a:lnTo>
                <a:lnTo>
                  <a:pt x="926516" y="1347597"/>
                </a:lnTo>
                <a:lnTo>
                  <a:pt x="897026" y="1347597"/>
                </a:lnTo>
                <a:close/>
                <a:moveTo>
                  <a:pt x="1131570" y="2943111"/>
                </a:moveTo>
                <a:lnTo>
                  <a:pt x="1131570" y="2914993"/>
                </a:lnTo>
                <a:lnTo>
                  <a:pt x="1159688" y="2914993"/>
                </a:lnTo>
                <a:lnTo>
                  <a:pt x="1159688" y="2886875"/>
                </a:lnTo>
                <a:lnTo>
                  <a:pt x="1131570" y="2886875"/>
                </a:lnTo>
                <a:lnTo>
                  <a:pt x="1131570" y="2858757"/>
                </a:lnTo>
                <a:lnTo>
                  <a:pt x="1103452" y="2858757"/>
                </a:lnTo>
                <a:lnTo>
                  <a:pt x="1103452" y="2886875"/>
                </a:lnTo>
                <a:lnTo>
                  <a:pt x="1075334" y="2886875"/>
                </a:lnTo>
                <a:lnTo>
                  <a:pt x="1075334" y="2914993"/>
                </a:lnTo>
                <a:lnTo>
                  <a:pt x="1103452" y="2914993"/>
                </a:lnTo>
                <a:lnTo>
                  <a:pt x="1103452" y="2943111"/>
                </a:lnTo>
                <a:lnTo>
                  <a:pt x="1131570" y="2943111"/>
                </a:lnTo>
                <a:close/>
                <a:moveTo>
                  <a:pt x="1061618" y="3076156"/>
                </a:moveTo>
                <a:lnTo>
                  <a:pt x="1061618" y="3050781"/>
                </a:lnTo>
                <a:lnTo>
                  <a:pt x="1086993" y="3050781"/>
                </a:lnTo>
                <a:lnTo>
                  <a:pt x="1086993" y="3025407"/>
                </a:lnTo>
                <a:lnTo>
                  <a:pt x="1061618" y="3025407"/>
                </a:lnTo>
                <a:lnTo>
                  <a:pt x="1061618" y="3000032"/>
                </a:lnTo>
                <a:lnTo>
                  <a:pt x="1036244" y="3000032"/>
                </a:lnTo>
                <a:lnTo>
                  <a:pt x="1036244" y="3025407"/>
                </a:lnTo>
                <a:lnTo>
                  <a:pt x="1010869" y="3025407"/>
                </a:lnTo>
                <a:lnTo>
                  <a:pt x="1010869" y="3050781"/>
                </a:lnTo>
                <a:lnTo>
                  <a:pt x="1036244" y="3050781"/>
                </a:lnTo>
                <a:lnTo>
                  <a:pt x="1036244" y="3076156"/>
                </a:lnTo>
                <a:lnTo>
                  <a:pt x="1061618" y="3076156"/>
                </a:lnTo>
                <a:close/>
                <a:moveTo>
                  <a:pt x="650138" y="2527516"/>
                </a:moveTo>
                <a:lnTo>
                  <a:pt x="650138" y="2502141"/>
                </a:lnTo>
                <a:lnTo>
                  <a:pt x="675513" y="2502141"/>
                </a:lnTo>
                <a:lnTo>
                  <a:pt x="675513" y="2476767"/>
                </a:lnTo>
                <a:lnTo>
                  <a:pt x="650138" y="2476767"/>
                </a:lnTo>
                <a:lnTo>
                  <a:pt x="650138" y="2451392"/>
                </a:lnTo>
                <a:lnTo>
                  <a:pt x="624764" y="2451392"/>
                </a:lnTo>
                <a:lnTo>
                  <a:pt x="624764" y="2476767"/>
                </a:lnTo>
                <a:lnTo>
                  <a:pt x="599389" y="2476767"/>
                </a:lnTo>
                <a:lnTo>
                  <a:pt x="599389" y="2502141"/>
                </a:lnTo>
                <a:lnTo>
                  <a:pt x="624764" y="2502141"/>
                </a:lnTo>
                <a:lnTo>
                  <a:pt x="624764" y="2527516"/>
                </a:lnTo>
                <a:lnTo>
                  <a:pt x="650138" y="2527516"/>
                </a:lnTo>
                <a:close/>
                <a:moveTo>
                  <a:pt x="1267358" y="3213316"/>
                </a:moveTo>
                <a:lnTo>
                  <a:pt x="1267358" y="3187941"/>
                </a:lnTo>
                <a:lnTo>
                  <a:pt x="1292733" y="3187941"/>
                </a:lnTo>
                <a:lnTo>
                  <a:pt x="1292733" y="3162567"/>
                </a:lnTo>
                <a:lnTo>
                  <a:pt x="1267358" y="3162567"/>
                </a:lnTo>
                <a:lnTo>
                  <a:pt x="1267358" y="3137192"/>
                </a:lnTo>
                <a:lnTo>
                  <a:pt x="1241984" y="3137192"/>
                </a:lnTo>
                <a:lnTo>
                  <a:pt x="1241984" y="3162567"/>
                </a:lnTo>
                <a:lnTo>
                  <a:pt x="1216609" y="3162567"/>
                </a:lnTo>
                <a:lnTo>
                  <a:pt x="1216609" y="3187941"/>
                </a:lnTo>
                <a:lnTo>
                  <a:pt x="1241984" y="3187941"/>
                </a:lnTo>
                <a:lnTo>
                  <a:pt x="1241984" y="3213316"/>
                </a:lnTo>
                <a:lnTo>
                  <a:pt x="1267358" y="3213316"/>
                </a:lnTo>
                <a:close/>
                <a:moveTo>
                  <a:pt x="1337310" y="3080271"/>
                </a:moveTo>
                <a:lnTo>
                  <a:pt x="1337310" y="3052153"/>
                </a:lnTo>
                <a:lnTo>
                  <a:pt x="1365428" y="3052153"/>
                </a:lnTo>
                <a:lnTo>
                  <a:pt x="1365428" y="3024035"/>
                </a:lnTo>
                <a:lnTo>
                  <a:pt x="1337310" y="3024035"/>
                </a:lnTo>
                <a:lnTo>
                  <a:pt x="1337310" y="2995917"/>
                </a:lnTo>
                <a:lnTo>
                  <a:pt x="1309192" y="2995917"/>
                </a:lnTo>
                <a:lnTo>
                  <a:pt x="1309192" y="3024035"/>
                </a:lnTo>
                <a:lnTo>
                  <a:pt x="1281074" y="3024035"/>
                </a:lnTo>
                <a:lnTo>
                  <a:pt x="1281074" y="3052153"/>
                </a:lnTo>
                <a:lnTo>
                  <a:pt x="1309192" y="3052153"/>
                </a:lnTo>
                <a:lnTo>
                  <a:pt x="1309192" y="3080271"/>
                </a:lnTo>
                <a:lnTo>
                  <a:pt x="1337310" y="3080271"/>
                </a:lnTo>
                <a:close/>
                <a:moveTo>
                  <a:pt x="993381" y="2940368"/>
                </a:moveTo>
                <a:lnTo>
                  <a:pt x="993381" y="2913964"/>
                </a:lnTo>
                <a:lnTo>
                  <a:pt x="1019785" y="2913964"/>
                </a:lnTo>
                <a:lnTo>
                  <a:pt x="1019785" y="2887904"/>
                </a:lnTo>
                <a:lnTo>
                  <a:pt x="993381" y="2887904"/>
                </a:lnTo>
                <a:lnTo>
                  <a:pt x="993381" y="2861501"/>
                </a:lnTo>
                <a:lnTo>
                  <a:pt x="967321" y="2861501"/>
                </a:lnTo>
                <a:lnTo>
                  <a:pt x="967321" y="2887904"/>
                </a:lnTo>
                <a:lnTo>
                  <a:pt x="940918" y="2887904"/>
                </a:lnTo>
                <a:lnTo>
                  <a:pt x="940918" y="2913964"/>
                </a:lnTo>
                <a:lnTo>
                  <a:pt x="967321" y="2913964"/>
                </a:lnTo>
                <a:lnTo>
                  <a:pt x="967321" y="2940368"/>
                </a:lnTo>
                <a:lnTo>
                  <a:pt x="993381" y="2940368"/>
                </a:lnTo>
                <a:close/>
                <a:moveTo>
                  <a:pt x="786955" y="2801150"/>
                </a:moveTo>
                <a:lnTo>
                  <a:pt x="786955" y="2776118"/>
                </a:lnTo>
                <a:lnTo>
                  <a:pt x="811987" y="2776118"/>
                </a:lnTo>
                <a:lnTo>
                  <a:pt x="811987" y="2751430"/>
                </a:lnTo>
                <a:lnTo>
                  <a:pt x="786955" y="2751430"/>
                </a:lnTo>
                <a:lnTo>
                  <a:pt x="786955" y="2726398"/>
                </a:lnTo>
                <a:lnTo>
                  <a:pt x="762267" y="2726398"/>
                </a:lnTo>
                <a:lnTo>
                  <a:pt x="762267" y="2751430"/>
                </a:lnTo>
                <a:lnTo>
                  <a:pt x="737235" y="2751430"/>
                </a:lnTo>
                <a:lnTo>
                  <a:pt x="737235" y="2776118"/>
                </a:lnTo>
                <a:lnTo>
                  <a:pt x="762267" y="2776118"/>
                </a:lnTo>
                <a:lnTo>
                  <a:pt x="762267" y="2801150"/>
                </a:lnTo>
                <a:lnTo>
                  <a:pt x="786955" y="2801150"/>
                </a:lnTo>
                <a:close/>
                <a:moveTo>
                  <a:pt x="925487" y="2804579"/>
                </a:moveTo>
                <a:lnTo>
                  <a:pt x="925487" y="2777490"/>
                </a:lnTo>
                <a:lnTo>
                  <a:pt x="952576" y="2777490"/>
                </a:lnTo>
                <a:lnTo>
                  <a:pt x="952576" y="2750058"/>
                </a:lnTo>
                <a:lnTo>
                  <a:pt x="925487" y="2750058"/>
                </a:lnTo>
                <a:lnTo>
                  <a:pt x="925487" y="2722969"/>
                </a:lnTo>
                <a:lnTo>
                  <a:pt x="898055" y="2722969"/>
                </a:lnTo>
                <a:lnTo>
                  <a:pt x="898055" y="2750058"/>
                </a:lnTo>
                <a:lnTo>
                  <a:pt x="870966" y="2750058"/>
                </a:lnTo>
                <a:lnTo>
                  <a:pt x="870966" y="2777490"/>
                </a:lnTo>
                <a:lnTo>
                  <a:pt x="898055" y="2777490"/>
                </a:lnTo>
                <a:lnTo>
                  <a:pt x="898055" y="2804579"/>
                </a:lnTo>
                <a:lnTo>
                  <a:pt x="925487" y="2804579"/>
                </a:lnTo>
                <a:close/>
                <a:moveTo>
                  <a:pt x="718718" y="2664676"/>
                </a:moveTo>
                <a:lnTo>
                  <a:pt x="718718" y="2639301"/>
                </a:lnTo>
                <a:lnTo>
                  <a:pt x="744093" y="2639301"/>
                </a:lnTo>
                <a:lnTo>
                  <a:pt x="744093" y="2613927"/>
                </a:lnTo>
                <a:lnTo>
                  <a:pt x="718718" y="2613927"/>
                </a:lnTo>
                <a:lnTo>
                  <a:pt x="718718" y="2588552"/>
                </a:lnTo>
                <a:lnTo>
                  <a:pt x="693344" y="2588552"/>
                </a:lnTo>
                <a:lnTo>
                  <a:pt x="693344" y="2613927"/>
                </a:lnTo>
                <a:lnTo>
                  <a:pt x="667969" y="2613927"/>
                </a:lnTo>
                <a:lnTo>
                  <a:pt x="667969" y="2639301"/>
                </a:lnTo>
                <a:lnTo>
                  <a:pt x="693344" y="2639301"/>
                </a:lnTo>
                <a:lnTo>
                  <a:pt x="693344" y="2664676"/>
                </a:lnTo>
                <a:lnTo>
                  <a:pt x="718718" y="2664676"/>
                </a:lnTo>
                <a:close/>
                <a:moveTo>
                  <a:pt x="856907" y="2668105"/>
                </a:moveTo>
                <a:lnTo>
                  <a:pt x="856907" y="2640330"/>
                </a:lnTo>
                <a:lnTo>
                  <a:pt x="884682" y="2640330"/>
                </a:lnTo>
                <a:lnTo>
                  <a:pt x="884682" y="2612898"/>
                </a:lnTo>
                <a:lnTo>
                  <a:pt x="856907" y="2612898"/>
                </a:lnTo>
                <a:lnTo>
                  <a:pt x="856907" y="2585123"/>
                </a:lnTo>
                <a:lnTo>
                  <a:pt x="829475" y="2585123"/>
                </a:lnTo>
                <a:lnTo>
                  <a:pt x="829475" y="2612898"/>
                </a:lnTo>
                <a:lnTo>
                  <a:pt x="801700" y="2612898"/>
                </a:lnTo>
                <a:lnTo>
                  <a:pt x="801700" y="2640330"/>
                </a:lnTo>
                <a:lnTo>
                  <a:pt x="829475" y="2640330"/>
                </a:lnTo>
                <a:lnTo>
                  <a:pt x="829475" y="2668105"/>
                </a:lnTo>
                <a:lnTo>
                  <a:pt x="856907" y="2668105"/>
                </a:lnTo>
                <a:close/>
                <a:moveTo>
                  <a:pt x="1199464" y="3078213"/>
                </a:moveTo>
                <a:lnTo>
                  <a:pt x="1199464" y="3051467"/>
                </a:lnTo>
                <a:lnTo>
                  <a:pt x="1226210" y="3051467"/>
                </a:lnTo>
                <a:lnTo>
                  <a:pt x="1226210" y="3024721"/>
                </a:lnTo>
                <a:lnTo>
                  <a:pt x="1199464" y="3024721"/>
                </a:lnTo>
                <a:lnTo>
                  <a:pt x="1199464" y="2997975"/>
                </a:lnTo>
                <a:lnTo>
                  <a:pt x="1172718" y="2997975"/>
                </a:lnTo>
                <a:lnTo>
                  <a:pt x="1172718" y="3024721"/>
                </a:lnTo>
                <a:lnTo>
                  <a:pt x="1145972" y="3024721"/>
                </a:lnTo>
                <a:lnTo>
                  <a:pt x="1145972" y="3051467"/>
                </a:lnTo>
                <a:lnTo>
                  <a:pt x="1172718" y="3051467"/>
                </a:lnTo>
                <a:lnTo>
                  <a:pt x="1172718" y="3078213"/>
                </a:lnTo>
                <a:lnTo>
                  <a:pt x="1199464" y="3078213"/>
                </a:lnTo>
                <a:close/>
                <a:moveTo>
                  <a:pt x="1884921" y="3351505"/>
                </a:moveTo>
                <a:lnTo>
                  <a:pt x="1884921" y="3325444"/>
                </a:lnTo>
                <a:lnTo>
                  <a:pt x="1910982" y="3325444"/>
                </a:lnTo>
                <a:lnTo>
                  <a:pt x="1910982" y="3299384"/>
                </a:lnTo>
                <a:lnTo>
                  <a:pt x="1884921" y="3299384"/>
                </a:lnTo>
                <a:lnTo>
                  <a:pt x="1884921" y="3273323"/>
                </a:lnTo>
                <a:lnTo>
                  <a:pt x="1858861" y="3273323"/>
                </a:lnTo>
                <a:lnTo>
                  <a:pt x="1858861" y="3299384"/>
                </a:lnTo>
                <a:lnTo>
                  <a:pt x="1832800" y="3299384"/>
                </a:lnTo>
                <a:lnTo>
                  <a:pt x="1832800" y="3325444"/>
                </a:lnTo>
                <a:lnTo>
                  <a:pt x="1858861" y="3325444"/>
                </a:lnTo>
                <a:lnTo>
                  <a:pt x="1858861" y="3351505"/>
                </a:lnTo>
                <a:lnTo>
                  <a:pt x="1884921" y="3351505"/>
                </a:lnTo>
                <a:close/>
                <a:moveTo>
                  <a:pt x="2022081" y="3351505"/>
                </a:moveTo>
                <a:lnTo>
                  <a:pt x="2022081" y="3325444"/>
                </a:lnTo>
                <a:lnTo>
                  <a:pt x="2048142" y="3325444"/>
                </a:lnTo>
                <a:lnTo>
                  <a:pt x="2048142" y="3299384"/>
                </a:lnTo>
                <a:lnTo>
                  <a:pt x="2022081" y="3299384"/>
                </a:lnTo>
                <a:lnTo>
                  <a:pt x="2022081" y="3273323"/>
                </a:lnTo>
                <a:lnTo>
                  <a:pt x="1996021" y="3273323"/>
                </a:lnTo>
                <a:lnTo>
                  <a:pt x="1996021" y="3299384"/>
                </a:lnTo>
                <a:lnTo>
                  <a:pt x="1969960" y="3299384"/>
                </a:lnTo>
                <a:lnTo>
                  <a:pt x="1969960" y="3325444"/>
                </a:lnTo>
                <a:lnTo>
                  <a:pt x="1996021" y="3325444"/>
                </a:lnTo>
                <a:lnTo>
                  <a:pt x="1996021" y="3351505"/>
                </a:lnTo>
                <a:lnTo>
                  <a:pt x="2022081" y="3351505"/>
                </a:lnTo>
                <a:close/>
                <a:moveTo>
                  <a:pt x="1954873" y="3218117"/>
                </a:moveTo>
                <a:lnTo>
                  <a:pt x="1954873" y="3189656"/>
                </a:lnTo>
                <a:lnTo>
                  <a:pt x="1983334" y="3189656"/>
                </a:lnTo>
                <a:lnTo>
                  <a:pt x="1983334" y="3160852"/>
                </a:lnTo>
                <a:lnTo>
                  <a:pt x="1954873" y="3160852"/>
                </a:lnTo>
                <a:lnTo>
                  <a:pt x="1954873" y="3132392"/>
                </a:lnTo>
                <a:lnTo>
                  <a:pt x="1926069" y="3132392"/>
                </a:lnTo>
                <a:lnTo>
                  <a:pt x="1926069" y="3160852"/>
                </a:lnTo>
                <a:lnTo>
                  <a:pt x="1897609" y="3160852"/>
                </a:lnTo>
                <a:lnTo>
                  <a:pt x="1897609" y="3189656"/>
                </a:lnTo>
                <a:lnTo>
                  <a:pt x="1926069" y="3189656"/>
                </a:lnTo>
                <a:lnTo>
                  <a:pt x="1926069" y="3218117"/>
                </a:lnTo>
                <a:lnTo>
                  <a:pt x="1954873" y="3218117"/>
                </a:lnTo>
                <a:close/>
                <a:moveTo>
                  <a:pt x="1747761" y="3351162"/>
                </a:moveTo>
                <a:lnTo>
                  <a:pt x="1747761" y="3325444"/>
                </a:lnTo>
                <a:lnTo>
                  <a:pt x="1773479" y="3325444"/>
                </a:lnTo>
                <a:lnTo>
                  <a:pt x="1773479" y="3299384"/>
                </a:lnTo>
                <a:lnTo>
                  <a:pt x="1747761" y="3299384"/>
                </a:lnTo>
                <a:lnTo>
                  <a:pt x="1747761" y="3273666"/>
                </a:lnTo>
                <a:lnTo>
                  <a:pt x="1721701" y="3273666"/>
                </a:lnTo>
                <a:lnTo>
                  <a:pt x="1721701" y="3299384"/>
                </a:lnTo>
                <a:lnTo>
                  <a:pt x="1695983" y="3299384"/>
                </a:lnTo>
                <a:lnTo>
                  <a:pt x="1695983" y="3325444"/>
                </a:lnTo>
                <a:lnTo>
                  <a:pt x="1721701" y="3325444"/>
                </a:lnTo>
                <a:lnTo>
                  <a:pt x="1721701" y="3351162"/>
                </a:lnTo>
                <a:lnTo>
                  <a:pt x="1747761" y="3351162"/>
                </a:lnTo>
                <a:close/>
                <a:moveTo>
                  <a:pt x="1817370" y="3217774"/>
                </a:moveTo>
                <a:lnTo>
                  <a:pt x="1817370" y="3189313"/>
                </a:lnTo>
                <a:lnTo>
                  <a:pt x="1845831" y="3189313"/>
                </a:lnTo>
                <a:lnTo>
                  <a:pt x="1845831" y="3161195"/>
                </a:lnTo>
                <a:lnTo>
                  <a:pt x="1817370" y="3161195"/>
                </a:lnTo>
                <a:lnTo>
                  <a:pt x="1817370" y="3132734"/>
                </a:lnTo>
                <a:lnTo>
                  <a:pt x="1789252" y="3132734"/>
                </a:lnTo>
                <a:lnTo>
                  <a:pt x="1789252" y="3161195"/>
                </a:lnTo>
                <a:lnTo>
                  <a:pt x="1760791" y="3161195"/>
                </a:lnTo>
                <a:lnTo>
                  <a:pt x="1760791" y="3189313"/>
                </a:lnTo>
                <a:lnTo>
                  <a:pt x="1789252" y="3189313"/>
                </a:lnTo>
                <a:lnTo>
                  <a:pt x="1789252" y="3217774"/>
                </a:lnTo>
                <a:lnTo>
                  <a:pt x="1817370" y="3217774"/>
                </a:lnTo>
                <a:close/>
                <a:moveTo>
                  <a:pt x="1475156" y="3081985"/>
                </a:moveTo>
                <a:lnTo>
                  <a:pt x="1475156" y="3052839"/>
                </a:lnTo>
                <a:lnTo>
                  <a:pt x="1504302" y="3052839"/>
                </a:lnTo>
                <a:lnTo>
                  <a:pt x="1504302" y="3023349"/>
                </a:lnTo>
                <a:lnTo>
                  <a:pt x="1475156" y="3023349"/>
                </a:lnTo>
                <a:lnTo>
                  <a:pt x="1475156" y="2994203"/>
                </a:lnTo>
                <a:lnTo>
                  <a:pt x="1445666" y="2994203"/>
                </a:lnTo>
                <a:lnTo>
                  <a:pt x="1445666" y="3023349"/>
                </a:lnTo>
                <a:lnTo>
                  <a:pt x="1416520" y="3023349"/>
                </a:lnTo>
                <a:lnTo>
                  <a:pt x="1416520" y="3052839"/>
                </a:lnTo>
                <a:lnTo>
                  <a:pt x="1445666" y="3052839"/>
                </a:lnTo>
                <a:lnTo>
                  <a:pt x="1445666" y="3081985"/>
                </a:lnTo>
                <a:lnTo>
                  <a:pt x="1475156" y="3081985"/>
                </a:lnTo>
                <a:close/>
                <a:moveTo>
                  <a:pt x="1680210" y="3217431"/>
                </a:moveTo>
                <a:lnTo>
                  <a:pt x="1680210" y="3189313"/>
                </a:lnTo>
                <a:lnTo>
                  <a:pt x="1708328" y="3189313"/>
                </a:lnTo>
                <a:lnTo>
                  <a:pt x="1708328" y="3161195"/>
                </a:lnTo>
                <a:lnTo>
                  <a:pt x="1680210" y="3161195"/>
                </a:lnTo>
                <a:lnTo>
                  <a:pt x="1680210" y="3133077"/>
                </a:lnTo>
                <a:lnTo>
                  <a:pt x="1652092" y="3133077"/>
                </a:lnTo>
                <a:lnTo>
                  <a:pt x="1652092" y="3161195"/>
                </a:lnTo>
                <a:lnTo>
                  <a:pt x="1623974" y="3161195"/>
                </a:lnTo>
                <a:lnTo>
                  <a:pt x="1623974" y="3189313"/>
                </a:lnTo>
                <a:lnTo>
                  <a:pt x="1652092" y="3189313"/>
                </a:lnTo>
                <a:lnTo>
                  <a:pt x="1652092" y="3217431"/>
                </a:lnTo>
                <a:lnTo>
                  <a:pt x="1680210" y="3217431"/>
                </a:lnTo>
                <a:close/>
                <a:moveTo>
                  <a:pt x="1542707" y="3216402"/>
                </a:moveTo>
                <a:lnTo>
                  <a:pt x="1542707" y="3188970"/>
                </a:lnTo>
                <a:lnTo>
                  <a:pt x="1570139" y="3188970"/>
                </a:lnTo>
                <a:lnTo>
                  <a:pt x="1570139" y="3161538"/>
                </a:lnTo>
                <a:lnTo>
                  <a:pt x="1542707" y="3161538"/>
                </a:lnTo>
                <a:lnTo>
                  <a:pt x="1542707" y="3134106"/>
                </a:lnTo>
                <a:lnTo>
                  <a:pt x="1515275" y="3134106"/>
                </a:lnTo>
                <a:lnTo>
                  <a:pt x="1515275" y="3161538"/>
                </a:lnTo>
                <a:lnTo>
                  <a:pt x="1487843" y="3161538"/>
                </a:lnTo>
                <a:lnTo>
                  <a:pt x="1487843" y="3188970"/>
                </a:lnTo>
                <a:lnTo>
                  <a:pt x="1515275" y="3188970"/>
                </a:lnTo>
                <a:lnTo>
                  <a:pt x="1515275" y="3216402"/>
                </a:lnTo>
                <a:lnTo>
                  <a:pt x="1542707" y="3216402"/>
                </a:lnTo>
                <a:close/>
                <a:moveTo>
                  <a:pt x="1610258" y="3350476"/>
                </a:moveTo>
                <a:lnTo>
                  <a:pt x="1610258" y="3325101"/>
                </a:lnTo>
                <a:lnTo>
                  <a:pt x="1635633" y="3325101"/>
                </a:lnTo>
                <a:lnTo>
                  <a:pt x="1635633" y="3299727"/>
                </a:lnTo>
                <a:lnTo>
                  <a:pt x="1610258" y="3299727"/>
                </a:lnTo>
                <a:lnTo>
                  <a:pt x="1610258" y="3274352"/>
                </a:lnTo>
                <a:lnTo>
                  <a:pt x="1584884" y="3274352"/>
                </a:lnTo>
                <a:lnTo>
                  <a:pt x="1584884" y="3299727"/>
                </a:lnTo>
                <a:lnTo>
                  <a:pt x="1559509" y="3299727"/>
                </a:lnTo>
                <a:lnTo>
                  <a:pt x="1559509" y="3325101"/>
                </a:lnTo>
                <a:lnTo>
                  <a:pt x="1584884" y="3325101"/>
                </a:lnTo>
                <a:lnTo>
                  <a:pt x="1584884" y="3350476"/>
                </a:lnTo>
                <a:lnTo>
                  <a:pt x="1610258" y="3350476"/>
                </a:lnTo>
                <a:close/>
                <a:moveTo>
                  <a:pt x="1405204" y="3215030"/>
                </a:moveTo>
                <a:lnTo>
                  <a:pt x="1405204" y="3188627"/>
                </a:lnTo>
                <a:lnTo>
                  <a:pt x="1431607" y="3188627"/>
                </a:lnTo>
                <a:lnTo>
                  <a:pt x="1431607" y="3161881"/>
                </a:lnTo>
                <a:lnTo>
                  <a:pt x="1405204" y="3161881"/>
                </a:lnTo>
                <a:lnTo>
                  <a:pt x="1405204" y="3135478"/>
                </a:lnTo>
                <a:lnTo>
                  <a:pt x="1378458" y="3135478"/>
                </a:lnTo>
                <a:lnTo>
                  <a:pt x="1378458" y="3161881"/>
                </a:lnTo>
                <a:lnTo>
                  <a:pt x="1352055" y="3161881"/>
                </a:lnTo>
                <a:lnTo>
                  <a:pt x="1352055" y="3188627"/>
                </a:lnTo>
                <a:lnTo>
                  <a:pt x="1378458" y="3188627"/>
                </a:lnTo>
                <a:lnTo>
                  <a:pt x="1378458" y="3215030"/>
                </a:lnTo>
                <a:lnTo>
                  <a:pt x="1405204" y="3215030"/>
                </a:lnTo>
                <a:close/>
                <a:moveTo>
                  <a:pt x="1172718" y="803415"/>
                </a:moveTo>
                <a:lnTo>
                  <a:pt x="1172718" y="830161"/>
                </a:lnTo>
                <a:lnTo>
                  <a:pt x="1145972" y="830161"/>
                </a:lnTo>
                <a:lnTo>
                  <a:pt x="1145972" y="856907"/>
                </a:lnTo>
                <a:lnTo>
                  <a:pt x="1172718" y="856907"/>
                </a:lnTo>
                <a:lnTo>
                  <a:pt x="1172718" y="883653"/>
                </a:lnTo>
                <a:lnTo>
                  <a:pt x="1199464" y="883653"/>
                </a:lnTo>
                <a:lnTo>
                  <a:pt x="1199464" y="856907"/>
                </a:lnTo>
                <a:lnTo>
                  <a:pt x="1226210" y="856907"/>
                </a:lnTo>
                <a:lnTo>
                  <a:pt x="1226210" y="830161"/>
                </a:lnTo>
                <a:lnTo>
                  <a:pt x="1199464" y="830161"/>
                </a:lnTo>
                <a:lnTo>
                  <a:pt x="1199464" y="803415"/>
                </a:lnTo>
                <a:lnTo>
                  <a:pt x="1172718" y="803415"/>
                </a:lnTo>
                <a:close/>
                <a:moveTo>
                  <a:pt x="1241984" y="668312"/>
                </a:moveTo>
                <a:lnTo>
                  <a:pt x="1241984" y="693687"/>
                </a:lnTo>
                <a:lnTo>
                  <a:pt x="1216609" y="693687"/>
                </a:lnTo>
                <a:lnTo>
                  <a:pt x="1216609" y="719061"/>
                </a:lnTo>
                <a:lnTo>
                  <a:pt x="1241984" y="719061"/>
                </a:lnTo>
                <a:lnTo>
                  <a:pt x="1241984" y="744436"/>
                </a:lnTo>
                <a:lnTo>
                  <a:pt x="1267358" y="744436"/>
                </a:lnTo>
                <a:lnTo>
                  <a:pt x="1267358" y="719061"/>
                </a:lnTo>
                <a:lnTo>
                  <a:pt x="1292733" y="719061"/>
                </a:lnTo>
                <a:lnTo>
                  <a:pt x="1292733" y="693687"/>
                </a:lnTo>
                <a:lnTo>
                  <a:pt x="1267358" y="693687"/>
                </a:lnTo>
                <a:lnTo>
                  <a:pt x="1267358" y="668312"/>
                </a:lnTo>
                <a:lnTo>
                  <a:pt x="1241984" y="668312"/>
                </a:lnTo>
                <a:close/>
                <a:moveTo>
                  <a:pt x="1309192" y="801357"/>
                </a:moveTo>
                <a:lnTo>
                  <a:pt x="1309192" y="829475"/>
                </a:lnTo>
                <a:lnTo>
                  <a:pt x="1281074" y="829475"/>
                </a:lnTo>
                <a:lnTo>
                  <a:pt x="1281074" y="857593"/>
                </a:lnTo>
                <a:lnTo>
                  <a:pt x="1309192" y="857593"/>
                </a:lnTo>
                <a:lnTo>
                  <a:pt x="1309192" y="885711"/>
                </a:lnTo>
                <a:lnTo>
                  <a:pt x="1337310" y="885711"/>
                </a:lnTo>
                <a:lnTo>
                  <a:pt x="1337310" y="857593"/>
                </a:lnTo>
                <a:lnTo>
                  <a:pt x="1365428" y="857593"/>
                </a:lnTo>
                <a:lnTo>
                  <a:pt x="1365428" y="829475"/>
                </a:lnTo>
                <a:lnTo>
                  <a:pt x="1337310" y="829475"/>
                </a:lnTo>
                <a:lnTo>
                  <a:pt x="1337310" y="801357"/>
                </a:lnTo>
                <a:lnTo>
                  <a:pt x="1309192" y="801357"/>
                </a:lnTo>
                <a:close/>
                <a:moveTo>
                  <a:pt x="1103452" y="938517"/>
                </a:moveTo>
                <a:lnTo>
                  <a:pt x="1103452" y="966635"/>
                </a:lnTo>
                <a:lnTo>
                  <a:pt x="1075334" y="966635"/>
                </a:lnTo>
                <a:lnTo>
                  <a:pt x="1075334" y="994753"/>
                </a:lnTo>
                <a:lnTo>
                  <a:pt x="1103452" y="994753"/>
                </a:lnTo>
                <a:lnTo>
                  <a:pt x="1103452" y="1022871"/>
                </a:lnTo>
                <a:lnTo>
                  <a:pt x="1131570" y="1022871"/>
                </a:lnTo>
                <a:lnTo>
                  <a:pt x="1131570" y="994753"/>
                </a:lnTo>
                <a:lnTo>
                  <a:pt x="1159688" y="994753"/>
                </a:lnTo>
                <a:lnTo>
                  <a:pt x="1159688" y="966635"/>
                </a:lnTo>
                <a:lnTo>
                  <a:pt x="1131570" y="966635"/>
                </a:lnTo>
                <a:lnTo>
                  <a:pt x="1131570" y="938517"/>
                </a:lnTo>
                <a:lnTo>
                  <a:pt x="1103452" y="938517"/>
                </a:lnTo>
                <a:close/>
                <a:moveTo>
                  <a:pt x="581215" y="2389670"/>
                </a:moveTo>
                <a:lnTo>
                  <a:pt x="581215" y="2364638"/>
                </a:lnTo>
                <a:lnTo>
                  <a:pt x="606247" y="2364638"/>
                </a:lnTo>
                <a:lnTo>
                  <a:pt x="606247" y="2339950"/>
                </a:lnTo>
                <a:lnTo>
                  <a:pt x="581215" y="2339950"/>
                </a:lnTo>
                <a:lnTo>
                  <a:pt x="581215" y="2314918"/>
                </a:lnTo>
                <a:lnTo>
                  <a:pt x="556527" y="2314918"/>
                </a:lnTo>
                <a:lnTo>
                  <a:pt x="556527" y="2339950"/>
                </a:lnTo>
                <a:lnTo>
                  <a:pt x="531495" y="2339950"/>
                </a:lnTo>
                <a:lnTo>
                  <a:pt x="531495" y="2364638"/>
                </a:lnTo>
                <a:lnTo>
                  <a:pt x="556527" y="2364638"/>
                </a:lnTo>
                <a:lnTo>
                  <a:pt x="556527" y="2389670"/>
                </a:lnTo>
                <a:lnTo>
                  <a:pt x="581215" y="2389670"/>
                </a:lnTo>
                <a:close/>
                <a:moveTo>
                  <a:pt x="1036244" y="805472"/>
                </a:moveTo>
                <a:lnTo>
                  <a:pt x="1036244" y="830847"/>
                </a:lnTo>
                <a:lnTo>
                  <a:pt x="1010869" y="830847"/>
                </a:lnTo>
                <a:lnTo>
                  <a:pt x="1010869" y="856221"/>
                </a:lnTo>
                <a:lnTo>
                  <a:pt x="1036244" y="856221"/>
                </a:lnTo>
                <a:lnTo>
                  <a:pt x="1036244" y="881596"/>
                </a:lnTo>
                <a:lnTo>
                  <a:pt x="1061618" y="881596"/>
                </a:lnTo>
                <a:lnTo>
                  <a:pt x="1061618" y="856221"/>
                </a:lnTo>
                <a:lnTo>
                  <a:pt x="1086993" y="856221"/>
                </a:lnTo>
                <a:lnTo>
                  <a:pt x="1086993" y="830847"/>
                </a:lnTo>
                <a:lnTo>
                  <a:pt x="1061618" y="830847"/>
                </a:lnTo>
                <a:lnTo>
                  <a:pt x="1061618" y="805472"/>
                </a:lnTo>
                <a:lnTo>
                  <a:pt x="1036244" y="805472"/>
                </a:lnTo>
                <a:close/>
                <a:moveTo>
                  <a:pt x="1515275" y="665226"/>
                </a:moveTo>
                <a:lnTo>
                  <a:pt x="1515275" y="692658"/>
                </a:lnTo>
                <a:lnTo>
                  <a:pt x="1487843" y="692658"/>
                </a:lnTo>
                <a:lnTo>
                  <a:pt x="1487843" y="720090"/>
                </a:lnTo>
                <a:lnTo>
                  <a:pt x="1515275" y="720090"/>
                </a:lnTo>
                <a:lnTo>
                  <a:pt x="1515275" y="747522"/>
                </a:lnTo>
                <a:lnTo>
                  <a:pt x="1542707" y="747522"/>
                </a:lnTo>
                <a:lnTo>
                  <a:pt x="1542707" y="720090"/>
                </a:lnTo>
                <a:lnTo>
                  <a:pt x="1570139" y="720090"/>
                </a:lnTo>
                <a:lnTo>
                  <a:pt x="1570139" y="692658"/>
                </a:lnTo>
                <a:lnTo>
                  <a:pt x="1542707" y="692658"/>
                </a:lnTo>
                <a:lnTo>
                  <a:pt x="1542707" y="665226"/>
                </a:lnTo>
                <a:lnTo>
                  <a:pt x="1515275" y="665226"/>
                </a:lnTo>
                <a:close/>
                <a:moveTo>
                  <a:pt x="1650035" y="932688"/>
                </a:moveTo>
                <a:lnTo>
                  <a:pt x="1650035" y="964578"/>
                </a:lnTo>
                <a:lnTo>
                  <a:pt x="1618145" y="964578"/>
                </a:lnTo>
                <a:lnTo>
                  <a:pt x="1618145" y="996810"/>
                </a:lnTo>
                <a:lnTo>
                  <a:pt x="1650035" y="996810"/>
                </a:lnTo>
                <a:lnTo>
                  <a:pt x="1650035" y="1028700"/>
                </a:lnTo>
                <a:lnTo>
                  <a:pt x="1682267" y="1028700"/>
                </a:lnTo>
                <a:lnTo>
                  <a:pt x="1682267" y="996810"/>
                </a:lnTo>
                <a:lnTo>
                  <a:pt x="1714157" y="996810"/>
                </a:lnTo>
                <a:lnTo>
                  <a:pt x="1714157" y="964578"/>
                </a:lnTo>
                <a:lnTo>
                  <a:pt x="1682267" y="964578"/>
                </a:lnTo>
                <a:lnTo>
                  <a:pt x="1682267" y="932688"/>
                </a:lnTo>
                <a:lnTo>
                  <a:pt x="1650035" y="932688"/>
                </a:lnTo>
                <a:close/>
                <a:moveTo>
                  <a:pt x="1448067" y="532524"/>
                </a:moveTo>
                <a:lnTo>
                  <a:pt x="1448067" y="556870"/>
                </a:lnTo>
                <a:lnTo>
                  <a:pt x="1423721" y="556870"/>
                </a:lnTo>
                <a:lnTo>
                  <a:pt x="1423721" y="581558"/>
                </a:lnTo>
                <a:lnTo>
                  <a:pt x="1448067" y="581558"/>
                </a:lnTo>
                <a:lnTo>
                  <a:pt x="1448067" y="605904"/>
                </a:lnTo>
                <a:lnTo>
                  <a:pt x="1472755" y="605904"/>
                </a:lnTo>
                <a:lnTo>
                  <a:pt x="1472755" y="581558"/>
                </a:lnTo>
                <a:lnTo>
                  <a:pt x="1497101" y="581558"/>
                </a:lnTo>
                <a:lnTo>
                  <a:pt x="1497101" y="556870"/>
                </a:lnTo>
                <a:lnTo>
                  <a:pt x="1472755" y="556870"/>
                </a:lnTo>
                <a:lnTo>
                  <a:pt x="1472755" y="532524"/>
                </a:lnTo>
                <a:lnTo>
                  <a:pt x="1448067" y="532524"/>
                </a:lnTo>
                <a:close/>
                <a:moveTo>
                  <a:pt x="1378458" y="666598"/>
                </a:moveTo>
                <a:lnTo>
                  <a:pt x="1378458" y="693001"/>
                </a:lnTo>
                <a:lnTo>
                  <a:pt x="1352055" y="693001"/>
                </a:lnTo>
                <a:lnTo>
                  <a:pt x="1352055" y="719747"/>
                </a:lnTo>
                <a:lnTo>
                  <a:pt x="1378458" y="719747"/>
                </a:lnTo>
                <a:lnTo>
                  <a:pt x="1378458" y="746150"/>
                </a:lnTo>
                <a:lnTo>
                  <a:pt x="1405204" y="746150"/>
                </a:lnTo>
                <a:lnTo>
                  <a:pt x="1405204" y="719747"/>
                </a:lnTo>
                <a:lnTo>
                  <a:pt x="1431607" y="719747"/>
                </a:lnTo>
                <a:lnTo>
                  <a:pt x="1431607" y="693001"/>
                </a:lnTo>
                <a:lnTo>
                  <a:pt x="1405204" y="693001"/>
                </a:lnTo>
                <a:lnTo>
                  <a:pt x="1405204" y="666598"/>
                </a:lnTo>
                <a:lnTo>
                  <a:pt x="1378458" y="666598"/>
                </a:lnTo>
                <a:close/>
                <a:moveTo>
                  <a:pt x="967321" y="941261"/>
                </a:moveTo>
                <a:lnTo>
                  <a:pt x="967321" y="967664"/>
                </a:lnTo>
                <a:lnTo>
                  <a:pt x="940918" y="967664"/>
                </a:lnTo>
                <a:lnTo>
                  <a:pt x="940918" y="993724"/>
                </a:lnTo>
                <a:lnTo>
                  <a:pt x="967321" y="993724"/>
                </a:lnTo>
                <a:lnTo>
                  <a:pt x="967321" y="1020128"/>
                </a:lnTo>
                <a:lnTo>
                  <a:pt x="993381" y="1020128"/>
                </a:lnTo>
                <a:lnTo>
                  <a:pt x="993381" y="993724"/>
                </a:lnTo>
                <a:lnTo>
                  <a:pt x="1019785" y="993724"/>
                </a:lnTo>
                <a:lnTo>
                  <a:pt x="1019785" y="967664"/>
                </a:lnTo>
                <a:lnTo>
                  <a:pt x="993381" y="967664"/>
                </a:lnTo>
                <a:lnTo>
                  <a:pt x="993381" y="941261"/>
                </a:lnTo>
                <a:lnTo>
                  <a:pt x="967321" y="941261"/>
                </a:lnTo>
                <a:close/>
                <a:moveTo>
                  <a:pt x="556527" y="1491958"/>
                </a:moveTo>
                <a:lnTo>
                  <a:pt x="556527" y="1516990"/>
                </a:lnTo>
                <a:lnTo>
                  <a:pt x="531495" y="1516990"/>
                </a:lnTo>
                <a:lnTo>
                  <a:pt x="531495" y="1541678"/>
                </a:lnTo>
                <a:lnTo>
                  <a:pt x="556527" y="1541678"/>
                </a:lnTo>
                <a:lnTo>
                  <a:pt x="556527" y="1566710"/>
                </a:lnTo>
                <a:lnTo>
                  <a:pt x="581215" y="1566710"/>
                </a:lnTo>
                <a:lnTo>
                  <a:pt x="581215" y="1541678"/>
                </a:lnTo>
                <a:lnTo>
                  <a:pt x="606247" y="1541678"/>
                </a:lnTo>
                <a:lnTo>
                  <a:pt x="606247" y="1516990"/>
                </a:lnTo>
                <a:lnTo>
                  <a:pt x="581215" y="1516990"/>
                </a:lnTo>
                <a:lnTo>
                  <a:pt x="581215" y="1491958"/>
                </a:lnTo>
                <a:lnTo>
                  <a:pt x="556527" y="1491958"/>
                </a:lnTo>
                <a:close/>
                <a:moveTo>
                  <a:pt x="512635" y="1977847"/>
                </a:moveTo>
                <a:lnTo>
                  <a:pt x="512635" y="1953158"/>
                </a:lnTo>
                <a:lnTo>
                  <a:pt x="537324" y="1953158"/>
                </a:lnTo>
                <a:lnTo>
                  <a:pt x="537324" y="1928470"/>
                </a:lnTo>
                <a:lnTo>
                  <a:pt x="512635" y="1928470"/>
                </a:lnTo>
                <a:lnTo>
                  <a:pt x="512635" y="1903781"/>
                </a:lnTo>
                <a:lnTo>
                  <a:pt x="487947" y="1903781"/>
                </a:lnTo>
                <a:lnTo>
                  <a:pt x="487947" y="1928470"/>
                </a:lnTo>
                <a:lnTo>
                  <a:pt x="463258" y="1928470"/>
                </a:lnTo>
                <a:lnTo>
                  <a:pt x="463258" y="1953158"/>
                </a:lnTo>
                <a:lnTo>
                  <a:pt x="487947" y="1953158"/>
                </a:lnTo>
                <a:lnTo>
                  <a:pt x="487947" y="1977847"/>
                </a:lnTo>
                <a:lnTo>
                  <a:pt x="512635" y="1977847"/>
                </a:lnTo>
                <a:close/>
                <a:moveTo>
                  <a:pt x="898055" y="1077049"/>
                </a:moveTo>
                <a:lnTo>
                  <a:pt x="898055" y="1104138"/>
                </a:lnTo>
                <a:lnTo>
                  <a:pt x="870966" y="1104138"/>
                </a:lnTo>
                <a:lnTo>
                  <a:pt x="870966" y="1131570"/>
                </a:lnTo>
                <a:lnTo>
                  <a:pt x="898055" y="1131570"/>
                </a:lnTo>
                <a:lnTo>
                  <a:pt x="898055" y="1158659"/>
                </a:lnTo>
                <a:lnTo>
                  <a:pt x="925487" y="1158659"/>
                </a:lnTo>
                <a:lnTo>
                  <a:pt x="925487" y="1131570"/>
                </a:lnTo>
                <a:lnTo>
                  <a:pt x="952576" y="1131570"/>
                </a:lnTo>
                <a:lnTo>
                  <a:pt x="952576" y="1104138"/>
                </a:lnTo>
                <a:lnTo>
                  <a:pt x="925487" y="1104138"/>
                </a:lnTo>
                <a:lnTo>
                  <a:pt x="925487" y="1077049"/>
                </a:lnTo>
                <a:lnTo>
                  <a:pt x="898055" y="1077049"/>
                </a:lnTo>
                <a:close/>
                <a:moveTo>
                  <a:pt x="512293" y="2251481"/>
                </a:moveTo>
                <a:lnTo>
                  <a:pt x="512293" y="2227136"/>
                </a:lnTo>
                <a:lnTo>
                  <a:pt x="536638" y="2227136"/>
                </a:lnTo>
                <a:lnTo>
                  <a:pt x="536638" y="2203133"/>
                </a:lnTo>
                <a:lnTo>
                  <a:pt x="512293" y="2203133"/>
                </a:lnTo>
                <a:lnTo>
                  <a:pt x="512293" y="2178787"/>
                </a:lnTo>
                <a:lnTo>
                  <a:pt x="488290" y="2178787"/>
                </a:lnTo>
                <a:lnTo>
                  <a:pt x="488290" y="2203133"/>
                </a:lnTo>
                <a:lnTo>
                  <a:pt x="463944" y="2203133"/>
                </a:lnTo>
                <a:lnTo>
                  <a:pt x="463944" y="2227136"/>
                </a:lnTo>
                <a:lnTo>
                  <a:pt x="488290" y="2227136"/>
                </a:lnTo>
                <a:lnTo>
                  <a:pt x="488290" y="2251481"/>
                </a:lnTo>
                <a:lnTo>
                  <a:pt x="512293" y="2251481"/>
                </a:lnTo>
                <a:close/>
                <a:moveTo>
                  <a:pt x="488290" y="1630147"/>
                </a:moveTo>
                <a:lnTo>
                  <a:pt x="488290" y="1654493"/>
                </a:lnTo>
                <a:lnTo>
                  <a:pt x="463944" y="1654493"/>
                </a:lnTo>
                <a:lnTo>
                  <a:pt x="463944" y="1678496"/>
                </a:lnTo>
                <a:lnTo>
                  <a:pt x="488290" y="1678496"/>
                </a:lnTo>
                <a:lnTo>
                  <a:pt x="488290" y="1702841"/>
                </a:lnTo>
                <a:lnTo>
                  <a:pt x="512293" y="1702841"/>
                </a:lnTo>
                <a:lnTo>
                  <a:pt x="512293" y="1678496"/>
                </a:lnTo>
                <a:lnTo>
                  <a:pt x="536638" y="1678496"/>
                </a:lnTo>
                <a:lnTo>
                  <a:pt x="536638" y="1654493"/>
                </a:lnTo>
                <a:lnTo>
                  <a:pt x="512293" y="1654493"/>
                </a:lnTo>
                <a:lnTo>
                  <a:pt x="512293" y="1630147"/>
                </a:lnTo>
                <a:lnTo>
                  <a:pt x="488290" y="1630147"/>
                </a:lnTo>
                <a:close/>
                <a:moveTo>
                  <a:pt x="830847" y="944004"/>
                </a:moveTo>
                <a:lnTo>
                  <a:pt x="830847" y="968350"/>
                </a:lnTo>
                <a:lnTo>
                  <a:pt x="806501" y="968350"/>
                </a:lnTo>
                <a:lnTo>
                  <a:pt x="806501" y="993038"/>
                </a:lnTo>
                <a:lnTo>
                  <a:pt x="830847" y="993038"/>
                </a:lnTo>
                <a:lnTo>
                  <a:pt x="830847" y="1017384"/>
                </a:lnTo>
                <a:lnTo>
                  <a:pt x="855535" y="1017384"/>
                </a:lnTo>
                <a:lnTo>
                  <a:pt x="855535" y="993038"/>
                </a:lnTo>
                <a:lnTo>
                  <a:pt x="879881" y="993038"/>
                </a:lnTo>
                <a:lnTo>
                  <a:pt x="879881" y="968350"/>
                </a:lnTo>
                <a:lnTo>
                  <a:pt x="855535" y="968350"/>
                </a:lnTo>
                <a:lnTo>
                  <a:pt x="855535" y="944004"/>
                </a:lnTo>
                <a:lnTo>
                  <a:pt x="830847" y="944004"/>
                </a:lnTo>
                <a:close/>
                <a:moveTo>
                  <a:pt x="761924" y="1080135"/>
                </a:moveTo>
                <a:lnTo>
                  <a:pt x="761924" y="1105167"/>
                </a:lnTo>
                <a:lnTo>
                  <a:pt x="736892" y="1105167"/>
                </a:lnTo>
                <a:lnTo>
                  <a:pt x="736892" y="1130541"/>
                </a:lnTo>
                <a:lnTo>
                  <a:pt x="761924" y="1130541"/>
                </a:lnTo>
                <a:lnTo>
                  <a:pt x="761924" y="1155573"/>
                </a:lnTo>
                <a:lnTo>
                  <a:pt x="787298" y="1155573"/>
                </a:lnTo>
                <a:lnTo>
                  <a:pt x="787298" y="1130541"/>
                </a:lnTo>
                <a:lnTo>
                  <a:pt x="812330" y="1130541"/>
                </a:lnTo>
                <a:lnTo>
                  <a:pt x="812330" y="1105167"/>
                </a:lnTo>
                <a:lnTo>
                  <a:pt x="787298" y="1105167"/>
                </a:lnTo>
                <a:lnTo>
                  <a:pt x="787298" y="1080135"/>
                </a:lnTo>
                <a:lnTo>
                  <a:pt x="761924" y="1080135"/>
                </a:lnTo>
                <a:close/>
                <a:moveTo>
                  <a:pt x="624764" y="1354112"/>
                </a:moveTo>
                <a:lnTo>
                  <a:pt x="624764" y="1379487"/>
                </a:lnTo>
                <a:lnTo>
                  <a:pt x="599389" y="1379487"/>
                </a:lnTo>
                <a:lnTo>
                  <a:pt x="599389" y="1404861"/>
                </a:lnTo>
                <a:lnTo>
                  <a:pt x="624764" y="1404861"/>
                </a:lnTo>
                <a:lnTo>
                  <a:pt x="624764" y="1430236"/>
                </a:lnTo>
                <a:lnTo>
                  <a:pt x="650138" y="1430236"/>
                </a:lnTo>
                <a:lnTo>
                  <a:pt x="650138" y="1404861"/>
                </a:lnTo>
                <a:lnTo>
                  <a:pt x="675513" y="1404861"/>
                </a:lnTo>
                <a:lnTo>
                  <a:pt x="675513" y="1379487"/>
                </a:lnTo>
                <a:lnTo>
                  <a:pt x="650138" y="1379487"/>
                </a:lnTo>
                <a:lnTo>
                  <a:pt x="650138" y="1354112"/>
                </a:lnTo>
                <a:lnTo>
                  <a:pt x="624764" y="1354112"/>
                </a:lnTo>
                <a:close/>
                <a:moveTo>
                  <a:pt x="693344" y="1216952"/>
                </a:moveTo>
                <a:lnTo>
                  <a:pt x="693344" y="1242327"/>
                </a:lnTo>
                <a:lnTo>
                  <a:pt x="667969" y="1242327"/>
                </a:lnTo>
                <a:lnTo>
                  <a:pt x="667969" y="1267701"/>
                </a:lnTo>
                <a:lnTo>
                  <a:pt x="693344" y="1267701"/>
                </a:lnTo>
                <a:lnTo>
                  <a:pt x="693344" y="1293076"/>
                </a:lnTo>
                <a:lnTo>
                  <a:pt x="718718" y="1293076"/>
                </a:lnTo>
                <a:lnTo>
                  <a:pt x="718718" y="1267701"/>
                </a:lnTo>
                <a:lnTo>
                  <a:pt x="744093" y="1267701"/>
                </a:lnTo>
                <a:lnTo>
                  <a:pt x="744093" y="1242327"/>
                </a:lnTo>
                <a:lnTo>
                  <a:pt x="718718" y="1242327"/>
                </a:lnTo>
                <a:lnTo>
                  <a:pt x="718718" y="1216952"/>
                </a:lnTo>
                <a:lnTo>
                  <a:pt x="693344" y="1216952"/>
                </a:lnTo>
                <a:close/>
                <a:moveTo>
                  <a:pt x="3577819" y="1280732"/>
                </a:moveTo>
                <a:lnTo>
                  <a:pt x="3594964" y="1280732"/>
                </a:lnTo>
                <a:lnTo>
                  <a:pt x="3594964" y="1263587"/>
                </a:lnTo>
                <a:lnTo>
                  <a:pt x="3612109" y="1263587"/>
                </a:lnTo>
                <a:lnTo>
                  <a:pt x="3612109" y="1246442"/>
                </a:lnTo>
                <a:lnTo>
                  <a:pt x="3594964" y="1246442"/>
                </a:lnTo>
                <a:lnTo>
                  <a:pt x="3594964" y="1229297"/>
                </a:lnTo>
                <a:lnTo>
                  <a:pt x="3577819" y="1229297"/>
                </a:lnTo>
                <a:lnTo>
                  <a:pt x="3577819" y="1246442"/>
                </a:lnTo>
                <a:lnTo>
                  <a:pt x="3560674" y="1246442"/>
                </a:lnTo>
                <a:lnTo>
                  <a:pt x="3560674" y="1263587"/>
                </a:lnTo>
                <a:lnTo>
                  <a:pt x="3577819" y="1263587"/>
                </a:lnTo>
                <a:lnTo>
                  <a:pt x="3577819" y="1280732"/>
                </a:lnTo>
                <a:close/>
                <a:moveTo>
                  <a:pt x="3507867" y="1421663"/>
                </a:moveTo>
                <a:lnTo>
                  <a:pt x="3527755" y="1421663"/>
                </a:lnTo>
                <a:lnTo>
                  <a:pt x="3527755" y="1402118"/>
                </a:lnTo>
                <a:lnTo>
                  <a:pt x="3547301" y="1402118"/>
                </a:lnTo>
                <a:lnTo>
                  <a:pt x="3547301" y="1382230"/>
                </a:lnTo>
                <a:lnTo>
                  <a:pt x="3527755" y="1382230"/>
                </a:lnTo>
                <a:lnTo>
                  <a:pt x="3527755" y="1362685"/>
                </a:lnTo>
                <a:lnTo>
                  <a:pt x="3507867" y="1362685"/>
                </a:lnTo>
                <a:lnTo>
                  <a:pt x="3507867" y="1382230"/>
                </a:lnTo>
                <a:lnTo>
                  <a:pt x="3488322" y="1382230"/>
                </a:lnTo>
                <a:lnTo>
                  <a:pt x="3488322" y="1402118"/>
                </a:lnTo>
                <a:lnTo>
                  <a:pt x="3507867" y="1402118"/>
                </a:lnTo>
                <a:lnTo>
                  <a:pt x="3507867" y="1421663"/>
                </a:lnTo>
                <a:close/>
                <a:moveTo>
                  <a:pt x="3509239" y="1143572"/>
                </a:moveTo>
                <a:lnTo>
                  <a:pt x="3526384" y="1143572"/>
                </a:lnTo>
                <a:lnTo>
                  <a:pt x="3526384" y="1126427"/>
                </a:lnTo>
                <a:lnTo>
                  <a:pt x="3543529" y="1126427"/>
                </a:lnTo>
                <a:lnTo>
                  <a:pt x="3543529" y="1109282"/>
                </a:lnTo>
                <a:lnTo>
                  <a:pt x="3526384" y="1109282"/>
                </a:lnTo>
                <a:lnTo>
                  <a:pt x="3526384" y="1092137"/>
                </a:lnTo>
                <a:lnTo>
                  <a:pt x="3509239" y="1092137"/>
                </a:lnTo>
                <a:lnTo>
                  <a:pt x="3509239" y="1109282"/>
                </a:lnTo>
                <a:lnTo>
                  <a:pt x="3492094" y="1109282"/>
                </a:lnTo>
                <a:lnTo>
                  <a:pt x="3492094" y="1126427"/>
                </a:lnTo>
                <a:lnTo>
                  <a:pt x="3509239" y="1126427"/>
                </a:lnTo>
                <a:lnTo>
                  <a:pt x="3509239" y="1143572"/>
                </a:lnTo>
                <a:close/>
                <a:moveTo>
                  <a:pt x="3510953" y="864108"/>
                </a:moveTo>
                <a:lnTo>
                  <a:pt x="3524669" y="864108"/>
                </a:lnTo>
                <a:lnTo>
                  <a:pt x="3524669" y="850392"/>
                </a:lnTo>
                <a:lnTo>
                  <a:pt x="3538385" y="850392"/>
                </a:lnTo>
                <a:lnTo>
                  <a:pt x="3538385" y="836676"/>
                </a:lnTo>
                <a:lnTo>
                  <a:pt x="3524669" y="836676"/>
                </a:lnTo>
                <a:lnTo>
                  <a:pt x="3524669" y="822960"/>
                </a:lnTo>
                <a:lnTo>
                  <a:pt x="3510953" y="822960"/>
                </a:lnTo>
                <a:lnTo>
                  <a:pt x="3510953" y="836676"/>
                </a:lnTo>
                <a:lnTo>
                  <a:pt x="3497237" y="836676"/>
                </a:lnTo>
                <a:lnTo>
                  <a:pt x="3497237" y="850392"/>
                </a:lnTo>
                <a:lnTo>
                  <a:pt x="3510953" y="850392"/>
                </a:lnTo>
                <a:lnTo>
                  <a:pt x="3510953" y="864108"/>
                </a:lnTo>
                <a:close/>
                <a:moveTo>
                  <a:pt x="3507181" y="1698384"/>
                </a:moveTo>
                <a:lnTo>
                  <a:pt x="3528441" y="1698384"/>
                </a:lnTo>
                <a:lnTo>
                  <a:pt x="3528441" y="1677124"/>
                </a:lnTo>
                <a:lnTo>
                  <a:pt x="3549701" y="1677124"/>
                </a:lnTo>
                <a:lnTo>
                  <a:pt x="3549701" y="1655864"/>
                </a:lnTo>
                <a:lnTo>
                  <a:pt x="3528441" y="1655864"/>
                </a:lnTo>
                <a:lnTo>
                  <a:pt x="3528441" y="1634604"/>
                </a:lnTo>
                <a:lnTo>
                  <a:pt x="3507181" y="1634604"/>
                </a:lnTo>
                <a:lnTo>
                  <a:pt x="3507181" y="1655864"/>
                </a:lnTo>
                <a:lnTo>
                  <a:pt x="3485921" y="1655864"/>
                </a:lnTo>
                <a:lnTo>
                  <a:pt x="3485921" y="1677124"/>
                </a:lnTo>
                <a:lnTo>
                  <a:pt x="3507181" y="1677124"/>
                </a:lnTo>
                <a:lnTo>
                  <a:pt x="3507181" y="1698384"/>
                </a:lnTo>
                <a:close/>
                <a:moveTo>
                  <a:pt x="1652092" y="664540"/>
                </a:moveTo>
                <a:lnTo>
                  <a:pt x="1652092" y="692315"/>
                </a:lnTo>
                <a:lnTo>
                  <a:pt x="1624317" y="692315"/>
                </a:lnTo>
                <a:lnTo>
                  <a:pt x="1624317" y="720433"/>
                </a:lnTo>
                <a:lnTo>
                  <a:pt x="1652092" y="720433"/>
                </a:lnTo>
                <a:lnTo>
                  <a:pt x="1652092" y="748208"/>
                </a:lnTo>
                <a:lnTo>
                  <a:pt x="1680210" y="748208"/>
                </a:lnTo>
                <a:lnTo>
                  <a:pt x="1680210" y="720433"/>
                </a:lnTo>
                <a:lnTo>
                  <a:pt x="1707985" y="720433"/>
                </a:lnTo>
                <a:lnTo>
                  <a:pt x="1707985" y="692315"/>
                </a:lnTo>
                <a:lnTo>
                  <a:pt x="1680210" y="692315"/>
                </a:lnTo>
                <a:lnTo>
                  <a:pt x="1680210" y="664540"/>
                </a:lnTo>
                <a:lnTo>
                  <a:pt x="1652092" y="664540"/>
                </a:lnTo>
                <a:close/>
                <a:moveTo>
                  <a:pt x="3576790" y="1557795"/>
                </a:moveTo>
                <a:lnTo>
                  <a:pt x="3595993" y="1557795"/>
                </a:lnTo>
                <a:lnTo>
                  <a:pt x="3595993" y="1538935"/>
                </a:lnTo>
                <a:lnTo>
                  <a:pt x="3614852" y="1538935"/>
                </a:lnTo>
                <a:lnTo>
                  <a:pt x="3614852" y="1519733"/>
                </a:lnTo>
                <a:lnTo>
                  <a:pt x="3595993" y="1519733"/>
                </a:lnTo>
                <a:lnTo>
                  <a:pt x="3595993" y="1500873"/>
                </a:lnTo>
                <a:lnTo>
                  <a:pt x="3576790" y="1500873"/>
                </a:lnTo>
                <a:lnTo>
                  <a:pt x="3576790" y="1519733"/>
                </a:lnTo>
                <a:lnTo>
                  <a:pt x="3557930" y="1519733"/>
                </a:lnTo>
                <a:lnTo>
                  <a:pt x="3557930" y="1538935"/>
                </a:lnTo>
                <a:lnTo>
                  <a:pt x="3576790" y="1538935"/>
                </a:lnTo>
                <a:lnTo>
                  <a:pt x="3576790" y="1557795"/>
                </a:lnTo>
                <a:close/>
                <a:moveTo>
                  <a:pt x="3439287" y="1284846"/>
                </a:moveTo>
                <a:lnTo>
                  <a:pt x="3459175" y="1284846"/>
                </a:lnTo>
                <a:lnTo>
                  <a:pt x="3459175" y="1264958"/>
                </a:lnTo>
                <a:lnTo>
                  <a:pt x="3479063" y="1264958"/>
                </a:lnTo>
                <a:lnTo>
                  <a:pt x="3479063" y="1245070"/>
                </a:lnTo>
                <a:lnTo>
                  <a:pt x="3459175" y="1245070"/>
                </a:lnTo>
                <a:lnTo>
                  <a:pt x="3459175" y="1225182"/>
                </a:lnTo>
                <a:lnTo>
                  <a:pt x="3439287" y="1225182"/>
                </a:lnTo>
                <a:lnTo>
                  <a:pt x="3439287" y="1245070"/>
                </a:lnTo>
                <a:lnTo>
                  <a:pt x="3419399" y="1245070"/>
                </a:lnTo>
                <a:lnTo>
                  <a:pt x="3419399" y="1264958"/>
                </a:lnTo>
                <a:lnTo>
                  <a:pt x="3439287" y="1264958"/>
                </a:lnTo>
                <a:lnTo>
                  <a:pt x="3439287" y="1284846"/>
                </a:lnTo>
                <a:close/>
                <a:moveTo>
                  <a:pt x="3438259" y="1562595"/>
                </a:moveTo>
                <a:lnTo>
                  <a:pt x="3460204" y="1562595"/>
                </a:lnTo>
                <a:lnTo>
                  <a:pt x="3460204" y="1540307"/>
                </a:lnTo>
                <a:lnTo>
                  <a:pt x="3482492" y="1540307"/>
                </a:lnTo>
                <a:lnTo>
                  <a:pt x="3482492" y="1518361"/>
                </a:lnTo>
                <a:lnTo>
                  <a:pt x="3460204" y="1518361"/>
                </a:lnTo>
                <a:lnTo>
                  <a:pt x="3460204" y="1496073"/>
                </a:lnTo>
                <a:lnTo>
                  <a:pt x="3438259" y="1496073"/>
                </a:lnTo>
                <a:lnTo>
                  <a:pt x="3438259" y="1518361"/>
                </a:lnTo>
                <a:lnTo>
                  <a:pt x="3415970" y="1518361"/>
                </a:lnTo>
                <a:lnTo>
                  <a:pt x="3415970" y="1540307"/>
                </a:lnTo>
                <a:lnTo>
                  <a:pt x="3438259" y="1540307"/>
                </a:lnTo>
                <a:lnTo>
                  <a:pt x="3438259" y="1562595"/>
                </a:lnTo>
                <a:close/>
                <a:moveTo>
                  <a:pt x="3442716" y="725576"/>
                </a:moveTo>
                <a:lnTo>
                  <a:pt x="3455746" y="725576"/>
                </a:lnTo>
                <a:lnTo>
                  <a:pt x="3455746" y="712889"/>
                </a:lnTo>
                <a:lnTo>
                  <a:pt x="3468434" y="712889"/>
                </a:lnTo>
                <a:lnTo>
                  <a:pt x="3468434" y="699859"/>
                </a:lnTo>
                <a:lnTo>
                  <a:pt x="3455746" y="699859"/>
                </a:lnTo>
                <a:lnTo>
                  <a:pt x="3455746" y="687172"/>
                </a:lnTo>
                <a:lnTo>
                  <a:pt x="3442716" y="687172"/>
                </a:lnTo>
                <a:lnTo>
                  <a:pt x="3442716" y="699859"/>
                </a:lnTo>
                <a:lnTo>
                  <a:pt x="3430029" y="699859"/>
                </a:lnTo>
                <a:lnTo>
                  <a:pt x="3430029" y="712889"/>
                </a:lnTo>
                <a:lnTo>
                  <a:pt x="3442716" y="712889"/>
                </a:lnTo>
                <a:lnTo>
                  <a:pt x="3442716" y="725576"/>
                </a:lnTo>
                <a:close/>
                <a:moveTo>
                  <a:pt x="3440659" y="1006069"/>
                </a:moveTo>
                <a:lnTo>
                  <a:pt x="3457804" y="1006069"/>
                </a:lnTo>
                <a:lnTo>
                  <a:pt x="3457804" y="989267"/>
                </a:lnTo>
                <a:lnTo>
                  <a:pt x="3474606" y="989267"/>
                </a:lnTo>
                <a:lnTo>
                  <a:pt x="3474606" y="972122"/>
                </a:lnTo>
                <a:lnTo>
                  <a:pt x="3457804" y="972122"/>
                </a:lnTo>
                <a:lnTo>
                  <a:pt x="3457804" y="955319"/>
                </a:lnTo>
                <a:lnTo>
                  <a:pt x="3440659" y="955319"/>
                </a:lnTo>
                <a:lnTo>
                  <a:pt x="3440659" y="972122"/>
                </a:lnTo>
                <a:lnTo>
                  <a:pt x="3423857" y="972122"/>
                </a:lnTo>
                <a:lnTo>
                  <a:pt x="3423857" y="989267"/>
                </a:lnTo>
                <a:lnTo>
                  <a:pt x="3440659" y="989267"/>
                </a:lnTo>
                <a:lnTo>
                  <a:pt x="3440659" y="1006069"/>
                </a:lnTo>
                <a:close/>
                <a:moveTo>
                  <a:pt x="3579533" y="1001611"/>
                </a:moveTo>
                <a:lnTo>
                  <a:pt x="3593249" y="1001611"/>
                </a:lnTo>
                <a:lnTo>
                  <a:pt x="3593249" y="987552"/>
                </a:lnTo>
                <a:lnTo>
                  <a:pt x="3607308" y="987552"/>
                </a:lnTo>
                <a:lnTo>
                  <a:pt x="3607308" y="973836"/>
                </a:lnTo>
                <a:lnTo>
                  <a:pt x="3593249" y="973836"/>
                </a:lnTo>
                <a:lnTo>
                  <a:pt x="3593249" y="959777"/>
                </a:lnTo>
                <a:lnTo>
                  <a:pt x="3579533" y="959777"/>
                </a:lnTo>
                <a:lnTo>
                  <a:pt x="3579533" y="973836"/>
                </a:lnTo>
                <a:lnTo>
                  <a:pt x="3565474" y="973836"/>
                </a:lnTo>
                <a:lnTo>
                  <a:pt x="3565474" y="987552"/>
                </a:lnTo>
                <a:lnTo>
                  <a:pt x="3579533" y="987552"/>
                </a:lnTo>
                <a:lnTo>
                  <a:pt x="3579533" y="1001611"/>
                </a:lnTo>
                <a:close/>
                <a:moveTo>
                  <a:pt x="3368307" y="1903781"/>
                </a:moveTo>
                <a:lnTo>
                  <a:pt x="3368307" y="1928470"/>
                </a:lnTo>
                <a:lnTo>
                  <a:pt x="3343618" y="1928470"/>
                </a:lnTo>
                <a:lnTo>
                  <a:pt x="3343618" y="1953158"/>
                </a:lnTo>
                <a:lnTo>
                  <a:pt x="3368307" y="1953158"/>
                </a:lnTo>
                <a:lnTo>
                  <a:pt x="3368307" y="1977847"/>
                </a:lnTo>
                <a:lnTo>
                  <a:pt x="3392996" y="1977847"/>
                </a:lnTo>
                <a:lnTo>
                  <a:pt x="3392996" y="1953158"/>
                </a:lnTo>
                <a:lnTo>
                  <a:pt x="3417685" y="1953158"/>
                </a:lnTo>
                <a:lnTo>
                  <a:pt x="3417685" y="1928470"/>
                </a:lnTo>
                <a:lnTo>
                  <a:pt x="3392996" y="1928470"/>
                </a:lnTo>
                <a:lnTo>
                  <a:pt x="3392996" y="1903781"/>
                </a:lnTo>
                <a:lnTo>
                  <a:pt x="3368307" y="1903781"/>
                </a:lnTo>
                <a:close/>
                <a:moveTo>
                  <a:pt x="3716693" y="1275931"/>
                </a:moveTo>
                <a:lnTo>
                  <a:pt x="3730409" y="1275931"/>
                </a:lnTo>
                <a:lnTo>
                  <a:pt x="3730409" y="1261872"/>
                </a:lnTo>
                <a:lnTo>
                  <a:pt x="3744468" y="1261872"/>
                </a:lnTo>
                <a:lnTo>
                  <a:pt x="3744468" y="1248156"/>
                </a:lnTo>
                <a:lnTo>
                  <a:pt x="3730409" y="1248156"/>
                </a:lnTo>
                <a:lnTo>
                  <a:pt x="3730409" y="1234097"/>
                </a:lnTo>
                <a:lnTo>
                  <a:pt x="3716693" y="1234097"/>
                </a:lnTo>
                <a:lnTo>
                  <a:pt x="3716693" y="1248156"/>
                </a:lnTo>
                <a:lnTo>
                  <a:pt x="3702634" y="1248156"/>
                </a:lnTo>
                <a:lnTo>
                  <a:pt x="3702634" y="1261872"/>
                </a:lnTo>
                <a:lnTo>
                  <a:pt x="3716693" y="1261872"/>
                </a:lnTo>
                <a:lnTo>
                  <a:pt x="3716693" y="1275931"/>
                </a:lnTo>
                <a:close/>
                <a:moveTo>
                  <a:pt x="3784588" y="1688783"/>
                </a:moveTo>
                <a:lnTo>
                  <a:pt x="3799675" y="1688783"/>
                </a:lnTo>
                <a:lnTo>
                  <a:pt x="3799675" y="1674038"/>
                </a:lnTo>
                <a:lnTo>
                  <a:pt x="3814420" y="1674038"/>
                </a:lnTo>
                <a:lnTo>
                  <a:pt x="3814420" y="1658950"/>
                </a:lnTo>
                <a:lnTo>
                  <a:pt x="3799675" y="1658950"/>
                </a:lnTo>
                <a:lnTo>
                  <a:pt x="3799675" y="1644206"/>
                </a:lnTo>
                <a:lnTo>
                  <a:pt x="3784588" y="1644206"/>
                </a:lnTo>
                <a:lnTo>
                  <a:pt x="3784588" y="1658950"/>
                </a:lnTo>
                <a:lnTo>
                  <a:pt x="3769843" y="1658950"/>
                </a:lnTo>
                <a:lnTo>
                  <a:pt x="3769843" y="1674038"/>
                </a:lnTo>
                <a:lnTo>
                  <a:pt x="3784588" y="1674038"/>
                </a:lnTo>
                <a:lnTo>
                  <a:pt x="3784588" y="1688783"/>
                </a:lnTo>
                <a:close/>
                <a:moveTo>
                  <a:pt x="3854539" y="1548194"/>
                </a:moveTo>
                <a:lnTo>
                  <a:pt x="3866884" y="1548194"/>
                </a:lnTo>
                <a:lnTo>
                  <a:pt x="3866884" y="1535506"/>
                </a:lnTo>
                <a:lnTo>
                  <a:pt x="3879571" y="1535506"/>
                </a:lnTo>
                <a:lnTo>
                  <a:pt x="3879571" y="1523162"/>
                </a:lnTo>
                <a:lnTo>
                  <a:pt x="3866884" y="1523162"/>
                </a:lnTo>
                <a:lnTo>
                  <a:pt x="3866884" y="1510475"/>
                </a:lnTo>
                <a:lnTo>
                  <a:pt x="3854539" y="1510475"/>
                </a:lnTo>
                <a:lnTo>
                  <a:pt x="3854539" y="1523162"/>
                </a:lnTo>
                <a:lnTo>
                  <a:pt x="3841852" y="1523162"/>
                </a:lnTo>
                <a:lnTo>
                  <a:pt x="3841852" y="1535506"/>
                </a:lnTo>
                <a:lnTo>
                  <a:pt x="3854539" y="1535506"/>
                </a:lnTo>
                <a:lnTo>
                  <a:pt x="3854539" y="1548194"/>
                </a:lnTo>
                <a:close/>
                <a:moveTo>
                  <a:pt x="2091690" y="3217774"/>
                </a:moveTo>
                <a:lnTo>
                  <a:pt x="2091690" y="3189313"/>
                </a:lnTo>
                <a:lnTo>
                  <a:pt x="2120151" y="3189313"/>
                </a:lnTo>
                <a:lnTo>
                  <a:pt x="2120151" y="3161195"/>
                </a:lnTo>
                <a:lnTo>
                  <a:pt x="2091690" y="3161195"/>
                </a:lnTo>
                <a:lnTo>
                  <a:pt x="2091690" y="3132734"/>
                </a:lnTo>
                <a:lnTo>
                  <a:pt x="2063572" y="3132734"/>
                </a:lnTo>
                <a:lnTo>
                  <a:pt x="2063572" y="3161195"/>
                </a:lnTo>
                <a:lnTo>
                  <a:pt x="2035111" y="3161195"/>
                </a:lnTo>
                <a:lnTo>
                  <a:pt x="2035111" y="3189313"/>
                </a:lnTo>
                <a:lnTo>
                  <a:pt x="2063572" y="3189313"/>
                </a:lnTo>
                <a:lnTo>
                  <a:pt x="2063572" y="3217774"/>
                </a:lnTo>
                <a:lnTo>
                  <a:pt x="2091690" y="3217774"/>
                </a:lnTo>
                <a:close/>
                <a:moveTo>
                  <a:pt x="3645713" y="1693926"/>
                </a:moveTo>
                <a:lnTo>
                  <a:pt x="3664229" y="1693926"/>
                </a:lnTo>
                <a:lnTo>
                  <a:pt x="3664229" y="1675752"/>
                </a:lnTo>
                <a:lnTo>
                  <a:pt x="3682403" y="1675752"/>
                </a:lnTo>
                <a:lnTo>
                  <a:pt x="3682403" y="1657236"/>
                </a:lnTo>
                <a:lnTo>
                  <a:pt x="3664229" y="1657236"/>
                </a:lnTo>
                <a:lnTo>
                  <a:pt x="3664229" y="1639062"/>
                </a:lnTo>
                <a:lnTo>
                  <a:pt x="3645713" y="1639062"/>
                </a:lnTo>
                <a:lnTo>
                  <a:pt x="3645713" y="1657236"/>
                </a:lnTo>
                <a:lnTo>
                  <a:pt x="3627539" y="1657236"/>
                </a:lnTo>
                <a:lnTo>
                  <a:pt x="3627539" y="1675752"/>
                </a:lnTo>
                <a:lnTo>
                  <a:pt x="3645713" y="1675752"/>
                </a:lnTo>
                <a:lnTo>
                  <a:pt x="3645713" y="1693926"/>
                </a:lnTo>
                <a:close/>
                <a:moveTo>
                  <a:pt x="3646742" y="1417206"/>
                </a:moveTo>
                <a:lnTo>
                  <a:pt x="3663201" y="1417206"/>
                </a:lnTo>
                <a:lnTo>
                  <a:pt x="3663201" y="1400404"/>
                </a:lnTo>
                <a:lnTo>
                  <a:pt x="3680003" y="1400404"/>
                </a:lnTo>
                <a:lnTo>
                  <a:pt x="3680003" y="1383944"/>
                </a:lnTo>
                <a:lnTo>
                  <a:pt x="3663201" y="1383944"/>
                </a:lnTo>
                <a:lnTo>
                  <a:pt x="3663201" y="1367142"/>
                </a:lnTo>
                <a:lnTo>
                  <a:pt x="3646742" y="1367142"/>
                </a:lnTo>
                <a:lnTo>
                  <a:pt x="3646742" y="1383944"/>
                </a:lnTo>
                <a:lnTo>
                  <a:pt x="3629939" y="1383944"/>
                </a:lnTo>
                <a:lnTo>
                  <a:pt x="3629939" y="1400404"/>
                </a:lnTo>
                <a:lnTo>
                  <a:pt x="3646742" y="1400404"/>
                </a:lnTo>
                <a:lnTo>
                  <a:pt x="3646742" y="1417206"/>
                </a:lnTo>
                <a:close/>
                <a:moveTo>
                  <a:pt x="3715664" y="1552994"/>
                </a:moveTo>
                <a:lnTo>
                  <a:pt x="3731438" y="1552994"/>
                </a:lnTo>
                <a:lnTo>
                  <a:pt x="3731438" y="1537221"/>
                </a:lnTo>
                <a:lnTo>
                  <a:pt x="3747211" y="1537221"/>
                </a:lnTo>
                <a:lnTo>
                  <a:pt x="3747211" y="1521447"/>
                </a:lnTo>
                <a:lnTo>
                  <a:pt x="3731438" y="1521447"/>
                </a:lnTo>
                <a:lnTo>
                  <a:pt x="3731438" y="1505674"/>
                </a:lnTo>
                <a:lnTo>
                  <a:pt x="3715664" y="1505674"/>
                </a:lnTo>
                <a:lnTo>
                  <a:pt x="3715664" y="1521447"/>
                </a:lnTo>
                <a:lnTo>
                  <a:pt x="3699891" y="1521447"/>
                </a:lnTo>
                <a:lnTo>
                  <a:pt x="3699891" y="1537221"/>
                </a:lnTo>
                <a:lnTo>
                  <a:pt x="3715664" y="1537221"/>
                </a:lnTo>
                <a:lnTo>
                  <a:pt x="3715664" y="1552994"/>
                </a:lnTo>
                <a:close/>
                <a:moveTo>
                  <a:pt x="3647770" y="1139114"/>
                </a:moveTo>
                <a:lnTo>
                  <a:pt x="3662172" y="1139114"/>
                </a:lnTo>
                <a:lnTo>
                  <a:pt x="3662172" y="1125055"/>
                </a:lnTo>
                <a:lnTo>
                  <a:pt x="3676231" y="1125055"/>
                </a:lnTo>
                <a:lnTo>
                  <a:pt x="3676231" y="1110653"/>
                </a:lnTo>
                <a:lnTo>
                  <a:pt x="3662172" y="1110653"/>
                </a:lnTo>
                <a:lnTo>
                  <a:pt x="3662172" y="1096594"/>
                </a:lnTo>
                <a:lnTo>
                  <a:pt x="3647770" y="1096594"/>
                </a:lnTo>
                <a:lnTo>
                  <a:pt x="3647770" y="1110653"/>
                </a:lnTo>
                <a:lnTo>
                  <a:pt x="3633712" y="1110653"/>
                </a:lnTo>
                <a:lnTo>
                  <a:pt x="3633712" y="1125055"/>
                </a:lnTo>
                <a:lnTo>
                  <a:pt x="3647770" y="1125055"/>
                </a:lnTo>
                <a:lnTo>
                  <a:pt x="3647770" y="1139114"/>
                </a:lnTo>
                <a:close/>
                <a:moveTo>
                  <a:pt x="3785273" y="1412405"/>
                </a:moveTo>
                <a:lnTo>
                  <a:pt x="3798989" y="1412405"/>
                </a:lnTo>
                <a:lnTo>
                  <a:pt x="3798989" y="1399032"/>
                </a:lnTo>
                <a:lnTo>
                  <a:pt x="3812362" y="1399032"/>
                </a:lnTo>
                <a:lnTo>
                  <a:pt x="3812362" y="1385316"/>
                </a:lnTo>
                <a:lnTo>
                  <a:pt x="3798989" y="1385316"/>
                </a:lnTo>
                <a:lnTo>
                  <a:pt x="3798989" y="1371943"/>
                </a:lnTo>
                <a:lnTo>
                  <a:pt x="3785273" y="1371943"/>
                </a:lnTo>
                <a:lnTo>
                  <a:pt x="3785273" y="1385316"/>
                </a:lnTo>
                <a:lnTo>
                  <a:pt x="3771900" y="1385316"/>
                </a:lnTo>
                <a:lnTo>
                  <a:pt x="3771900" y="1399032"/>
                </a:lnTo>
                <a:lnTo>
                  <a:pt x="3785273" y="1399032"/>
                </a:lnTo>
                <a:lnTo>
                  <a:pt x="3785273" y="1412405"/>
                </a:lnTo>
                <a:close/>
                <a:moveTo>
                  <a:pt x="2571750" y="3080271"/>
                </a:moveTo>
                <a:lnTo>
                  <a:pt x="2571750" y="3052153"/>
                </a:lnTo>
                <a:lnTo>
                  <a:pt x="2599868" y="3052153"/>
                </a:lnTo>
                <a:lnTo>
                  <a:pt x="2599868" y="3024035"/>
                </a:lnTo>
                <a:lnTo>
                  <a:pt x="2571750" y="3024035"/>
                </a:lnTo>
                <a:lnTo>
                  <a:pt x="2571750" y="2995917"/>
                </a:lnTo>
                <a:lnTo>
                  <a:pt x="2543632" y="2995917"/>
                </a:lnTo>
                <a:lnTo>
                  <a:pt x="2543632" y="3024035"/>
                </a:lnTo>
                <a:lnTo>
                  <a:pt x="2515514" y="3024035"/>
                </a:lnTo>
                <a:lnTo>
                  <a:pt x="2515514" y="3052153"/>
                </a:lnTo>
                <a:lnTo>
                  <a:pt x="2543632" y="3052153"/>
                </a:lnTo>
                <a:lnTo>
                  <a:pt x="2543632" y="3080271"/>
                </a:lnTo>
                <a:lnTo>
                  <a:pt x="2571750" y="3080271"/>
                </a:lnTo>
                <a:close/>
                <a:moveTo>
                  <a:pt x="2502142" y="3214688"/>
                </a:moveTo>
                <a:lnTo>
                  <a:pt x="2502142" y="3188284"/>
                </a:lnTo>
                <a:lnTo>
                  <a:pt x="2528545" y="3188284"/>
                </a:lnTo>
                <a:lnTo>
                  <a:pt x="2528545" y="3162224"/>
                </a:lnTo>
                <a:lnTo>
                  <a:pt x="2502142" y="3162224"/>
                </a:lnTo>
                <a:lnTo>
                  <a:pt x="2502142" y="3135821"/>
                </a:lnTo>
                <a:lnTo>
                  <a:pt x="2476081" y="3135821"/>
                </a:lnTo>
                <a:lnTo>
                  <a:pt x="2476081" y="3162224"/>
                </a:lnTo>
                <a:lnTo>
                  <a:pt x="2449678" y="3162224"/>
                </a:lnTo>
                <a:lnTo>
                  <a:pt x="2449678" y="3188284"/>
                </a:lnTo>
                <a:lnTo>
                  <a:pt x="2476081" y="3188284"/>
                </a:lnTo>
                <a:lnTo>
                  <a:pt x="2476081" y="3214688"/>
                </a:lnTo>
                <a:lnTo>
                  <a:pt x="2502142" y="3214688"/>
                </a:lnTo>
                <a:close/>
                <a:moveTo>
                  <a:pt x="2638958" y="3213316"/>
                </a:moveTo>
                <a:lnTo>
                  <a:pt x="2638958" y="3187941"/>
                </a:lnTo>
                <a:lnTo>
                  <a:pt x="2664333" y="3187941"/>
                </a:lnTo>
                <a:lnTo>
                  <a:pt x="2664333" y="3162567"/>
                </a:lnTo>
                <a:lnTo>
                  <a:pt x="2638958" y="3162567"/>
                </a:lnTo>
                <a:lnTo>
                  <a:pt x="2638958" y="3137192"/>
                </a:lnTo>
                <a:lnTo>
                  <a:pt x="2613584" y="3137192"/>
                </a:lnTo>
                <a:lnTo>
                  <a:pt x="2613584" y="3162567"/>
                </a:lnTo>
                <a:lnTo>
                  <a:pt x="2588209" y="3162567"/>
                </a:lnTo>
                <a:lnTo>
                  <a:pt x="2588209" y="3187941"/>
                </a:lnTo>
                <a:lnTo>
                  <a:pt x="2613584" y="3187941"/>
                </a:lnTo>
                <a:lnTo>
                  <a:pt x="2613584" y="3213316"/>
                </a:lnTo>
                <a:lnTo>
                  <a:pt x="2638958" y="3213316"/>
                </a:lnTo>
                <a:close/>
                <a:moveTo>
                  <a:pt x="2432876" y="3349104"/>
                </a:moveTo>
                <a:lnTo>
                  <a:pt x="2432876" y="3324758"/>
                </a:lnTo>
                <a:lnTo>
                  <a:pt x="2457221" y="3324758"/>
                </a:lnTo>
                <a:lnTo>
                  <a:pt x="2457221" y="3300070"/>
                </a:lnTo>
                <a:lnTo>
                  <a:pt x="2432876" y="3300070"/>
                </a:lnTo>
                <a:lnTo>
                  <a:pt x="2432876" y="3275724"/>
                </a:lnTo>
                <a:lnTo>
                  <a:pt x="2408187" y="3275724"/>
                </a:lnTo>
                <a:lnTo>
                  <a:pt x="2408187" y="3300070"/>
                </a:lnTo>
                <a:lnTo>
                  <a:pt x="2383841" y="3300070"/>
                </a:lnTo>
                <a:lnTo>
                  <a:pt x="2383841" y="3324758"/>
                </a:lnTo>
                <a:lnTo>
                  <a:pt x="2408187" y="3324758"/>
                </a:lnTo>
                <a:lnTo>
                  <a:pt x="2408187" y="3349104"/>
                </a:lnTo>
                <a:lnTo>
                  <a:pt x="2432876" y="3349104"/>
                </a:lnTo>
                <a:close/>
                <a:moveTo>
                  <a:pt x="2708224" y="3078213"/>
                </a:moveTo>
                <a:lnTo>
                  <a:pt x="2708224" y="3051467"/>
                </a:lnTo>
                <a:lnTo>
                  <a:pt x="2734970" y="3051467"/>
                </a:lnTo>
                <a:lnTo>
                  <a:pt x="2734970" y="3024721"/>
                </a:lnTo>
                <a:lnTo>
                  <a:pt x="2708224" y="3024721"/>
                </a:lnTo>
                <a:lnTo>
                  <a:pt x="2708224" y="2997975"/>
                </a:lnTo>
                <a:lnTo>
                  <a:pt x="2681478" y="2997975"/>
                </a:lnTo>
                <a:lnTo>
                  <a:pt x="2681478" y="3024721"/>
                </a:lnTo>
                <a:lnTo>
                  <a:pt x="2654732" y="3024721"/>
                </a:lnTo>
                <a:lnTo>
                  <a:pt x="2654732" y="3051467"/>
                </a:lnTo>
                <a:lnTo>
                  <a:pt x="2681478" y="3051467"/>
                </a:lnTo>
                <a:lnTo>
                  <a:pt x="2681478" y="3078213"/>
                </a:lnTo>
                <a:lnTo>
                  <a:pt x="2708224" y="3078213"/>
                </a:lnTo>
                <a:close/>
                <a:moveTo>
                  <a:pt x="2365667" y="3216402"/>
                </a:moveTo>
                <a:lnTo>
                  <a:pt x="2365667" y="3188970"/>
                </a:lnTo>
                <a:lnTo>
                  <a:pt x="2393099" y="3188970"/>
                </a:lnTo>
                <a:lnTo>
                  <a:pt x="2393099" y="3161538"/>
                </a:lnTo>
                <a:lnTo>
                  <a:pt x="2365667" y="3161538"/>
                </a:lnTo>
                <a:lnTo>
                  <a:pt x="2365667" y="3134106"/>
                </a:lnTo>
                <a:lnTo>
                  <a:pt x="2338235" y="3134106"/>
                </a:lnTo>
                <a:lnTo>
                  <a:pt x="2338235" y="3161538"/>
                </a:lnTo>
                <a:lnTo>
                  <a:pt x="2310803" y="3161538"/>
                </a:lnTo>
                <a:lnTo>
                  <a:pt x="2310803" y="3188970"/>
                </a:lnTo>
                <a:lnTo>
                  <a:pt x="2338235" y="3188970"/>
                </a:lnTo>
                <a:lnTo>
                  <a:pt x="2338235" y="3216402"/>
                </a:lnTo>
                <a:lnTo>
                  <a:pt x="2365667" y="3216402"/>
                </a:lnTo>
                <a:close/>
                <a:moveTo>
                  <a:pt x="2159242" y="3351162"/>
                </a:moveTo>
                <a:lnTo>
                  <a:pt x="2159242" y="3325444"/>
                </a:lnTo>
                <a:lnTo>
                  <a:pt x="2184959" y="3325444"/>
                </a:lnTo>
                <a:lnTo>
                  <a:pt x="2184959" y="3299384"/>
                </a:lnTo>
                <a:lnTo>
                  <a:pt x="2159242" y="3299384"/>
                </a:lnTo>
                <a:lnTo>
                  <a:pt x="2159242" y="3273666"/>
                </a:lnTo>
                <a:lnTo>
                  <a:pt x="2133181" y="3273666"/>
                </a:lnTo>
                <a:lnTo>
                  <a:pt x="2133181" y="3299384"/>
                </a:lnTo>
                <a:lnTo>
                  <a:pt x="2107463" y="3299384"/>
                </a:lnTo>
                <a:lnTo>
                  <a:pt x="2107463" y="3325444"/>
                </a:lnTo>
                <a:lnTo>
                  <a:pt x="2133181" y="3325444"/>
                </a:lnTo>
                <a:lnTo>
                  <a:pt x="2133181" y="3351162"/>
                </a:lnTo>
                <a:lnTo>
                  <a:pt x="2159242" y="3351162"/>
                </a:lnTo>
                <a:close/>
                <a:moveTo>
                  <a:pt x="2228850" y="3217088"/>
                </a:moveTo>
                <a:lnTo>
                  <a:pt x="2228850" y="3189313"/>
                </a:lnTo>
                <a:lnTo>
                  <a:pt x="2256625" y="3189313"/>
                </a:lnTo>
                <a:lnTo>
                  <a:pt x="2256625" y="3161195"/>
                </a:lnTo>
                <a:lnTo>
                  <a:pt x="2228850" y="3161195"/>
                </a:lnTo>
                <a:lnTo>
                  <a:pt x="2228850" y="3133420"/>
                </a:lnTo>
                <a:lnTo>
                  <a:pt x="2200732" y="3133420"/>
                </a:lnTo>
                <a:lnTo>
                  <a:pt x="2200732" y="3161195"/>
                </a:lnTo>
                <a:lnTo>
                  <a:pt x="2172958" y="3161195"/>
                </a:lnTo>
                <a:lnTo>
                  <a:pt x="2172958" y="3189313"/>
                </a:lnTo>
                <a:lnTo>
                  <a:pt x="2200732" y="3189313"/>
                </a:lnTo>
                <a:lnTo>
                  <a:pt x="2200732" y="3217088"/>
                </a:lnTo>
                <a:lnTo>
                  <a:pt x="2228850" y="3217088"/>
                </a:lnTo>
                <a:close/>
                <a:moveTo>
                  <a:pt x="2296058" y="3350476"/>
                </a:moveTo>
                <a:lnTo>
                  <a:pt x="2296058" y="3325101"/>
                </a:lnTo>
                <a:lnTo>
                  <a:pt x="2321433" y="3325101"/>
                </a:lnTo>
                <a:lnTo>
                  <a:pt x="2321433" y="3299727"/>
                </a:lnTo>
                <a:lnTo>
                  <a:pt x="2296058" y="3299727"/>
                </a:lnTo>
                <a:lnTo>
                  <a:pt x="2296058" y="3274352"/>
                </a:lnTo>
                <a:lnTo>
                  <a:pt x="2270684" y="3274352"/>
                </a:lnTo>
                <a:lnTo>
                  <a:pt x="2270684" y="3299727"/>
                </a:lnTo>
                <a:lnTo>
                  <a:pt x="2245309" y="3299727"/>
                </a:lnTo>
                <a:lnTo>
                  <a:pt x="2245309" y="3325101"/>
                </a:lnTo>
                <a:lnTo>
                  <a:pt x="2270684" y="3325101"/>
                </a:lnTo>
                <a:lnTo>
                  <a:pt x="2270684" y="3350476"/>
                </a:lnTo>
                <a:lnTo>
                  <a:pt x="2296058" y="3350476"/>
                </a:lnTo>
                <a:close/>
                <a:moveTo>
                  <a:pt x="2844698" y="3076156"/>
                </a:moveTo>
                <a:lnTo>
                  <a:pt x="2844698" y="3050781"/>
                </a:lnTo>
                <a:lnTo>
                  <a:pt x="2870073" y="3050781"/>
                </a:lnTo>
                <a:lnTo>
                  <a:pt x="2870073" y="3025407"/>
                </a:lnTo>
                <a:lnTo>
                  <a:pt x="2844698" y="3025407"/>
                </a:lnTo>
                <a:lnTo>
                  <a:pt x="2844698" y="3000032"/>
                </a:lnTo>
                <a:lnTo>
                  <a:pt x="2819324" y="3000032"/>
                </a:lnTo>
                <a:lnTo>
                  <a:pt x="2819324" y="3025407"/>
                </a:lnTo>
                <a:lnTo>
                  <a:pt x="2793949" y="3025407"/>
                </a:lnTo>
                <a:lnTo>
                  <a:pt x="2793949" y="3050781"/>
                </a:lnTo>
                <a:lnTo>
                  <a:pt x="2819324" y="3050781"/>
                </a:lnTo>
                <a:lnTo>
                  <a:pt x="2819324" y="3076156"/>
                </a:lnTo>
                <a:lnTo>
                  <a:pt x="2844698" y="3076156"/>
                </a:lnTo>
                <a:close/>
                <a:moveTo>
                  <a:pt x="3256178" y="2527516"/>
                </a:moveTo>
                <a:lnTo>
                  <a:pt x="3256178" y="2502141"/>
                </a:lnTo>
                <a:lnTo>
                  <a:pt x="3281553" y="2502141"/>
                </a:lnTo>
                <a:lnTo>
                  <a:pt x="3281553" y="2476767"/>
                </a:lnTo>
                <a:lnTo>
                  <a:pt x="3256178" y="2476767"/>
                </a:lnTo>
                <a:lnTo>
                  <a:pt x="3256178" y="2451392"/>
                </a:lnTo>
                <a:lnTo>
                  <a:pt x="3230804" y="2451392"/>
                </a:lnTo>
                <a:lnTo>
                  <a:pt x="3230804" y="2476767"/>
                </a:lnTo>
                <a:lnTo>
                  <a:pt x="3205429" y="2476767"/>
                </a:lnTo>
                <a:lnTo>
                  <a:pt x="3205429" y="2502141"/>
                </a:lnTo>
                <a:lnTo>
                  <a:pt x="3230804" y="2502141"/>
                </a:lnTo>
                <a:lnTo>
                  <a:pt x="3230804" y="2527516"/>
                </a:lnTo>
                <a:lnTo>
                  <a:pt x="3256178" y="2527516"/>
                </a:lnTo>
                <a:close/>
                <a:moveTo>
                  <a:pt x="3187598" y="2664676"/>
                </a:moveTo>
                <a:lnTo>
                  <a:pt x="3187598" y="2639301"/>
                </a:lnTo>
                <a:lnTo>
                  <a:pt x="3212973" y="2639301"/>
                </a:lnTo>
                <a:lnTo>
                  <a:pt x="3212973" y="2613927"/>
                </a:lnTo>
                <a:lnTo>
                  <a:pt x="3187598" y="2613927"/>
                </a:lnTo>
                <a:lnTo>
                  <a:pt x="3187598" y="2588552"/>
                </a:lnTo>
                <a:lnTo>
                  <a:pt x="3162224" y="2588552"/>
                </a:lnTo>
                <a:lnTo>
                  <a:pt x="3162224" y="2613927"/>
                </a:lnTo>
                <a:lnTo>
                  <a:pt x="3136849" y="2613927"/>
                </a:lnTo>
                <a:lnTo>
                  <a:pt x="3136849" y="2639301"/>
                </a:lnTo>
                <a:lnTo>
                  <a:pt x="3162224" y="2639301"/>
                </a:lnTo>
                <a:lnTo>
                  <a:pt x="3162224" y="2664676"/>
                </a:lnTo>
                <a:lnTo>
                  <a:pt x="3187598" y="2664676"/>
                </a:lnTo>
                <a:close/>
                <a:moveTo>
                  <a:pt x="3324416" y="2389670"/>
                </a:moveTo>
                <a:lnTo>
                  <a:pt x="3324416" y="2364638"/>
                </a:lnTo>
                <a:lnTo>
                  <a:pt x="3349447" y="2364638"/>
                </a:lnTo>
                <a:lnTo>
                  <a:pt x="3349447" y="2339950"/>
                </a:lnTo>
                <a:lnTo>
                  <a:pt x="3324416" y="2339950"/>
                </a:lnTo>
                <a:lnTo>
                  <a:pt x="3324416" y="2314918"/>
                </a:lnTo>
                <a:lnTo>
                  <a:pt x="3299727" y="2314918"/>
                </a:lnTo>
                <a:lnTo>
                  <a:pt x="3299727" y="2339950"/>
                </a:lnTo>
                <a:lnTo>
                  <a:pt x="3274695" y="2339950"/>
                </a:lnTo>
                <a:lnTo>
                  <a:pt x="3274695" y="2364638"/>
                </a:lnTo>
                <a:lnTo>
                  <a:pt x="3299727" y="2364638"/>
                </a:lnTo>
                <a:lnTo>
                  <a:pt x="3299727" y="2389670"/>
                </a:lnTo>
                <a:lnTo>
                  <a:pt x="3324416" y="2389670"/>
                </a:lnTo>
                <a:close/>
                <a:moveTo>
                  <a:pt x="3118676" y="2801150"/>
                </a:moveTo>
                <a:lnTo>
                  <a:pt x="3118676" y="2776118"/>
                </a:lnTo>
                <a:lnTo>
                  <a:pt x="3143707" y="2776118"/>
                </a:lnTo>
                <a:lnTo>
                  <a:pt x="3143707" y="2751430"/>
                </a:lnTo>
                <a:lnTo>
                  <a:pt x="3118676" y="2751430"/>
                </a:lnTo>
                <a:lnTo>
                  <a:pt x="3118676" y="2726398"/>
                </a:lnTo>
                <a:lnTo>
                  <a:pt x="3093987" y="2726398"/>
                </a:lnTo>
                <a:lnTo>
                  <a:pt x="3093987" y="2751430"/>
                </a:lnTo>
                <a:lnTo>
                  <a:pt x="3068955" y="2751430"/>
                </a:lnTo>
                <a:lnTo>
                  <a:pt x="3068955" y="2776118"/>
                </a:lnTo>
                <a:lnTo>
                  <a:pt x="3093987" y="2776118"/>
                </a:lnTo>
                <a:lnTo>
                  <a:pt x="3093987" y="2801150"/>
                </a:lnTo>
                <a:lnTo>
                  <a:pt x="3118676" y="2801150"/>
                </a:lnTo>
                <a:close/>
                <a:moveTo>
                  <a:pt x="2913622" y="2940368"/>
                </a:moveTo>
                <a:lnTo>
                  <a:pt x="2913622" y="2913964"/>
                </a:lnTo>
                <a:lnTo>
                  <a:pt x="2940025" y="2913964"/>
                </a:lnTo>
                <a:lnTo>
                  <a:pt x="2940025" y="2887904"/>
                </a:lnTo>
                <a:lnTo>
                  <a:pt x="2913622" y="2887904"/>
                </a:lnTo>
                <a:lnTo>
                  <a:pt x="2913622" y="2861501"/>
                </a:lnTo>
                <a:lnTo>
                  <a:pt x="2887561" y="2861501"/>
                </a:lnTo>
                <a:lnTo>
                  <a:pt x="2887561" y="2887904"/>
                </a:lnTo>
                <a:lnTo>
                  <a:pt x="2861158" y="2887904"/>
                </a:lnTo>
                <a:lnTo>
                  <a:pt x="2861158" y="2913964"/>
                </a:lnTo>
                <a:lnTo>
                  <a:pt x="2887561" y="2913964"/>
                </a:lnTo>
                <a:lnTo>
                  <a:pt x="2887561" y="2940368"/>
                </a:lnTo>
                <a:lnTo>
                  <a:pt x="2913622" y="2940368"/>
                </a:lnTo>
                <a:close/>
                <a:moveTo>
                  <a:pt x="3050096" y="2937624"/>
                </a:moveTo>
                <a:lnTo>
                  <a:pt x="3050096" y="2913278"/>
                </a:lnTo>
                <a:lnTo>
                  <a:pt x="3074441" y="2913278"/>
                </a:lnTo>
                <a:lnTo>
                  <a:pt x="3074441" y="2888590"/>
                </a:lnTo>
                <a:lnTo>
                  <a:pt x="3050096" y="2888590"/>
                </a:lnTo>
                <a:lnTo>
                  <a:pt x="3050096" y="2864244"/>
                </a:lnTo>
                <a:lnTo>
                  <a:pt x="3025407" y="2864244"/>
                </a:lnTo>
                <a:lnTo>
                  <a:pt x="3025407" y="2888590"/>
                </a:lnTo>
                <a:lnTo>
                  <a:pt x="3001061" y="2888590"/>
                </a:lnTo>
                <a:lnTo>
                  <a:pt x="3001061" y="2913278"/>
                </a:lnTo>
                <a:lnTo>
                  <a:pt x="3025407" y="2913278"/>
                </a:lnTo>
                <a:lnTo>
                  <a:pt x="3025407" y="2937624"/>
                </a:lnTo>
                <a:lnTo>
                  <a:pt x="3050096" y="2937624"/>
                </a:lnTo>
                <a:close/>
                <a:moveTo>
                  <a:pt x="3392653" y="2251481"/>
                </a:moveTo>
                <a:lnTo>
                  <a:pt x="3392653" y="2227136"/>
                </a:lnTo>
                <a:lnTo>
                  <a:pt x="3416999" y="2227136"/>
                </a:lnTo>
                <a:lnTo>
                  <a:pt x="3416999" y="2203133"/>
                </a:lnTo>
                <a:lnTo>
                  <a:pt x="3392653" y="2203133"/>
                </a:lnTo>
                <a:lnTo>
                  <a:pt x="3392653" y="2178787"/>
                </a:lnTo>
                <a:lnTo>
                  <a:pt x="3368650" y="2178787"/>
                </a:lnTo>
                <a:lnTo>
                  <a:pt x="3368650" y="2203133"/>
                </a:lnTo>
                <a:lnTo>
                  <a:pt x="3344304" y="2203133"/>
                </a:lnTo>
                <a:lnTo>
                  <a:pt x="3344304" y="2227136"/>
                </a:lnTo>
                <a:lnTo>
                  <a:pt x="3368650" y="2227136"/>
                </a:lnTo>
                <a:lnTo>
                  <a:pt x="3368650" y="2251481"/>
                </a:lnTo>
                <a:lnTo>
                  <a:pt x="3392653" y="2251481"/>
                </a:lnTo>
                <a:close/>
                <a:moveTo>
                  <a:pt x="2777490" y="2943111"/>
                </a:moveTo>
                <a:lnTo>
                  <a:pt x="2777490" y="2914993"/>
                </a:lnTo>
                <a:lnTo>
                  <a:pt x="2805608" y="2914993"/>
                </a:lnTo>
                <a:lnTo>
                  <a:pt x="2805608" y="2886875"/>
                </a:lnTo>
                <a:lnTo>
                  <a:pt x="2777490" y="2886875"/>
                </a:lnTo>
                <a:lnTo>
                  <a:pt x="2777490" y="2858757"/>
                </a:lnTo>
                <a:lnTo>
                  <a:pt x="2749372" y="2858757"/>
                </a:lnTo>
                <a:lnTo>
                  <a:pt x="2749372" y="2886875"/>
                </a:lnTo>
                <a:lnTo>
                  <a:pt x="2721254" y="2886875"/>
                </a:lnTo>
                <a:lnTo>
                  <a:pt x="2721254" y="2914993"/>
                </a:lnTo>
                <a:lnTo>
                  <a:pt x="2749372" y="2914993"/>
                </a:lnTo>
                <a:lnTo>
                  <a:pt x="2749372" y="2943111"/>
                </a:lnTo>
                <a:lnTo>
                  <a:pt x="2777490" y="2943111"/>
                </a:lnTo>
                <a:close/>
                <a:moveTo>
                  <a:pt x="2982544" y="2804236"/>
                </a:moveTo>
                <a:lnTo>
                  <a:pt x="2982544" y="2777147"/>
                </a:lnTo>
                <a:lnTo>
                  <a:pt x="3009634" y="2777147"/>
                </a:lnTo>
                <a:lnTo>
                  <a:pt x="3009634" y="2750401"/>
                </a:lnTo>
                <a:lnTo>
                  <a:pt x="2982544" y="2750401"/>
                </a:lnTo>
                <a:lnTo>
                  <a:pt x="2982544" y="2723312"/>
                </a:lnTo>
                <a:lnTo>
                  <a:pt x="2955798" y="2723312"/>
                </a:lnTo>
                <a:lnTo>
                  <a:pt x="2955798" y="2750401"/>
                </a:lnTo>
                <a:lnTo>
                  <a:pt x="2928709" y="2750401"/>
                </a:lnTo>
                <a:lnTo>
                  <a:pt x="2928709" y="2777147"/>
                </a:lnTo>
                <a:lnTo>
                  <a:pt x="2955798" y="2777147"/>
                </a:lnTo>
                <a:lnTo>
                  <a:pt x="2955798" y="2804236"/>
                </a:lnTo>
                <a:lnTo>
                  <a:pt x="2982544" y="2804236"/>
                </a:lnTo>
                <a:close/>
                <a:moveTo>
                  <a:pt x="1584884" y="531152"/>
                </a:moveTo>
                <a:lnTo>
                  <a:pt x="1584884" y="556527"/>
                </a:lnTo>
                <a:lnTo>
                  <a:pt x="1559509" y="556527"/>
                </a:lnTo>
                <a:lnTo>
                  <a:pt x="1559509" y="581901"/>
                </a:lnTo>
                <a:lnTo>
                  <a:pt x="1584884" y="581901"/>
                </a:lnTo>
                <a:lnTo>
                  <a:pt x="1584884" y="607276"/>
                </a:lnTo>
                <a:lnTo>
                  <a:pt x="1610258" y="607276"/>
                </a:lnTo>
                <a:lnTo>
                  <a:pt x="1610258" y="581901"/>
                </a:lnTo>
                <a:lnTo>
                  <a:pt x="1635633" y="581901"/>
                </a:lnTo>
                <a:lnTo>
                  <a:pt x="1635633" y="556527"/>
                </a:lnTo>
                <a:lnTo>
                  <a:pt x="1610258" y="556527"/>
                </a:lnTo>
                <a:lnTo>
                  <a:pt x="1610258" y="531152"/>
                </a:lnTo>
                <a:lnTo>
                  <a:pt x="1584884" y="531152"/>
                </a:lnTo>
                <a:close/>
                <a:moveTo>
                  <a:pt x="1544764" y="2947911"/>
                </a:moveTo>
                <a:lnTo>
                  <a:pt x="1544764" y="2916707"/>
                </a:lnTo>
                <a:lnTo>
                  <a:pt x="1575968" y="2916707"/>
                </a:lnTo>
                <a:lnTo>
                  <a:pt x="1575968" y="2885161"/>
                </a:lnTo>
                <a:lnTo>
                  <a:pt x="1544764" y="2885161"/>
                </a:lnTo>
                <a:lnTo>
                  <a:pt x="1544764" y="2853957"/>
                </a:lnTo>
                <a:lnTo>
                  <a:pt x="1513218" y="2853957"/>
                </a:lnTo>
                <a:lnTo>
                  <a:pt x="1513218" y="2885161"/>
                </a:lnTo>
                <a:lnTo>
                  <a:pt x="1482014" y="2885161"/>
                </a:lnTo>
                <a:lnTo>
                  <a:pt x="1482014" y="2916707"/>
                </a:lnTo>
                <a:lnTo>
                  <a:pt x="1513218" y="2916707"/>
                </a:lnTo>
                <a:lnTo>
                  <a:pt x="1513218" y="2947911"/>
                </a:lnTo>
                <a:lnTo>
                  <a:pt x="1544764" y="2947911"/>
                </a:lnTo>
                <a:close/>
                <a:moveTo>
                  <a:pt x="1339024" y="2811094"/>
                </a:moveTo>
                <a:lnTo>
                  <a:pt x="1339024" y="2779547"/>
                </a:lnTo>
                <a:lnTo>
                  <a:pt x="1370571" y="2779547"/>
                </a:lnTo>
                <a:lnTo>
                  <a:pt x="1370571" y="2748001"/>
                </a:lnTo>
                <a:lnTo>
                  <a:pt x="1339024" y="2748001"/>
                </a:lnTo>
                <a:lnTo>
                  <a:pt x="1339024" y="2716454"/>
                </a:lnTo>
                <a:lnTo>
                  <a:pt x="1307478" y="2716454"/>
                </a:lnTo>
                <a:lnTo>
                  <a:pt x="1307478" y="2748001"/>
                </a:lnTo>
                <a:lnTo>
                  <a:pt x="1275931" y="2748001"/>
                </a:lnTo>
                <a:lnTo>
                  <a:pt x="1275931" y="2779547"/>
                </a:lnTo>
                <a:lnTo>
                  <a:pt x="1307478" y="2779547"/>
                </a:lnTo>
                <a:lnTo>
                  <a:pt x="1307478" y="2811094"/>
                </a:lnTo>
                <a:lnTo>
                  <a:pt x="1339024" y="2811094"/>
                </a:lnTo>
                <a:close/>
                <a:moveTo>
                  <a:pt x="1201179" y="2809380"/>
                </a:moveTo>
                <a:lnTo>
                  <a:pt x="1201179" y="2778862"/>
                </a:lnTo>
                <a:lnTo>
                  <a:pt x="1231697" y="2778862"/>
                </a:lnTo>
                <a:lnTo>
                  <a:pt x="1231697" y="2748686"/>
                </a:lnTo>
                <a:lnTo>
                  <a:pt x="1201179" y="2748686"/>
                </a:lnTo>
                <a:lnTo>
                  <a:pt x="1201179" y="2718168"/>
                </a:lnTo>
                <a:lnTo>
                  <a:pt x="1171003" y="2718168"/>
                </a:lnTo>
                <a:lnTo>
                  <a:pt x="1171003" y="2748686"/>
                </a:lnTo>
                <a:lnTo>
                  <a:pt x="1140485" y="2748686"/>
                </a:lnTo>
                <a:lnTo>
                  <a:pt x="1140485" y="2778862"/>
                </a:lnTo>
                <a:lnTo>
                  <a:pt x="1171003" y="2778862"/>
                </a:lnTo>
                <a:lnTo>
                  <a:pt x="1171003" y="2809380"/>
                </a:lnTo>
                <a:lnTo>
                  <a:pt x="1201179" y="2809380"/>
                </a:lnTo>
                <a:close/>
                <a:moveTo>
                  <a:pt x="1476527" y="2812123"/>
                </a:moveTo>
                <a:lnTo>
                  <a:pt x="1476527" y="2779890"/>
                </a:lnTo>
                <a:lnTo>
                  <a:pt x="1508760" y="2779890"/>
                </a:lnTo>
                <a:lnTo>
                  <a:pt x="1508760" y="2747658"/>
                </a:lnTo>
                <a:lnTo>
                  <a:pt x="1476527" y="2747658"/>
                </a:lnTo>
                <a:lnTo>
                  <a:pt x="1476527" y="2715425"/>
                </a:lnTo>
                <a:lnTo>
                  <a:pt x="1444295" y="2715425"/>
                </a:lnTo>
                <a:lnTo>
                  <a:pt x="1444295" y="2747658"/>
                </a:lnTo>
                <a:lnTo>
                  <a:pt x="1412062" y="2747658"/>
                </a:lnTo>
                <a:lnTo>
                  <a:pt x="1412062" y="2779890"/>
                </a:lnTo>
                <a:lnTo>
                  <a:pt x="1444295" y="2779890"/>
                </a:lnTo>
                <a:lnTo>
                  <a:pt x="1444295" y="2812123"/>
                </a:lnTo>
                <a:lnTo>
                  <a:pt x="1476527" y="2812123"/>
                </a:lnTo>
                <a:close/>
                <a:moveTo>
                  <a:pt x="1406919" y="2946540"/>
                </a:moveTo>
                <a:lnTo>
                  <a:pt x="1406919" y="2916022"/>
                </a:lnTo>
                <a:lnTo>
                  <a:pt x="1437437" y="2916022"/>
                </a:lnTo>
                <a:lnTo>
                  <a:pt x="1437437" y="2885846"/>
                </a:lnTo>
                <a:lnTo>
                  <a:pt x="1406919" y="2885846"/>
                </a:lnTo>
                <a:lnTo>
                  <a:pt x="1406919" y="2855328"/>
                </a:lnTo>
                <a:lnTo>
                  <a:pt x="1376743" y="2855328"/>
                </a:lnTo>
                <a:lnTo>
                  <a:pt x="1376743" y="2885846"/>
                </a:lnTo>
                <a:lnTo>
                  <a:pt x="1346225" y="2885846"/>
                </a:lnTo>
                <a:lnTo>
                  <a:pt x="1346225" y="2916022"/>
                </a:lnTo>
                <a:lnTo>
                  <a:pt x="1376743" y="2916022"/>
                </a:lnTo>
                <a:lnTo>
                  <a:pt x="1376743" y="2946540"/>
                </a:lnTo>
                <a:lnTo>
                  <a:pt x="1406919" y="2946540"/>
                </a:lnTo>
                <a:close/>
                <a:moveTo>
                  <a:pt x="1269416" y="2945168"/>
                </a:moveTo>
                <a:lnTo>
                  <a:pt x="1269416" y="2915679"/>
                </a:lnTo>
                <a:lnTo>
                  <a:pt x="1298905" y="2915679"/>
                </a:lnTo>
                <a:lnTo>
                  <a:pt x="1298905" y="2886189"/>
                </a:lnTo>
                <a:lnTo>
                  <a:pt x="1269416" y="2886189"/>
                </a:lnTo>
                <a:lnTo>
                  <a:pt x="1269416" y="2856700"/>
                </a:lnTo>
                <a:lnTo>
                  <a:pt x="1239926" y="2856700"/>
                </a:lnTo>
                <a:lnTo>
                  <a:pt x="1239926" y="2886189"/>
                </a:lnTo>
                <a:lnTo>
                  <a:pt x="1210437" y="2886189"/>
                </a:lnTo>
                <a:lnTo>
                  <a:pt x="1210437" y="2915679"/>
                </a:lnTo>
                <a:lnTo>
                  <a:pt x="1239926" y="2915679"/>
                </a:lnTo>
                <a:lnTo>
                  <a:pt x="1239926" y="2945168"/>
                </a:lnTo>
                <a:lnTo>
                  <a:pt x="1269416" y="2945168"/>
                </a:lnTo>
                <a:close/>
                <a:moveTo>
                  <a:pt x="926516" y="2534031"/>
                </a:moveTo>
                <a:lnTo>
                  <a:pt x="926516" y="2504199"/>
                </a:lnTo>
                <a:lnTo>
                  <a:pt x="956348" y="2504199"/>
                </a:lnTo>
                <a:lnTo>
                  <a:pt x="956348" y="2474709"/>
                </a:lnTo>
                <a:lnTo>
                  <a:pt x="926516" y="2474709"/>
                </a:lnTo>
                <a:lnTo>
                  <a:pt x="926516" y="2444877"/>
                </a:lnTo>
                <a:lnTo>
                  <a:pt x="897026" y="2444877"/>
                </a:lnTo>
                <a:lnTo>
                  <a:pt x="897026" y="2474709"/>
                </a:lnTo>
                <a:lnTo>
                  <a:pt x="867194" y="2474709"/>
                </a:lnTo>
                <a:lnTo>
                  <a:pt x="867194" y="2504199"/>
                </a:lnTo>
                <a:lnTo>
                  <a:pt x="897026" y="2504199"/>
                </a:lnTo>
                <a:lnTo>
                  <a:pt x="897026" y="2534031"/>
                </a:lnTo>
                <a:lnTo>
                  <a:pt x="926516" y="2534031"/>
                </a:lnTo>
                <a:close/>
                <a:moveTo>
                  <a:pt x="995096" y="2670848"/>
                </a:moveTo>
                <a:lnTo>
                  <a:pt x="995096" y="2641359"/>
                </a:lnTo>
                <a:lnTo>
                  <a:pt x="1024585" y="2641359"/>
                </a:lnTo>
                <a:lnTo>
                  <a:pt x="1024585" y="2611869"/>
                </a:lnTo>
                <a:lnTo>
                  <a:pt x="995096" y="2611869"/>
                </a:lnTo>
                <a:lnTo>
                  <a:pt x="995096" y="2582380"/>
                </a:lnTo>
                <a:lnTo>
                  <a:pt x="965606" y="2582380"/>
                </a:lnTo>
                <a:lnTo>
                  <a:pt x="965606" y="2611869"/>
                </a:lnTo>
                <a:lnTo>
                  <a:pt x="936117" y="2611869"/>
                </a:lnTo>
                <a:lnTo>
                  <a:pt x="936117" y="2641359"/>
                </a:lnTo>
                <a:lnTo>
                  <a:pt x="965606" y="2641359"/>
                </a:lnTo>
                <a:lnTo>
                  <a:pt x="965606" y="2670848"/>
                </a:lnTo>
                <a:lnTo>
                  <a:pt x="995096" y="2670848"/>
                </a:lnTo>
                <a:close/>
                <a:moveTo>
                  <a:pt x="1132942" y="2673248"/>
                </a:moveTo>
                <a:lnTo>
                  <a:pt x="1132942" y="2642045"/>
                </a:lnTo>
                <a:lnTo>
                  <a:pt x="1164145" y="2642045"/>
                </a:lnTo>
                <a:lnTo>
                  <a:pt x="1164145" y="2611184"/>
                </a:lnTo>
                <a:lnTo>
                  <a:pt x="1132942" y="2611184"/>
                </a:lnTo>
                <a:lnTo>
                  <a:pt x="1132942" y="2579980"/>
                </a:lnTo>
                <a:lnTo>
                  <a:pt x="1102081" y="2579980"/>
                </a:lnTo>
                <a:lnTo>
                  <a:pt x="1102081" y="2611184"/>
                </a:lnTo>
                <a:lnTo>
                  <a:pt x="1070877" y="2611184"/>
                </a:lnTo>
                <a:lnTo>
                  <a:pt x="1070877" y="2642045"/>
                </a:lnTo>
                <a:lnTo>
                  <a:pt x="1102081" y="2642045"/>
                </a:lnTo>
                <a:lnTo>
                  <a:pt x="1102081" y="2673248"/>
                </a:lnTo>
                <a:lnTo>
                  <a:pt x="1132942" y="2673248"/>
                </a:lnTo>
                <a:close/>
                <a:moveTo>
                  <a:pt x="1063333" y="2807322"/>
                </a:moveTo>
                <a:lnTo>
                  <a:pt x="1063333" y="2778176"/>
                </a:lnTo>
                <a:lnTo>
                  <a:pt x="1092479" y="2778176"/>
                </a:lnTo>
                <a:lnTo>
                  <a:pt x="1092479" y="2749372"/>
                </a:lnTo>
                <a:lnTo>
                  <a:pt x="1063333" y="2749372"/>
                </a:lnTo>
                <a:lnTo>
                  <a:pt x="1063333" y="2720226"/>
                </a:lnTo>
                <a:lnTo>
                  <a:pt x="1034529" y="2720226"/>
                </a:lnTo>
                <a:lnTo>
                  <a:pt x="1034529" y="2749372"/>
                </a:lnTo>
                <a:lnTo>
                  <a:pt x="1005383" y="2749372"/>
                </a:lnTo>
                <a:lnTo>
                  <a:pt x="1005383" y="2778176"/>
                </a:lnTo>
                <a:lnTo>
                  <a:pt x="1034529" y="2778176"/>
                </a:lnTo>
                <a:lnTo>
                  <a:pt x="1034529" y="2807322"/>
                </a:lnTo>
                <a:lnTo>
                  <a:pt x="1063333" y="2807322"/>
                </a:lnTo>
                <a:close/>
                <a:moveTo>
                  <a:pt x="2161299" y="3083700"/>
                </a:moveTo>
                <a:lnTo>
                  <a:pt x="2161299" y="3053182"/>
                </a:lnTo>
                <a:lnTo>
                  <a:pt x="2191817" y="3053182"/>
                </a:lnTo>
                <a:lnTo>
                  <a:pt x="2191817" y="3023006"/>
                </a:lnTo>
                <a:lnTo>
                  <a:pt x="2161299" y="3023006"/>
                </a:lnTo>
                <a:lnTo>
                  <a:pt x="2161299" y="2992488"/>
                </a:lnTo>
                <a:lnTo>
                  <a:pt x="2131124" y="2992488"/>
                </a:lnTo>
                <a:lnTo>
                  <a:pt x="2131124" y="3023006"/>
                </a:lnTo>
                <a:lnTo>
                  <a:pt x="2100605" y="3023006"/>
                </a:lnTo>
                <a:lnTo>
                  <a:pt x="2100605" y="3053182"/>
                </a:lnTo>
                <a:lnTo>
                  <a:pt x="2131124" y="3053182"/>
                </a:lnTo>
                <a:lnTo>
                  <a:pt x="2131124" y="3083700"/>
                </a:lnTo>
                <a:lnTo>
                  <a:pt x="2161299" y="3083700"/>
                </a:lnTo>
                <a:close/>
                <a:moveTo>
                  <a:pt x="2093747" y="2949283"/>
                </a:moveTo>
                <a:lnTo>
                  <a:pt x="2093747" y="2917050"/>
                </a:lnTo>
                <a:lnTo>
                  <a:pt x="2125980" y="2917050"/>
                </a:lnTo>
                <a:lnTo>
                  <a:pt x="2125980" y="2884818"/>
                </a:lnTo>
                <a:lnTo>
                  <a:pt x="2093747" y="2884818"/>
                </a:lnTo>
                <a:lnTo>
                  <a:pt x="2093747" y="2852585"/>
                </a:lnTo>
                <a:lnTo>
                  <a:pt x="2061515" y="2852585"/>
                </a:lnTo>
                <a:lnTo>
                  <a:pt x="2061515" y="2884818"/>
                </a:lnTo>
                <a:lnTo>
                  <a:pt x="2029282" y="2884818"/>
                </a:lnTo>
                <a:lnTo>
                  <a:pt x="2029282" y="2917050"/>
                </a:lnTo>
                <a:lnTo>
                  <a:pt x="2061515" y="2917050"/>
                </a:lnTo>
                <a:lnTo>
                  <a:pt x="2061515" y="2949283"/>
                </a:lnTo>
                <a:lnTo>
                  <a:pt x="2093747" y="2949283"/>
                </a:lnTo>
                <a:close/>
                <a:moveTo>
                  <a:pt x="2230565" y="2948597"/>
                </a:moveTo>
                <a:lnTo>
                  <a:pt x="2230565" y="2916707"/>
                </a:lnTo>
                <a:lnTo>
                  <a:pt x="2262454" y="2916707"/>
                </a:lnTo>
                <a:lnTo>
                  <a:pt x="2262454" y="2885161"/>
                </a:lnTo>
                <a:lnTo>
                  <a:pt x="2230565" y="2885161"/>
                </a:lnTo>
                <a:lnTo>
                  <a:pt x="2230565" y="2853271"/>
                </a:lnTo>
                <a:lnTo>
                  <a:pt x="2199018" y="2853271"/>
                </a:lnTo>
                <a:lnTo>
                  <a:pt x="2199018" y="2885161"/>
                </a:lnTo>
                <a:lnTo>
                  <a:pt x="2167128" y="2885161"/>
                </a:lnTo>
                <a:lnTo>
                  <a:pt x="2167128" y="2916707"/>
                </a:lnTo>
                <a:lnTo>
                  <a:pt x="2199018" y="2916707"/>
                </a:lnTo>
                <a:lnTo>
                  <a:pt x="2199018" y="2948597"/>
                </a:lnTo>
                <a:lnTo>
                  <a:pt x="2230565" y="2948597"/>
                </a:lnTo>
                <a:close/>
                <a:moveTo>
                  <a:pt x="857936" y="2396871"/>
                </a:moveTo>
                <a:lnTo>
                  <a:pt x="857936" y="2367039"/>
                </a:lnTo>
                <a:lnTo>
                  <a:pt x="887768" y="2367039"/>
                </a:lnTo>
                <a:lnTo>
                  <a:pt x="887768" y="2337549"/>
                </a:lnTo>
                <a:lnTo>
                  <a:pt x="857936" y="2337549"/>
                </a:lnTo>
                <a:lnTo>
                  <a:pt x="857936" y="2307717"/>
                </a:lnTo>
                <a:lnTo>
                  <a:pt x="828446" y="2307717"/>
                </a:lnTo>
                <a:lnTo>
                  <a:pt x="828446" y="2337549"/>
                </a:lnTo>
                <a:lnTo>
                  <a:pt x="798614" y="2337549"/>
                </a:lnTo>
                <a:lnTo>
                  <a:pt x="798614" y="2367039"/>
                </a:lnTo>
                <a:lnTo>
                  <a:pt x="828446" y="2367039"/>
                </a:lnTo>
                <a:lnTo>
                  <a:pt x="828446" y="2396871"/>
                </a:lnTo>
                <a:lnTo>
                  <a:pt x="857936" y="2396871"/>
                </a:lnTo>
                <a:close/>
                <a:moveTo>
                  <a:pt x="1956587" y="2949283"/>
                </a:moveTo>
                <a:lnTo>
                  <a:pt x="1956587" y="2917050"/>
                </a:lnTo>
                <a:lnTo>
                  <a:pt x="1988820" y="2917050"/>
                </a:lnTo>
                <a:lnTo>
                  <a:pt x="1988820" y="2884818"/>
                </a:lnTo>
                <a:lnTo>
                  <a:pt x="1956587" y="2884818"/>
                </a:lnTo>
                <a:lnTo>
                  <a:pt x="1956587" y="2852585"/>
                </a:lnTo>
                <a:lnTo>
                  <a:pt x="1924355" y="2852585"/>
                </a:lnTo>
                <a:lnTo>
                  <a:pt x="1924355" y="2884818"/>
                </a:lnTo>
                <a:lnTo>
                  <a:pt x="1892122" y="2884818"/>
                </a:lnTo>
                <a:lnTo>
                  <a:pt x="1892122" y="2917050"/>
                </a:lnTo>
                <a:lnTo>
                  <a:pt x="1924355" y="2917050"/>
                </a:lnTo>
                <a:lnTo>
                  <a:pt x="1924355" y="2949283"/>
                </a:lnTo>
                <a:lnTo>
                  <a:pt x="1956587" y="2949283"/>
                </a:lnTo>
                <a:close/>
                <a:moveTo>
                  <a:pt x="1681924" y="2948597"/>
                </a:moveTo>
                <a:lnTo>
                  <a:pt x="1681924" y="2916707"/>
                </a:lnTo>
                <a:lnTo>
                  <a:pt x="1713814" y="2916707"/>
                </a:lnTo>
                <a:lnTo>
                  <a:pt x="1713814" y="2885161"/>
                </a:lnTo>
                <a:lnTo>
                  <a:pt x="1681924" y="2885161"/>
                </a:lnTo>
                <a:lnTo>
                  <a:pt x="1681924" y="2853271"/>
                </a:lnTo>
                <a:lnTo>
                  <a:pt x="1650378" y="2853271"/>
                </a:lnTo>
                <a:lnTo>
                  <a:pt x="1650378" y="2885161"/>
                </a:lnTo>
                <a:lnTo>
                  <a:pt x="1618488" y="2885161"/>
                </a:lnTo>
                <a:lnTo>
                  <a:pt x="1618488" y="2916707"/>
                </a:lnTo>
                <a:lnTo>
                  <a:pt x="1650378" y="2916707"/>
                </a:lnTo>
                <a:lnTo>
                  <a:pt x="1650378" y="2948597"/>
                </a:lnTo>
                <a:lnTo>
                  <a:pt x="1681924" y="2948597"/>
                </a:lnTo>
                <a:close/>
                <a:moveTo>
                  <a:pt x="1612659" y="3083014"/>
                </a:moveTo>
                <a:lnTo>
                  <a:pt x="1612659" y="3053182"/>
                </a:lnTo>
                <a:lnTo>
                  <a:pt x="1642491" y="3053182"/>
                </a:lnTo>
                <a:lnTo>
                  <a:pt x="1642491" y="3023006"/>
                </a:lnTo>
                <a:lnTo>
                  <a:pt x="1612659" y="3023006"/>
                </a:lnTo>
                <a:lnTo>
                  <a:pt x="1612659" y="2993174"/>
                </a:lnTo>
                <a:lnTo>
                  <a:pt x="1582483" y="2993174"/>
                </a:lnTo>
                <a:lnTo>
                  <a:pt x="1582483" y="3023006"/>
                </a:lnTo>
                <a:lnTo>
                  <a:pt x="1552651" y="3023006"/>
                </a:lnTo>
                <a:lnTo>
                  <a:pt x="1552651" y="3053182"/>
                </a:lnTo>
                <a:lnTo>
                  <a:pt x="1582483" y="3053182"/>
                </a:lnTo>
                <a:lnTo>
                  <a:pt x="1582483" y="3083014"/>
                </a:lnTo>
                <a:lnTo>
                  <a:pt x="1612659" y="3083014"/>
                </a:lnTo>
                <a:close/>
                <a:moveTo>
                  <a:pt x="1887322" y="3084043"/>
                </a:moveTo>
                <a:lnTo>
                  <a:pt x="1887322" y="3053525"/>
                </a:lnTo>
                <a:lnTo>
                  <a:pt x="1917840" y="3053525"/>
                </a:lnTo>
                <a:lnTo>
                  <a:pt x="1917840" y="3022664"/>
                </a:lnTo>
                <a:lnTo>
                  <a:pt x="1887322" y="3022664"/>
                </a:lnTo>
                <a:lnTo>
                  <a:pt x="1887322" y="2992145"/>
                </a:lnTo>
                <a:lnTo>
                  <a:pt x="1856461" y="2992145"/>
                </a:lnTo>
                <a:lnTo>
                  <a:pt x="1856461" y="3022664"/>
                </a:lnTo>
                <a:lnTo>
                  <a:pt x="1825942" y="3022664"/>
                </a:lnTo>
                <a:lnTo>
                  <a:pt x="1825942" y="3053525"/>
                </a:lnTo>
                <a:lnTo>
                  <a:pt x="1856461" y="3053525"/>
                </a:lnTo>
                <a:lnTo>
                  <a:pt x="1856461" y="3084043"/>
                </a:lnTo>
                <a:lnTo>
                  <a:pt x="1887322" y="3084043"/>
                </a:lnTo>
                <a:close/>
                <a:moveTo>
                  <a:pt x="1749819" y="3083700"/>
                </a:moveTo>
                <a:lnTo>
                  <a:pt x="1749819" y="3053182"/>
                </a:lnTo>
                <a:lnTo>
                  <a:pt x="1780337" y="3053182"/>
                </a:lnTo>
                <a:lnTo>
                  <a:pt x="1780337" y="3023006"/>
                </a:lnTo>
                <a:lnTo>
                  <a:pt x="1749819" y="3023006"/>
                </a:lnTo>
                <a:lnTo>
                  <a:pt x="1749819" y="2992488"/>
                </a:lnTo>
                <a:lnTo>
                  <a:pt x="1719643" y="2992488"/>
                </a:lnTo>
                <a:lnTo>
                  <a:pt x="1719643" y="3023006"/>
                </a:lnTo>
                <a:lnTo>
                  <a:pt x="1689125" y="3023006"/>
                </a:lnTo>
                <a:lnTo>
                  <a:pt x="1689125" y="3053182"/>
                </a:lnTo>
                <a:lnTo>
                  <a:pt x="1719643" y="3053182"/>
                </a:lnTo>
                <a:lnTo>
                  <a:pt x="1719643" y="3083700"/>
                </a:lnTo>
                <a:lnTo>
                  <a:pt x="1749819" y="3083700"/>
                </a:lnTo>
                <a:close/>
                <a:moveTo>
                  <a:pt x="1819427" y="2949283"/>
                </a:moveTo>
                <a:lnTo>
                  <a:pt x="1819427" y="2917050"/>
                </a:lnTo>
                <a:lnTo>
                  <a:pt x="1851660" y="2917050"/>
                </a:lnTo>
                <a:lnTo>
                  <a:pt x="1851660" y="2884818"/>
                </a:lnTo>
                <a:lnTo>
                  <a:pt x="1819427" y="2884818"/>
                </a:lnTo>
                <a:lnTo>
                  <a:pt x="1819427" y="2852585"/>
                </a:lnTo>
                <a:lnTo>
                  <a:pt x="1787195" y="2852585"/>
                </a:lnTo>
                <a:lnTo>
                  <a:pt x="1787195" y="2884818"/>
                </a:lnTo>
                <a:lnTo>
                  <a:pt x="1754962" y="2884818"/>
                </a:lnTo>
                <a:lnTo>
                  <a:pt x="1754962" y="2917050"/>
                </a:lnTo>
                <a:lnTo>
                  <a:pt x="1787195" y="2917050"/>
                </a:lnTo>
                <a:lnTo>
                  <a:pt x="1787195" y="2949283"/>
                </a:lnTo>
                <a:lnTo>
                  <a:pt x="1819427" y="2949283"/>
                </a:lnTo>
                <a:close/>
                <a:moveTo>
                  <a:pt x="2024482" y="3084043"/>
                </a:moveTo>
                <a:lnTo>
                  <a:pt x="2024482" y="3053525"/>
                </a:lnTo>
                <a:lnTo>
                  <a:pt x="2055000" y="3053525"/>
                </a:lnTo>
                <a:lnTo>
                  <a:pt x="2055000" y="3022664"/>
                </a:lnTo>
                <a:lnTo>
                  <a:pt x="2024482" y="3022664"/>
                </a:lnTo>
                <a:lnTo>
                  <a:pt x="2024482" y="2992145"/>
                </a:lnTo>
                <a:lnTo>
                  <a:pt x="1993621" y="2992145"/>
                </a:lnTo>
                <a:lnTo>
                  <a:pt x="1993621" y="3022664"/>
                </a:lnTo>
                <a:lnTo>
                  <a:pt x="1963102" y="3022664"/>
                </a:lnTo>
                <a:lnTo>
                  <a:pt x="1963102" y="3053525"/>
                </a:lnTo>
                <a:lnTo>
                  <a:pt x="1993621" y="3053525"/>
                </a:lnTo>
                <a:lnTo>
                  <a:pt x="1993621" y="3084043"/>
                </a:lnTo>
                <a:lnTo>
                  <a:pt x="2024482" y="3084043"/>
                </a:lnTo>
                <a:close/>
                <a:moveTo>
                  <a:pt x="1171003" y="1072248"/>
                </a:moveTo>
                <a:lnTo>
                  <a:pt x="1171003" y="1102766"/>
                </a:lnTo>
                <a:lnTo>
                  <a:pt x="1140485" y="1102766"/>
                </a:lnTo>
                <a:lnTo>
                  <a:pt x="1140485" y="1132942"/>
                </a:lnTo>
                <a:lnTo>
                  <a:pt x="1171003" y="1132942"/>
                </a:lnTo>
                <a:lnTo>
                  <a:pt x="1171003" y="1163460"/>
                </a:lnTo>
                <a:lnTo>
                  <a:pt x="1201179" y="1163460"/>
                </a:lnTo>
                <a:lnTo>
                  <a:pt x="1201179" y="1132942"/>
                </a:lnTo>
                <a:lnTo>
                  <a:pt x="1231697" y="1132942"/>
                </a:lnTo>
                <a:lnTo>
                  <a:pt x="1231697" y="1102766"/>
                </a:lnTo>
                <a:lnTo>
                  <a:pt x="1201179" y="1102766"/>
                </a:lnTo>
                <a:lnTo>
                  <a:pt x="1201179" y="1072248"/>
                </a:lnTo>
                <a:lnTo>
                  <a:pt x="1171003" y="1072248"/>
                </a:lnTo>
                <a:close/>
                <a:moveTo>
                  <a:pt x="965606" y="1210780"/>
                </a:moveTo>
                <a:lnTo>
                  <a:pt x="965606" y="1240269"/>
                </a:lnTo>
                <a:lnTo>
                  <a:pt x="936117" y="1240269"/>
                </a:lnTo>
                <a:lnTo>
                  <a:pt x="936117" y="1269759"/>
                </a:lnTo>
                <a:lnTo>
                  <a:pt x="965606" y="1269759"/>
                </a:lnTo>
                <a:lnTo>
                  <a:pt x="965606" y="1299248"/>
                </a:lnTo>
                <a:lnTo>
                  <a:pt x="995096" y="1299248"/>
                </a:lnTo>
                <a:lnTo>
                  <a:pt x="995096" y="1269759"/>
                </a:lnTo>
                <a:lnTo>
                  <a:pt x="1024585" y="1269759"/>
                </a:lnTo>
                <a:lnTo>
                  <a:pt x="1024585" y="1240269"/>
                </a:lnTo>
                <a:lnTo>
                  <a:pt x="995096" y="1240269"/>
                </a:lnTo>
                <a:lnTo>
                  <a:pt x="995096" y="1210780"/>
                </a:lnTo>
                <a:lnTo>
                  <a:pt x="965606" y="1210780"/>
                </a:lnTo>
                <a:close/>
                <a:moveTo>
                  <a:pt x="1034529" y="1074306"/>
                </a:moveTo>
                <a:lnTo>
                  <a:pt x="1034529" y="1103452"/>
                </a:lnTo>
                <a:lnTo>
                  <a:pt x="1005383" y="1103452"/>
                </a:lnTo>
                <a:lnTo>
                  <a:pt x="1005383" y="1132256"/>
                </a:lnTo>
                <a:lnTo>
                  <a:pt x="1034529" y="1132256"/>
                </a:lnTo>
                <a:lnTo>
                  <a:pt x="1034529" y="1161402"/>
                </a:lnTo>
                <a:lnTo>
                  <a:pt x="1063333" y="1161402"/>
                </a:lnTo>
                <a:lnTo>
                  <a:pt x="1063333" y="1132256"/>
                </a:lnTo>
                <a:lnTo>
                  <a:pt x="1092479" y="1132256"/>
                </a:lnTo>
                <a:lnTo>
                  <a:pt x="1092479" y="1103452"/>
                </a:lnTo>
                <a:lnTo>
                  <a:pt x="1063333" y="1103452"/>
                </a:lnTo>
                <a:lnTo>
                  <a:pt x="1063333" y="1074306"/>
                </a:lnTo>
                <a:lnTo>
                  <a:pt x="1034529" y="1074306"/>
                </a:lnTo>
                <a:close/>
                <a:moveTo>
                  <a:pt x="1307478" y="1070534"/>
                </a:moveTo>
                <a:lnTo>
                  <a:pt x="1307478" y="1102081"/>
                </a:lnTo>
                <a:lnTo>
                  <a:pt x="1275931" y="1102081"/>
                </a:lnTo>
                <a:lnTo>
                  <a:pt x="1275931" y="1133627"/>
                </a:lnTo>
                <a:lnTo>
                  <a:pt x="1307478" y="1133627"/>
                </a:lnTo>
                <a:lnTo>
                  <a:pt x="1307478" y="1165174"/>
                </a:lnTo>
                <a:lnTo>
                  <a:pt x="1339024" y="1165174"/>
                </a:lnTo>
                <a:lnTo>
                  <a:pt x="1339024" y="1133627"/>
                </a:lnTo>
                <a:lnTo>
                  <a:pt x="1370571" y="1133627"/>
                </a:lnTo>
                <a:lnTo>
                  <a:pt x="1370571" y="1102081"/>
                </a:lnTo>
                <a:lnTo>
                  <a:pt x="1339024" y="1102081"/>
                </a:lnTo>
                <a:lnTo>
                  <a:pt x="1339024" y="1070534"/>
                </a:lnTo>
                <a:lnTo>
                  <a:pt x="1307478" y="1070534"/>
                </a:lnTo>
                <a:close/>
                <a:moveTo>
                  <a:pt x="1102081" y="1208380"/>
                </a:moveTo>
                <a:lnTo>
                  <a:pt x="1102081" y="1239584"/>
                </a:lnTo>
                <a:lnTo>
                  <a:pt x="1070877" y="1239584"/>
                </a:lnTo>
                <a:lnTo>
                  <a:pt x="1070877" y="1270445"/>
                </a:lnTo>
                <a:lnTo>
                  <a:pt x="1102081" y="1270445"/>
                </a:lnTo>
                <a:lnTo>
                  <a:pt x="1102081" y="1301648"/>
                </a:lnTo>
                <a:lnTo>
                  <a:pt x="1132942" y="1301648"/>
                </a:lnTo>
                <a:lnTo>
                  <a:pt x="1132942" y="1270445"/>
                </a:lnTo>
                <a:lnTo>
                  <a:pt x="1164145" y="1270445"/>
                </a:lnTo>
                <a:lnTo>
                  <a:pt x="1164145" y="1239584"/>
                </a:lnTo>
                <a:lnTo>
                  <a:pt x="1132942" y="1239584"/>
                </a:lnTo>
                <a:lnTo>
                  <a:pt x="1132942" y="1208380"/>
                </a:lnTo>
                <a:lnTo>
                  <a:pt x="1102081" y="1208380"/>
                </a:lnTo>
                <a:close/>
                <a:moveTo>
                  <a:pt x="1239926" y="936460"/>
                </a:moveTo>
                <a:lnTo>
                  <a:pt x="1239926" y="965949"/>
                </a:lnTo>
                <a:lnTo>
                  <a:pt x="1210437" y="965949"/>
                </a:lnTo>
                <a:lnTo>
                  <a:pt x="1210437" y="995439"/>
                </a:lnTo>
                <a:lnTo>
                  <a:pt x="1239926" y="995439"/>
                </a:lnTo>
                <a:lnTo>
                  <a:pt x="1239926" y="1024928"/>
                </a:lnTo>
                <a:lnTo>
                  <a:pt x="1269416" y="1024928"/>
                </a:lnTo>
                <a:lnTo>
                  <a:pt x="1269416" y="995439"/>
                </a:lnTo>
                <a:lnTo>
                  <a:pt x="1298905" y="995439"/>
                </a:lnTo>
                <a:lnTo>
                  <a:pt x="1298905" y="965949"/>
                </a:lnTo>
                <a:lnTo>
                  <a:pt x="1269416" y="965949"/>
                </a:lnTo>
                <a:lnTo>
                  <a:pt x="1269416" y="936460"/>
                </a:lnTo>
                <a:lnTo>
                  <a:pt x="1239926" y="936460"/>
                </a:lnTo>
                <a:close/>
                <a:moveTo>
                  <a:pt x="1376743" y="935088"/>
                </a:moveTo>
                <a:lnTo>
                  <a:pt x="1376743" y="965606"/>
                </a:lnTo>
                <a:lnTo>
                  <a:pt x="1346225" y="965606"/>
                </a:lnTo>
                <a:lnTo>
                  <a:pt x="1346225" y="995782"/>
                </a:lnTo>
                <a:lnTo>
                  <a:pt x="1376743" y="995782"/>
                </a:lnTo>
                <a:lnTo>
                  <a:pt x="1376743" y="1026300"/>
                </a:lnTo>
                <a:lnTo>
                  <a:pt x="1406919" y="1026300"/>
                </a:lnTo>
                <a:lnTo>
                  <a:pt x="1406919" y="995782"/>
                </a:lnTo>
                <a:lnTo>
                  <a:pt x="1437437" y="995782"/>
                </a:lnTo>
                <a:lnTo>
                  <a:pt x="1437437" y="965606"/>
                </a:lnTo>
                <a:lnTo>
                  <a:pt x="1406919" y="965606"/>
                </a:lnTo>
                <a:lnTo>
                  <a:pt x="1406919" y="935088"/>
                </a:lnTo>
                <a:lnTo>
                  <a:pt x="1376743" y="935088"/>
                </a:lnTo>
                <a:close/>
                <a:moveTo>
                  <a:pt x="1513218" y="933717"/>
                </a:moveTo>
                <a:lnTo>
                  <a:pt x="1513218" y="964921"/>
                </a:lnTo>
                <a:lnTo>
                  <a:pt x="1482014" y="964921"/>
                </a:lnTo>
                <a:lnTo>
                  <a:pt x="1482014" y="996467"/>
                </a:lnTo>
                <a:lnTo>
                  <a:pt x="1513218" y="996467"/>
                </a:lnTo>
                <a:lnTo>
                  <a:pt x="1513218" y="1027671"/>
                </a:lnTo>
                <a:lnTo>
                  <a:pt x="1544764" y="1027671"/>
                </a:lnTo>
                <a:lnTo>
                  <a:pt x="1544764" y="996467"/>
                </a:lnTo>
                <a:lnTo>
                  <a:pt x="1575968" y="996467"/>
                </a:lnTo>
                <a:lnTo>
                  <a:pt x="1575968" y="964921"/>
                </a:lnTo>
                <a:lnTo>
                  <a:pt x="1544764" y="964921"/>
                </a:lnTo>
                <a:lnTo>
                  <a:pt x="1544764" y="933717"/>
                </a:lnTo>
                <a:lnTo>
                  <a:pt x="1513218" y="933717"/>
                </a:lnTo>
                <a:close/>
                <a:moveTo>
                  <a:pt x="1582483" y="798614"/>
                </a:moveTo>
                <a:lnTo>
                  <a:pt x="1582483" y="828446"/>
                </a:lnTo>
                <a:lnTo>
                  <a:pt x="1552651" y="828446"/>
                </a:lnTo>
                <a:lnTo>
                  <a:pt x="1552651" y="858622"/>
                </a:lnTo>
                <a:lnTo>
                  <a:pt x="1582483" y="858622"/>
                </a:lnTo>
                <a:lnTo>
                  <a:pt x="1582483" y="888454"/>
                </a:lnTo>
                <a:lnTo>
                  <a:pt x="1612659" y="888454"/>
                </a:lnTo>
                <a:lnTo>
                  <a:pt x="1612659" y="858622"/>
                </a:lnTo>
                <a:lnTo>
                  <a:pt x="1642491" y="858622"/>
                </a:lnTo>
                <a:lnTo>
                  <a:pt x="1642491" y="828446"/>
                </a:lnTo>
                <a:lnTo>
                  <a:pt x="1612659" y="828446"/>
                </a:lnTo>
                <a:lnTo>
                  <a:pt x="1612659" y="798614"/>
                </a:lnTo>
                <a:lnTo>
                  <a:pt x="1582483" y="798614"/>
                </a:lnTo>
                <a:close/>
                <a:moveTo>
                  <a:pt x="1445666" y="799643"/>
                </a:moveTo>
                <a:lnTo>
                  <a:pt x="1445666" y="828789"/>
                </a:lnTo>
                <a:lnTo>
                  <a:pt x="1416520" y="828789"/>
                </a:lnTo>
                <a:lnTo>
                  <a:pt x="1416520" y="858279"/>
                </a:lnTo>
                <a:lnTo>
                  <a:pt x="1445666" y="858279"/>
                </a:lnTo>
                <a:lnTo>
                  <a:pt x="1445666" y="887425"/>
                </a:lnTo>
                <a:lnTo>
                  <a:pt x="1475156" y="887425"/>
                </a:lnTo>
                <a:lnTo>
                  <a:pt x="1475156" y="858279"/>
                </a:lnTo>
                <a:lnTo>
                  <a:pt x="1504302" y="858279"/>
                </a:lnTo>
                <a:lnTo>
                  <a:pt x="1504302" y="828789"/>
                </a:lnTo>
                <a:lnTo>
                  <a:pt x="1475156" y="828789"/>
                </a:lnTo>
                <a:lnTo>
                  <a:pt x="1475156" y="799643"/>
                </a:lnTo>
                <a:lnTo>
                  <a:pt x="1445666" y="799643"/>
                </a:lnTo>
                <a:close/>
                <a:moveTo>
                  <a:pt x="555841" y="1764563"/>
                </a:moveTo>
                <a:lnTo>
                  <a:pt x="555841" y="1790624"/>
                </a:lnTo>
                <a:lnTo>
                  <a:pt x="529780" y="1790624"/>
                </a:lnTo>
                <a:lnTo>
                  <a:pt x="529780" y="1816684"/>
                </a:lnTo>
                <a:lnTo>
                  <a:pt x="555841" y="1816684"/>
                </a:lnTo>
                <a:lnTo>
                  <a:pt x="555841" y="1842745"/>
                </a:lnTo>
                <a:lnTo>
                  <a:pt x="581901" y="1842745"/>
                </a:lnTo>
                <a:lnTo>
                  <a:pt x="581901" y="1816684"/>
                </a:lnTo>
                <a:lnTo>
                  <a:pt x="607962" y="1816684"/>
                </a:lnTo>
                <a:lnTo>
                  <a:pt x="607962" y="1790624"/>
                </a:lnTo>
                <a:lnTo>
                  <a:pt x="581901" y="1790624"/>
                </a:lnTo>
                <a:lnTo>
                  <a:pt x="581901" y="1764563"/>
                </a:lnTo>
                <a:lnTo>
                  <a:pt x="555841" y="1764563"/>
                </a:lnTo>
                <a:close/>
                <a:moveTo>
                  <a:pt x="650824" y="2255596"/>
                </a:moveTo>
                <a:lnTo>
                  <a:pt x="650824" y="2228507"/>
                </a:lnTo>
                <a:lnTo>
                  <a:pt x="677913" y="2228507"/>
                </a:lnTo>
                <a:lnTo>
                  <a:pt x="677913" y="2201761"/>
                </a:lnTo>
                <a:lnTo>
                  <a:pt x="650824" y="2201761"/>
                </a:lnTo>
                <a:lnTo>
                  <a:pt x="650824" y="2174672"/>
                </a:lnTo>
                <a:lnTo>
                  <a:pt x="624078" y="2174672"/>
                </a:lnTo>
                <a:lnTo>
                  <a:pt x="624078" y="2201761"/>
                </a:lnTo>
                <a:lnTo>
                  <a:pt x="596989" y="2201761"/>
                </a:lnTo>
                <a:lnTo>
                  <a:pt x="596989" y="2228507"/>
                </a:lnTo>
                <a:lnTo>
                  <a:pt x="624078" y="2228507"/>
                </a:lnTo>
                <a:lnTo>
                  <a:pt x="624078" y="2255596"/>
                </a:lnTo>
                <a:lnTo>
                  <a:pt x="650824" y="2255596"/>
                </a:lnTo>
                <a:close/>
                <a:moveTo>
                  <a:pt x="2573807" y="1989163"/>
                </a:moveTo>
                <a:lnTo>
                  <a:pt x="2573807" y="1956930"/>
                </a:lnTo>
                <a:lnTo>
                  <a:pt x="2606040" y="1956930"/>
                </a:lnTo>
                <a:lnTo>
                  <a:pt x="2606040" y="1924698"/>
                </a:lnTo>
                <a:lnTo>
                  <a:pt x="2573807" y="1924698"/>
                </a:lnTo>
                <a:lnTo>
                  <a:pt x="2573807" y="1892465"/>
                </a:lnTo>
                <a:lnTo>
                  <a:pt x="2541575" y="1892465"/>
                </a:lnTo>
                <a:lnTo>
                  <a:pt x="2541575" y="1924698"/>
                </a:lnTo>
                <a:lnTo>
                  <a:pt x="2509342" y="1924698"/>
                </a:lnTo>
                <a:lnTo>
                  <a:pt x="2509342" y="1956930"/>
                </a:lnTo>
                <a:lnTo>
                  <a:pt x="2541575" y="1956930"/>
                </a:lnTo>
                <a:lnTo>
                  <a:pt x="2541575" y="1989163"/>
                </a:lnTo>
                <a:lnTo>
                  <a:pt x="2573807" y="1989163"/>
                </a:lnTo>
                <a:close/>
                <a:moveTo>
                  <a:pt x="788327" y="2530945"/>
                </a:moveTo>
                <a:lnTo>
                  <a:pt x="788327" y="2503170"/>
                </a:lnTo>
                <a:lnTo>
                  <a:pt x="816102" y="2503170"/>
                </a:lnTo>
                <a:lnTo>
                  <a:pt x="816102" y="2475738"/>
                </a:lnTo>
                <a:lnTo>
                  <a:pt x="788327" y="2475738"/>
                </a:lnTo>
                <a:lnTo>
                  <a:pt x="788327" y="2447963"/>
                </a:lnTo>
                <a:lnTo>
                  <a:pt x="760895" y="2447963"/>
                </a:lnTo>
                <a:lnTo>
                  <a:pt x="760895" y="2475738"/>
                </a:lnTo>
                <a:lnTo>
                  <a:pt x="733120" y="2475738"/>
                </a:lnTo>
                <a:lnTo>
                  <a:pt x="733120" y="2503170"/>
                </a:lnTo>
                <a:lnTo>
                  <a:pt x="760895" y="2503170"/>
                </a:lnTo>
                <a:lnTo>
                  <a:pt x="760895" y="2530945"/>
                </a:lnTo>
                <a:lnTo>
                  <a:pt x="788327" y="2530945"/>
                </a:lnTo>
                <a:close/>
                <a:moveTo>
                  <a:pt x="719747" y="2393442"/>
                </a:moveTo>
                <a:lnTo>
                  <a:pt x="719747" y="2366010"/>
                </a:lnTo>
                <a:lnTo>
                  <a:pt x="747179" y="2366010"/>
                </a:lnTo>
                <a:lnTo>
                  <a:pt x="747179" y="2338578"/>
                </a:lnTo>
                <a:lnTo>
                  <a:pt x="719747" y="2338578"/>
                </a:lnTo>
                <a:lnTo>
                  <a:pt x="719747" y="2311146"/>
                </a:lnTo>
                <a:lnTo>
                  <a:pt x="692315" y="2311146"/>
                </a:lnTo>
                <a:lnTo>
                  <a:pt x="692315" y="2338578"/>
                </a:lnTo>
                <a:lnTo>
                  <a:pt x="664883" y="2338578"/>
                </a:lnTo>
                <a:lnTo>
                  <a:pt x="664883" y="2366010"/>
                </a:lnTo>
                <a:lnTo>
                  <a:pt x="692315" y="2366010"/>
                </a:lnTo>
                <a:lnTo>
                  <a:pt x="692315" y="2393442"/>
                </a:lnTo>
                <a:lnTo>
                  <a:pt x="719747" y="2393442"/>
                </a:lnTo>
                <a:close/>
                <a:moveTo>
                  <a:pt x="581901" y="2117065"/>
                </a:moveTo>
                <a:lnTo>
                  <a:pt x="581901" y="2091004"/>
                </a:lnTo>
                <a:lnTo>
                  <a:pt x="607962" y="2091004"/>
                </a:lnTo>
                <a:lnTo>
                  <a:pt x="607962" y="2064944"/>
                </a:lnTo>
                <a:lnTo>
                  <a:pt x="581901" y="2064944"/>
                </a:lnTo>
                <a:lnTo>
                  <a:pt x="581901" y="2038883"/>
                </a:lnTo>
                <a:lnTo>
                  <a:pt x="555841" y="2038883"/>
                </a:lnTo>
                <a:lnTo>
                  <a:pt x="555841" y="2064944"/>
                </a:lnTo>
                <a:lnTo>
                  <a:pt x="529780" y="2064944"/>
                </a:lnTo>
                <a:lnTo>
                  <a:pt x="529780" y="2091004"/>
                </a:lnTo>
                <a:lnTo>
                  <a:pt x="555841" y="2091004"/>
                </a:lnTo>
                <a:lnTo>
                  <a:pt x="555841" y="2117065"/>
                </a:lnTo>
                <a:lnTo>
                  <a:pt x="581901" y="2117065"/>
                </a:lnTo>
                <a:close/>
                <a:moveTo>
                  <a:pt x="829475" y="1213866"/>
                </a:moveTo>
                <a:lnTo>
                  <a:pt x="829475" y="1241298"/>
                </a:lnTo>
                <a:lnTo>
                  <a:pt x="802043" y="1241298"/>
                </a:lnTo>
                <a:lnTo>
                  <a:pt x="802043" y="1268730"/>
                </a:lnTo>
                <a:lnTo>
                  <a:pt x="829475" y="1268730"/>
                </a:lnTo>
                <a:lnTo>
                  <a:pt x="829475" y="1296162"/>
                </a:lnTo>
                <a:lnTo>
                  <a:pt x="856907" y="1296162"/>
                </a:lnTo>
                <a:lnTo>
                  <a:pt x="856907" y="1268730"/>
                </a:lnTo>
                <a:lnTo>
                  <a:pt x="884339" y="1268730"/>
                </a:lnTo>
                <a:lnTo>
                  <a:pt x="884339" y="1241298"/>
                </a:lnTo>
                <a:lnTo>
                  <a:pt x="856907" y="1241298"/>
                </a:lnTo>
                <a:lnTo>
                  <a:pt x="856907" y="1213866"/>
                </a:lnTo>
                <a:lnTo>
                  <a:pt x="829475" y="1213866"/>
                </a:lnTo>
                <a:close/>
                <a:moveTo>
                  <a:pt x="624078" y="1626375"/>
                </a:moveTo>
                <a:lnTo>
                  <a:pt x="624078" y="1653121"/>
                </a:lnTo>
                <a:lnTo>
                  <a:pt x="597332" y="1653121"/>
                </a:lnTo>
                <a:lnTo>
                  <a:pt x="597332" y="1679867"/>
                </a:lnTo>
                <a:lnTo>
                  <a:pt x="624078" y="1679867"/>
                </a:lnTo>
                <a:lnTo>
                  <a:pt x="624078" y="1706613"/>
                </a:lnTo>
                <a:lnTo>
                  <a:pt x="650824" y="1706613"/>
                </a:lnTo>
                <a:lnTo>
                  <a:pt x="650824" y="1679867"/>
                </a:lnTo>
                <a:lnTo>
                  <a:pt x="677570" y="1679867"/>
                </a:lnTo>
                <a:lnTo>
                  <a:pt x="677570" y="1653121"/>
                </a:lnTo>
                <a:lnTo>
                  <a:pt x="650824" y="1653121"/>
                </a:lnTo>
                <a:lnTo>
                  <a:pt x="650824" y="1626375"/>
                </a:lnTo>
                <a:lnTo>
                  <a:pt x="624078" y="1626375"/>
                </a:lnTo>
                <a:close/>
                <a:moveTo>
                  <a:pt x="760895" y="1350683"/>
                </a:moveTo>
                <a:lnTo>
                  <a:pt x="760895" y="1378458"/>
                </a:lnTo>
                <a:lnTo>
                  <a:pt x="733120" y="1378458"/>
                </a:lnTo>
                <a:lnTo>
                  <a:pt x="733120" y="1405890"/>
                </a:lnTo>
                <a:lnTo>
                  <a:pt x="760895" y="1405890"/>
                </a:lnTo>
                <a:lnTo>
                  <a:pt x="760895" y="1433665"/>
                </a:lnTo>
                <a:lnTo>
                  <a:pt x="788327" y="1433665"/>
                </a:lnTo>
                <a:lnTo>
                  <a:pt x="788327" y="1405890"/>
                </a:lnTo>
                <a:lnTo>
                  <a:pt x="816102" y="1405890"/>
                </a:lnTo>
                <a:lnTo>
                  <a:pt x="816102" y="1378458"/>
                </a:lnTo>
                <a:lnTo>
                  <a:pt x="788327" y="1378458"/>
                </a:lnTo>
                <a:lnTo>
                  <a:pt x="788327" y="1350683"/>
                </a:lnTo>
                <a:lnTo>
                  <a:pt x="760895" y="1350683"/>
                </a:lnTo>
                <a:close/>
                <a:moveTo>
                  <a:pt x="692315" y="1488186"/>
                </a:moveTo>
                <a:lnTo>
                  <a:pt x="692315" y="1515618"/>
                </a:lnTo>
                <a:lnTo>
                  <a:pt x="664883" y="1515618"/>
                </a:lnTo>
                <a:lnTo>
                  <a:pt x="664883" y="1543050"/>
                </a:lnTo>
                <a:lnTo>
                  <a:pt x="692315" y="1543050"/>
                </a:lnTo>
                <a:lnTo>
                  <a:pt x="692315" y="1570482"/>
                </a:lnTo>
                <a:lnTo>
                  <a:pt x="719747" y="1570482"/>
                </a:lnTo>
                <a:lnTo>
                  <a:pt x="719747" y="1543050"/>
                </a:lnTo>
                <a:lnTo>
                  <a:pt x="747179" y="1543050"/>
                </a:lnTo>
                <a:lnTo>
                  <a:pt x="747179" y="1515618"/>
                </a:lnTo>
                <a:lnTo>
                  <a:pt x="719747" y="1515618"/>
                </a:lnTo>
                <a:lnTo>
                  <a:pt x="719747" y="1488186"/>
                </a:lnTo>
                <a:lnTo>
                  <a:pt x="692315" y="1488186"/>
                </a:lnTo>
                <a:close/>
                <a:moveTo>
                  <a:pt x="1789252" y="663854"/>
                </a:moveTo>
                <a:lnTo>
                  <a:pt x="1789252" y="692315"/>
                </a:lnTo>
                <a:lnTo>
                  <a:pt x="1760791" y="692315"/>
                </a:lnTo>
                <a:lnTo>
                  <a:pt x="1760791" y="720433"/>
                </a:lnTo>
                <a:lnTo>
                  <a:pt x="1789252" y="720433"/>
                </a:lnTo>
                <a:lnTo>
                  <a:pt x="1789252" y="748894"/>
                </a:lnTo>
                <a:lnTo>
                  <a:pt x="1817370" y="748894"/>
                </a:lnTo>
                <a:lnTo>
                  <a:pt x="1817370" y="720433"/>
                </a:lnTo>
                <a:lnTo>
                  <a:pt x="1845831" y="720433"/>
                </a:lnTo>
                <a:lnTo>
                  <a:pt x="1845831" y="692315"/>
                </a:lnTo>
                <a:lnTo>
                  <a:pt x="1817370" y="692315"/>
                </a:lnTo>
                <a:lnTo>
                  <a:pt x="1817370" y="663854"/>
                </a:lnTo>
                <a:lnTo>
                  <a:pt x="1789252" y="663854"/>
                </a:lnTo>
                <a:close/>
                <a:moveTo>
                  <a:pt x="2749372" y="938517"/>
                </a:moveTo>
                <a:lnTo>
                  <a:pt x="2749372" y="966635"/>
                </a:lnTo>
                <a:lnTo>
                  <a:pt x="2721254" y="966635"/>
                </a:lnTo>
                <a:lnTo>
                  <a:pt x="2721254" y="994753"/>
                </a:lnTo>
                <a:lnTo>
                  <a:pt x="2749372" y="994753"/>
                </a:lnTo>
                <a:lnTo>
                  <a:pt x="2749372" y="1022871"/>
                </a:lnTo>
                <a:lnTo>
                  <a:pt x="2777490" y="1022871"/>
                </a:lnTo>
                <a:lnTo>
                  <a:pt x="2777490" y="994753"/>
                </a:lnTo>
                <a:lnTo>
                  <a:pt x="2805608" y="994753"/>
                </a:lnTo>
                <a:lnTo>
                  <a:pt x="2805608" y="966635"/>
                </a:lnTo>
                <a:lnTo>
                  <a:pt x="2777490" y="966635"/>
                </a:lnTo>
                <a:lnTo>
                  <a:pt x="2777490" y="938517"/>
                </a:lnTo>
                <a:lnTo>
                  <a:pt x="2749372" y="938517"/>
                </a:lnTo>
                <a:close/>
                <a:moveTo>
                  <a:pt x="2613584" y="668312"/>
                </a:moveTo>
                <a:lnTo>
                  <a:pt x="2613584" y="693687"/>
                </a:lnTo>
                <a:lnTo>
                  <a:pt x="2588209" y="693687"/>
                </a:lnTo>
                <a:lnTo>
                  <a:pt x="2588209" y="719061"/>
                </a:lnTo>
                <a:lnTo>
                  <a:pt x="2613584" y="719061"/>
                </a:lnTo>
                <a:lnTo>
                  <a:pt x="2613584" y="744436"/>
                </a:lnTo>
                <a:lnTo>
                  <a:pt x="2638958" y="744436"/>
                </a:lnTo>
                <a:lnTo>
                  <a:pt x="2638958" y="719061"/>
                </a:lnTo>
                <a:lnTo>
                  <a:pt x="2664333" y="719061"/>
                </a:lnTo>
                <a:lnTo>
                  <a:pt x="2664333" y="693687"/>
                </a:lnTo>
                <a:lnTo>
                  <a:pt x="2638958" y="693687"/>
                </a:lnTo>
                <a:lnTo>
                  <a:pt x="2638958" y="668312"/>
                </a:lnTo>
                <a:lnTo>
                  <a:pt x="2613584" y="668312"/>
                </a:lnTo>
                <a:close/>
                <a:moveTo>
                  <a:pt x="2681478" y="803415"/>
                </a:moveTo>
                <a:lnTo>
                  <a:pt x="2681478" y="830161"/>
                </a:lnTo>
                <a:lnTo>
                  <a:pt x="2654732" y="830161"/>
                </a:lnTo>
                <a:lnTo>
                  <a:pt x="2654732" y="856907"/>
                </a:lnTo>
                <a:lnTo>
                  <a:pt x="2681478" y="856907"/>
                </a:lnTo>
                <a:lnTo>
                  <a:pt x="2681478" y="883653"/>
                </a:lnTo>
                <a:lnTo>
                  <a:pt x="2708224" y="883653"/>
                </a:lnTo>
                <a:lnTo>
                  <a:pt x="2708224" y="856907"/>
                </a:lnTo>
                <a:lnTo>
                  <a:pt x="2734970" y="856907"/>
                </a:lnTo>
                <a:lnTo>
                  <a:pt x="2734970" y="830161"/>
                </a:lnTo>
                <a:lnTo>
                  <a:pt x="2708224" y="830161"/>
                </a:lnTo>
                <a:lnTo>
                  <a:pt x="2708224" y="803415"/>
                </a:lnTo>
                <a:lnTo>
                  <a:pt x="2681478" y="803415"/>
                </a:lnTo>
                <a:close/>
                <a:moveTo>
                  <a:pt x="2543632" y="801357"/>
                </a:moveTo>
                <a:lnTo>
                  <a:pt x="2543632" y="829475"/>
                </a:lnTo>
                <a:lnTo>
                  <a:pt x="2515514" y="829475"/>
                </a:lnTo>
                <a:lnTo>
                  <a:pt x="2515514" y="857593"/>
                </a:lnTo>
                <a:lnTo>
                  <a:pt x="2543632" y="857593"/>
                </a:lnTo>
                <a:lnTo>
                  <a:pt x="2543632" y="885711"/>
                </a:lnTo>
                <a:lnTo>
                  <a:pt x="2571750" y="885711"/>
                </a:lnTo>
                <a:lnTo>
                  <a:pt x="2571750" y="857593"/>
                </a:lnTo>
                <a:lnTo>
                  <a:pt x="2599868" y="857593"/>
                </a:lnTo>
                <a:lnTo>
                  <a:pt x="2599868" y="829475"/>
                </a:lnTo>
                <a:lnTo>
                  <a:pt x="2571750" y="829475"/>
                </a:lnTo>
                <a:lnTo>
                  <a:pt x="2571750" y="801357"/>
                </a:lnTo>
                <a:lnTo>
                  <a:pt x="2543632" y="801357"/>
                </a:lnTo>
                <a:close/>
                <a:moveTo>
                  <a:pt x="2475738" y="666598"/>
                </a:moveTo>
                <a:lnTo>
                  <a:pt x="2475738" y="693001"/>
                </a:lnTo>
                <a:lnTo>
                  <a:pt x="2449335" y="693001"/>
                </a:lnTo>
                <a:lnTo>
                  <a:pt x="2449335" y="719747"/>
                </a:lnTo>
                <a:lnTo>
                  <a:pt x="2475738" y="719747"/>
                </a:lnTo>
                <a:lnTo>
                  <a:pt x="2475738" y="746150"/>
                </a:lnTo>
                <a:lnTo>
                  <a:pt x="2502484" y="746150"/>
                </a:lnTo>
                <a:lnTo>
                  <a:pt x="2502484" y="719747"/>
                </a:lnTo>
                <a:lnTo>
                  <a:pt x="2528888" y="719747"/>
                </a:lnTo>
                <a:lnTo>
                  <a:pt x="2528888" y="693001"/>
                </a:lnTo>
                <a:lnTo>
                  <a:pt x="2502484" y="693001"/>
                </a:lnTo>
                <a:lnTo>
                  <a:pt x="2502484" y="666598"/>
                </a:lnTo>
                <a:lnTo>
                  <a:pt x="2475738" y="666598"/>
                </a:lnTo>
                <a:close/>
                <a:moveTo>
                  <a:pt x="2819324" y="805472"/>
                </a:moveTo>
                <a:lnTo>
                  <a:pt x="2819324" y="830847"/>
                </a:lnTo>
                <a:lnTo>
                  <a:pt x="2793949" y="830847"/>
                </a:lnTo>
                <a:lnTo>
                  <a:pt x="2793949" y="856221"/>
                </a:lnTo>
                <a:lnTo>
                  <a:pt x="2819324" y="856221"/>
                </a:lnTo>
                <a:lnTo>
                  <a:pt x="2819324" y="881596"/>
                </a:lnTo>
                <a:lnTo>
                  <a:pt x="2844698" y="881596"/>
                </a:lnTo>
                <a:lnTo>
                  <a:pt x="2844698" y="856221"/>
                </a:lnTo>
                <a:lnTo>
                  <a:pt x="2870073" y="856221"/>
                </a:lnTo>
                <a:lnTo>
                  <a:pt x="2870073" y="830847"/>
                </a:lnTo>
                <a:lnTo>
                  <a:pt x="2844698" y="830847"/>
                </a:lnTo>
                <a:lnTo>
                  <a:pt x="2844698" y="805472"/>
                </a:lnTo>
                <a:lnTo>
                  <a:pt x="2819324" y="805472"/>
                </a:lnTo>
                <a:close/>
                <a:moveTo>
                  <a:pt x="3024035" y="1213866"/>
                </a:moveTo>
                <a:lnTo>
                  <a:pt x="3024035" y="1241298"/>
                </a:lnTo>
                <a:lnTo>
                  <a:pt x="2996603" y="1241298"/>
                </a:lnTo>
                <a:lnTo>
                  <a:pt x="2996603" y="1268730"/>
                </a:lnTo>
                <a:lnTo>
                  <a:pt x="3024035" y="1268730"/>
                </a:lnTo>
                <a:lnTo>
                  <a:pt x="3024035" y="1296162"/>
                </a:lnTo>
                <a:lnTo>
                  <a:pt x="3051467" y="1296162"/>
                </a:lnTo>
                <a:lnTo>
                  <a:pt x="3051467" y="1268730"/>
                </a:lnTo>
                <a:lnTo>
                  <a:pt x="3078899" y="1268730"/>
                </a:lnTo>
                <a:lnTo>
                  <a:pt x="3078899" y="1241298"/>
                </a:lnTo>
                <a:lnTo>
                  <a:pt x="3051467" y="1241298"/>
                </a:lnTo>
                <a:lnTo>
                  <a:pt x="3051467" y="1213866"/>
                </a:lnTo>
                <a:lnTo>
                  <a:pt x="3024035" y="1213866"/>
                </a:lnTo>
                <a:close/>
                <a:moveTo>
                  <a:pt x="2405786" y="799643"/>
                </a:moveTo>
                <a:lnTo>
                  <a:pt x="2405786" y="828789"/>
                </a:lnTo>
                <a:lnTo>
                  <a:pt x="2376640" y="828789"/>
                </a:lnTo>
                <a:lnTo>
                  <a:pt x="2376640" y="858279"/>
                </a:lnTo>
                <a:lnTo>
                  <a:pt x="2405786" y="858279"/>
                </a:lnTo>
                <a:lnTo>
                  <a:pt x="2405786" y="887425"/>
                </a:lnTo>
                <a:lnTo>
                  <a:pt x="2435276" y="887425"/>
                </a:lnTo>
                <a:lnTo>
                  <a:pt x="2435276" y="858279"/>
                </a:lnTo>
                <a:lnTo>
                  <a:pt x="2464423" y="858279"/>
                </a:lnTo>
                <a:lnTo>
                  <a:pt x="2464423" y="828789"/>
                </a:lnTo>
                <a:lnTo>
                  <a:pt x="2435276" y="828789"/>
                </a:lnTo>
                <a:lnTo>
                  <a:pt x="2435276" y="799643"/>
                </a:lnTo>
                <a:lnTo>
                  <a:pt x="2405786" y="799643"/>
                </a:lnTo>
                <a:close/>
                <a:moveTo>
                  <a:pt x="2955455" y="1077049"/>
                </a:moveTo>
                <a:lnTo>
                  <a:pt x="2955455" y="1104138"/>
                </a:lnTo>
                <a:lnTo>
                  <a:pt x="2928366" y="1104138"/>
                </a:lnTo>
                <a:lnTo>
                  <a:pt x="2928366" y="1131570"/>
                </a:lnTo>
                <a:lnTo>
                  <a:pt x="2955455" y="1131570"/>
                </a:lnTo>
                <a:lnTo>
                  <a:pt x="2955455" y="1158659"/>
                </a:lnTo>
                <a:lnTo>
                  <a:pt x="2982887" y="1158659"/>
                </a:lnTo>
                <a:lnTo>
                  <a:pt x="2982887" y="1131570"/>
                </a:lnTo>
                <a:lnTo>
                  <a:pt x="3009976" y="1131570"/>
                </a:lnTo>
                <a:lnTo>
                  <a:pt x="3009976" y="1104138"/>
                </a:lnTo>
                <a:lnTo>
                  <a:pt x="2982887" y="1104138"/>
                </a:lnTo>
                <a:lnTo>
                  <a:pt x="2982887" y="1077049"/>
                </a:lnTo>
                <a:lnTo>
                  <a:pt x="2955455" y="1077049"/>
                </a:lnTo>
                <a:close/>
                <a:moveTo>
                  <a:pt x="2887561" y="941261"/>
                </a:moveTo>
                <a:lnTo>
                  <a:pt x="2887561" y="967664"/>
                </a:lnTo>
                <a:lnTo>
                  <a:pt x="2861158" y="967664"/>
                </a:lnTo>
                <a:lnTo>
                  <a:pt x="2861158" y="993724"/>
                </a:lnTo>
                <a:lnTo>
                  <a:pt x="2887561" y="993724"/>
                </a:lnTo>
                <a:lnTo>
                  <a:pt x="2887561" y="1020128"/>
                </a:lnTo>
                <a:lnTo>
                  <a:pt x="2913622" y="1020128"/>
                </a:lnTo>
                <a:lnTo>
                  <a:pt x="2913622" y="993724"/>
                </a:lnTo>
                <a:lnTo>
                  <a:pt x="2940025" y="993724"/>
                </a:lnTo>
                <a:lnTo>
                  <a:pt x="2940025" y="967664"/>
                </a:lnTo>
                <a:lnTo>
                  <a:pt x="2913622" y="967664"/>
                </a:lnTo>
                <a:lnTo>
                  <a:pt x="2913622" y="941261"/>
                </a:lnTo>
                <a:lnTo>
                  <a:pt x="2887561" y="941261"/>
                </a:lnTo>
                <a:close/>
                <a:moveTo>
                  <a:pt x="2200732" y="664197"/>
                </a:moveTo>
                <a:lnTo>
                  <a:pt x="2200732" y="692315"/>
                </a:lnTo>
                <a:lnTo>
                  <a:pt x="2172614" y="692315"/>
                </a:lnTo>
                <a:lnTo>
                  <a:pt x="2172614" y="720433"/>
                </a:lnTo>
                <a:lnTo>
                  <a:pt x="2200732" y="720433"/>
                </a:lnTo>
                <a:lnTo>
                  <a:pt x="2200732" y="748551"/>
                </a:lnTo>
                <a:lnTo>
                  <a:pt x="2228850" y="748551"/>
                </a:lnTo>
                <a:lnTo>
                  <a:pt x="2228850" y="720433"/>
                </a:lnTo>
                <a:lnTo>
                  <a:pt x="2256968" y="720433"/>
                </a:lnTo>
                <a:lnTo>
                  <a:pt x="2256968" y="692315"/>
                </a:lnTo>
                <a:lnTo>
                  <a:pt x="2228850" y="692315"/>
                </a:lnTo>
                <a:lnTo>
                  <a:pt x="2228850" y="664197"/>
                </a:lnTo>
                <a:lnTo>
                  <a:pt x="2200732" y="664197"/>
                </a:lnTo>
                <a:close/>
                <a:moveTo>
                  <a:pt x="1858861" y="530123"/>
                </a:moveTo>
                <a:lnTo>
                  <a:pt x="1858861" y="556184"/>
                </a:lnTo>
                <a:lnTo>
                  <a:pt x="1832800" y="556184"/>
                </a:lnTo>
                <a:lnTo>
                  <a:pt x="1832800" y="582244"/>
                </a:lnTo>
                <a:lnTo>
                  <a:pt x="1858861" y="582244"/>
                </a:lnTo>
                <a:lnTo>
                  <a:pt x="1858861" y="608305"/>
                </a:lnTo>
                <a:lnTo>
                  <a:pt x="1884921" y="608305"/>
                </a:lnTo>
                <a:lnTo>
                  <a:pt x="1884921" y="582244"/>
                </a:lnTo>
                <a:lnTo>
                  <a:pt x="1910982" y="582244"/>
                </a:lnTo>
                <a:lnTo>
                  <a:pt x="1910982" y="556184"/>
                </a:lnTo>
                <a:lnTo>
                  <a:pt x="1884921" y="556184"/>
                </a:lnTo>
                <a:lnTo>
                  <a:pt x="1884921" y="530123"/>
                </a:lnTo>
                <a:lnTo>
                  <a:pt x="1858861" y="530123"/>
                </a:lnTo>
                <a:close/>
                <a:moveTo>
                  <a:pt x="2338235" y="665226"/>
                </a:moveTo>
                <a:lnTo>
                  <a:pt x="2338235" y="692658"/>
                </a:lnTo>
                <a:lnTo>
                  <a:pt x="2310803" y="692658"/>
                </a:lnTo>
                <a:lnTo>
                  <a:pt x="2310803" y="720090"/>
                </a:lnTo>
                <a:lnTo>
                  <a:pt x="2338235" y="720090"/>
                </a:lnTo>
                <a:lnTo>
                  <a:pt x="2338235" y="747522"/>
                </a:lnTo>
                <a:lnTo>
                  <a:pt x="2365667" y="747522"/>
                </a:lnTo>
                <a:lnTo>
                  <a:pt x="2365667" y="720090"/>
                </a:lnTo>
                <a:lnTo>
                  <a:pt x="2393099" y="720090"/>
                </a:lnTo>
                <a:lnTo>
                  <a:pt x="2393099" y="692658"/>
                </a:lnTo>
                <a:lnTo>
                  <a:pt x="2365667" y="692658"/>
                </a:lnTo>
                <a:lnTo>
                  <a:pt x="2365667" y="665226"/>
                </a:lnTo>
                <a:lnTo>
                  <a:pt x="2338235" y="665226"/>
                </a:lnTo>
                <a:close/>
                <a:moveTo>
                  <a:pt x="1721701" y="530466"/>
                </a:moveTo>
                <a:lnTo>
                  <a:pt x="1721701" y="556184"/>
                </a:lnTo>
                <a:lnTo>
                  <a:pt x="1695983" y="556184"/>
                </a:lnTo>
                <a:lnTo>
                  <a:pt x="1695983" y="582244"/>
                </a:lnTo>
                <a:lnTo>
                  <a:pt x="1721701" y="582244"/>
                </a:lnTo>
                <a:lnTo>
                  <a:pt x="1721701" y="607962"/>
                </a:lnTo>
                <a:lnTo>
                  <a:pt x="1747761" y="607962"/>
                </a:lnTo>
                <a:lnTo>
                  <a:pt x="1747761" y="582244"/>
                </a:lnTo>
                <a:lnTo>
                  <a:pt x="1773479" y="582244"/>
                </a:lnTo>
                <a:lnTo>
                  <a:pt x="1773479" y="556184"/>
                </a:lnTo>
                <a:lnTo>
                  <a:pt x="1747761" y="556184"/>
                </a:lnTo>
                <a:lnTo>
                  <a:pt x="1747761" y="530466"/>
                </a:lnTo>
                <a:lnTo>
                  <a:pt x="1721701" y="530466"/>
                </a:lnTo>
                <a:close/>
                <a:moveTo>
                  <a:pt x="1996021" y="530123"/>
                </a:moveTo>
                <a:lnTo>
                  <a:pt x="1996021" y="556184"/>
                </a:lnTo>
                <a:lnTo>
                  <a:pt x="1969960" y="556184"/>
                </a:lnTo>
                <a:lnTo>
                  <a:pt x="1969960" y="582244"/>
                </a:lnTo>
                <a:lnTo>
                  <a:pt x="1996021" y="582244"/>
                </a:lnTo>
                <a:lnTo>
                  <a:pt x="1996021" y="608305"/>
                </a:lnTo>
                <a:lnTo>
                  <a:pt x="2022081" y="608305"/>
                </a:lnTo>
                <a:lnTo>
                  <a:pt x="2022081" y="582244"/>
                </a:lnTo>
                <a:lnTo>
                  <a:pt x="2048142" y="582244"/>
                </a:lnTo>
                <a:lnTo>
                  <a:pt x="2048142" y="556184"/>
                </a:lnTo>
                <a:lnTo>
                  <a:pt x="2022081" y="556184"/>
                </a:lnTo>
                <a:lnTo>
                  <a:pt x="2022081" y="530123"/>
                </a:lnTo>
                <a:lnTo>
                  <a:pt x="1996021" y="530123"/>
                </a:lnTo>
                <a:close/>
                <a:moveTo>
                  <a:pt x="1926069" y="663512"/>
                </a:moveTo>
                <a:lnTo>
                  <a:pt x="1926069" y="691972"/>
                </a:lnTo>
                <a:lnTo>
                  <a:pt x="1897609" y="691972"/>
                </a:lnTo>
                <a:lnTo>
                  <a:pt x="1897609" y="720776"/>
                </a:lnTo>
                <a:lnTo>
                  <a:pt x="1926069" y="720776"/>
                </a:lnTo>
                <a:lnTo>
                  <a:pt x="1926069" y="749237"/>
                </a:lnTo>
                <a:lnTo>
                  <a:pt x="1954873" y="749237"/>
                </a:lnTo>
                <a:lnTo>
                  <a:pt x="1954873" y="720776"/>
                </a:lnTo>
                <a:lnTo>
                  <a:pt x="1983334" y="720776"/>
                </a:lnTo>
                <a:lnTo>
                  <a:pt x="1983334" y="691972"/>
                </a:lnTo>
                <a:lnTo>
                  <a:pt x="1954873" y="691972"/>
                </a:lnTo>
                <a:lnTo>
                  <a:pt x="1954873" y="663512"/>
                </a:lnTo>
                <a:lnTo>
                  <a:pt x="1926069" y="663512"/>
                </a:lnTo>
                <a:close/>
                <a:moveTo>
                  <a:pt x="3093987" y="1080478"/>
                </a:moveTo>
                <a:lnTo>
                  <a:pt x="3093987" y="1105510"/>
                </a:lnTo>
                <a:lnTo>
                  <a:pt x="3068955" y="1105510"/>
                </a:lnTo>
                <a:lnTo>
                  <a:pt x="3068955" y="1130198"/>
                </a:lnTo>
                <a:lnTo>
                  <a:pt x="3093987" y="1130198"/>
                </a:lnTo>
                <a:lnTo>
                  <a:pt x="3093987" y="1155230"/>
                </a:lnTo>
                <a:lnTo>
                  <a:pt x="3118676" y="1155230"/>
                </a:lnTo>
                <a:lnTo>
                  <a:pt x="3118676" y="1130198"/>
                </a:lnTo>
                <a:lnTo>
                  <a:pt x="3143707" y="1130198"/>
                </a:lnTo>
                <a:lnTo>
                  <a:pt x="3143707" y="1105510"/>
                </a:lnTo>
                <a:lnTo>
                  <a:pt x="3118676" y="1105510"/>
                </a:lnTo>
                <a:lnTo>
                  <a:pt x="3118676" y="1080478"/>
                </a:lnTo>
                <a:lnTo>
                  <a:pt x="3093987" y="1080478"/>
                </a:lnTo>
                <a:close/>
                <a:moveTo>
                  <a:pt x="2270684" y="531152"/>
                </a:moveTo>
                <a:lnTo>
                  <a:pt x="2270684" y="556527"/>
                </a:lnTo>
                <a:lnTo>
                  <a:pt x="2245309" y="556527"/>
                </a:lnTo>
                <a:lnTo>
                  <a:pt x="2245309" y="581901"/>
                </a:lnTo>
                <a:lnTo>
                  <a:pt x="2270684" y="581901"/>
                </a:lnTo>
                <a:lnTo>
                  <a:pt x="2270684" y="607276"/>
                </a:lnTo>
                <a:lnTo>
                  <a:pt x="2296058" y="607276"/>
                </a:lnTo>
                <a:lnTo>
                  <a:pt x="2296058" y="581901"/>
                </a:lnTo>
                <a:lnTo>
                  <a:pt x="2321433" y="581901"/>
                </a:lnTo>
                <a:lnTo>
                  <a:pt x="2321433" y="556527"/>
                </a:lnTo>
                <a:lnTo>
                  <a:pt x="2296058" y="556527"/>
                </a:lnTo>
                <a:lnTo>
                  <a:pt x="2296058" y="531152"/>
                </a:lnTo>
                <a:lnTo>
                  <a:pt x="2270684" y="531152"/>
                </a:lnTo>
                <a:close/>
                <a:moveTo>
                  <a:pt x="2133181" y="530466"/>
                </a:moveTo>
                <a:lnTo>
                  <a:pt x="2133181" y="556184"/>
                </a:lnTo>
                <a:lnTo>
                  <a:pt x="2107463" y="556184"/>
                </a:lnTo>
                <a:lnTo>
                  <a:pt x="2107463" y="582244"/>
                </a:lnTo>
                <a:lnTo>
                  <a:pt x="2133181" y="582244"/>
                </a:lnTo>
                <a:lnTo>
                  <a:pt x="2133181" y="607962"/>
                </a:lnTo>
                <a:lnTo>
                  <a:pt x="2159242" y="607962"/>
                </a:lnTo>
                <a:lnTo>
                  <a:pt x="2159242" y="582244"/>
                </a:lnTo>
                <a:lnTo>
                  <a:pt x="2184959" y="582244"/>
                </a:lnTo>
                <a:lnTo>
                  <a:pt x="2184959" y="556184"/>
                </a:lnTo>
                <a:lnTo>
                  <a:pt x="2159242" y="556184"/>
                </a:lnTo>
                <a:lnTo>
                  <a:pt x="2159242" y="530466"/>
                </a:lnTo>
                <a:lnTo>
                  <a:pt x="2133181" y="530466"/>
                </a:lnTo>
                <a:close/>
                <a:moveTo>
                  <a:pt x="2063572" y="663854"/>
                </a:moveTo>
                <a:lnTo>
                  <a:pt x="2063572" y="692315"/>
                </a:lnTo>
                <a:lnTo>
                  <a:pt x="2035111" y="692315"/>
                </a:lnTo>
                <a:lnTo>
                  <a:pt x="2035111" y="720433"/>
                </a:lnTo>
                <a:lnTo>
                  <a:pt x="2063572" y="720433"/>
                </a:lnTo>
                <a:lnTo>
                  <a:pt x="2063572" y="748894"/>
                </a:lnTo>
                <a:lnTo>
                  <a:pt x="2091690" y="748894"/>
                </a:lnTo>
                <a:lnTo>
                  <a:pt x="2091690" y="720433"/>
                </a:lnTo>
                <a:lnTo>
                  <a:pt x="2120151" y="720433"/>
                </a:lnTo>
                <a:lnTo>
                  <a:pt x="2120151" y="692315"/>
                </a:lnTo>
                <a:lnTo>
                  <a:pt x="2091690" y="692315"/>
                </a:lnTo>
                <a:lnTo>
                  <a:pt x="2091690" y="663854"/>
                </a:lnTo>
                <a:lnTo>
                  <a:pt x="2063572" y="663854"/>
                </a:lnTo>
                <a:close/>
                <a:moveTo>
                  <a:pt x="2778862" y="2673248"/>
                </a:moveTo>
                <a:lnTo>
                  <a:pt x="2778862" y="2642045"/>
                </a:lnTo>
                <a:lnTo>
                  <a:pt x="2810066" y="2642045"/>
                </a:lnTo>
                <a:lnTo>
                  <a:pt x="2810066" y="2611184"/>
                </a:lnTo>
                <a:lnTo>
                  <a:pt x="2778862" y="2611184"/>
                </a:lnTo>
                <a:lnTo>
                  <a:pt x="2778862" y="2579980"/>
                </a:lnTo>
                <a:lnTo>
                  <a:pt x="2748001" y="2579980"/>
                </a:lnTo>
                <a:lnTo>
                  <a:pt x="2748001" y="2611184"/>
                </a:lnTo>
                <a:lnTo>
                  <a:pt x="2716797" y="2611184"/>
                </a:lnTo>
                <a:lnTo>
                  <a:pt x="2716797" y="2642045"/>
                </a:lnTo>
                <a:lnTo>
                  <a:pt x="2748001" y="2642045"/>
                </a:lnTo>
                <a:lnTo>
                  <a:pt x="2748001" y="2673248"/>
                </a:lnTo>
                <a:lnTo>
                  <a:pt x="2778862" y="2673248"/>
                </a:lnTo>
                <a:close/>
                <a:moveTo>
                  <a:pt x="2298459" y="3083014"/>
                </a:moveTo>
                <a:lnTo>
                  <a:pt x="2298459" y="3053182"/>
                </a:lnTo>
                <a:lnTo>
                  <a:pt x="2328291" y="3053182"/>
                </a:lnTo>
                <a:lnTo>
                  <a:pt x="2328291" y="3023006"/>
                </a:lnTo>
                <a:lnTo>
                  <a:pt x="2298459" y="3023006"/>
                </a:lnTo>
                <a:lnTo>
                  <a:pt x="2298459" y="2993174"/>
                </a:lnTo>
                <a:lnTo>
                  <a:pt x="2268284" y="2993174"/>
                </a:lnTo>
                <a:lnTo>
                  <a:pt x="2268284" y="3023006"/>
                </a:lnTo>
                <a:lnTo>
                  <a:pt x="2238451" y="3023006"/>
                </a:lnTo>
                <a:lnTo>
                  <a:pt x="2238451" y="3053182"/>
                </a:lnTo>
                <a:lnTo>
                  <a:pt x="2268284" y="3053182"/>
                </a:lnTo>
                <a:lnTo>
                  <a:pt x="2268284" y="3083014"/>
                </a:lnTo>
                <a:lnTo>
                  <a:pt x="2298459" y="3083014"/>
                </a:lnTo>
                <a:close/>
                <a:moveTo>
                  <a:pt x="2641016" y="2945168"/>
                </a:moveTo>
                <a:lnTo>
                  <a:pt x="2641016" y="2915679"/>
                </a:lnTo>
                <a:lnTo>
                  <a:pt x="2670505" y="2915679"/>
                </a:lnTo>
                <a:lnTo>
                  <a:pt x="2670505" y="2886189"/>
                </a:lnTo>
                <a:lnTo>
                  <a:pt x="2641016" y="2886189"/>
                </a:lnTo>
                <a:lnTo>
                  <a:pt x="2641016" y="2856700"/>
                </a:lnTo>
                <a:lnTo>
                  <a:pt x="2611526" y="2856700"/>
                </a:lnTo>
                <a:lnTo>
                  <a:pt x="2611526" y="2886189"/>
                </a:lnTo>
                <a:lnTo>
                  <a:pt x="2582037" y="2886189"/>
                </a:lnTo>
                <a:lnTo>
                  <a:pt x="2582037" y="2915679"/>
                </a:lnTo>
                <a:lnTo>
                  <a:pt x="2611526" y="2915679"/>
                </a:lnTo>
                <a:lnTo>
                  <a:pt x="2611526" y="2945168"/>
                </a:lnTo>
                <a:lnTo>
                  <a:pt x="2641016" y="2945168"/>
                </a:lnTo>
                <a:close/>
                <a:moveTo>
                  <a:pt x="2709939" y="2809380"/>
                </a:moveTo>
                <a:lnTo>
                  <a:pt x="2709939" y="2778862"/>
                </a:lnTo>
                <a:lnTo>
                  <a:pt x="2740457" y="2778862"/>
                </a:lnTo>
                <a:lnTo>
                  <a:pt x="2740457" y="2748686"/>
                </a:lnTo>
                <a:lnTo>
                  <a:pt x="2709939" y="2748686"/>
                </a:lnTo>
                <a:lnTo>
                  <a:pt x="2709939" y="2718168"/>
                </a:lnTo>
                <a:lnTo>
                  <a:pt x="2679764" y="2718168"/>
                </a:lnTo>
                <a:lnTo>
                  <a:pt x="2679764" y="2748686"/>
                </a:lnTo>
                <a:lnTo>
                  <a:pt x="2649245" y="2748686"/>
                </a:lnTo>
                <a:lnTo>
                  <a:pt x="2649245" y="2778862"/>
                </a:lnTo>
                <a:lnTo>
                  <a:pt x="2679764" y="2778862"/>
                </a:lnTo>
                <a:lnTo>
                  <a:pt x="2679764" y="2809380"/>
                </a:lnTo>
                <a:lnTo>
                  <a:pt x="2709939" y="2809380"/>
                </a:lnTo>
                <a:close/>
                <a:moveTo>
                  <a:pt x="2846413" y="2807322"/>
                </a:moveTo>
                <a:lnTo>
                  <a:pt x="2846413" y="2778176"/>
                </a:lnTo>
                <a:lnTo>
                  <a:pt x="2875559" y="2778176"/>
                </a:lnTo>
                <a:lnTo>
                  <a:pt x="2875559" y="2749372"/>
                </a:lnTo>
                <a:lnTo>
                  <a:pt x="2846413" y="2749372"/>
                </a:lnTo>
                <a:lnTo>
                  <a:pt x="2846413" y="2720226"/>
                </a:lnTo>
                <a:lnTo>
                  <a:pt x="2817610" y="2720226"/>
                </a:lnTo>
                <a:lnTo>
                  <a:pt x="2817610" y="2749372"/>
                </a:lnTo>
                <a:lnTo>
                  <a:pt x="2788463" y="2749372"/>
                </a:lnTo>
                <a:lnTo>
                  <a:pt x="2788463" y="2778176"/>
                </a:lnTo>
                <a:lnTo>
                  <a:pt x="2817610" y="2778176"/>
                </a:lnTo>
                <a:lnTo>
                  <a:pt x="2817610" y="2807322"/>
                </a:lnTo>
                <a:lnTo>
                  <a:pt x="2846413" y="2807322"/>
                </a:lnTo>
                <a:close/>
                <a:moveTo>
                  <a:pt x="2573465" y="2811094"/>
                </a:moveTo>
                <a:lnTo>
                  <a:pt x="2573465" y="2779547"/>
                </a:lnTo>
                <a:lnTo>
                  <a:pt x="2605012" y="2779547"/>
                </a:lnTo>
                <a:lnTo>
                  <a:pt x="2605012" y="2748001"/>
                </a:lnTo>
                <a:lnTo>
                  <a:pt x="2573465" y="2748001"/>
                </a:lnTo>
                <a:lnTo>
                  <a:pt x="2573465" y="2716454"/>
                </a:lnTo>
                <a:lnTo>
                  <a:pt x="2541918" y="2716454"/>
                </a:lnTo>
                <a:lnTo>
                  <a:pt x="2541918" y="2748001"/>
                </a:lnTo>
                <a:lnTo>
                  <a:pt x="2510371" y="2748001"/>
                </a:lnTo>
                <a:lnTo>
                  <a:pt x="2510371" y="2779547"/>
                </a:lnTo>
                <a:lnTo>
                  <a:pt x="2541918" y="2779547"/>
                </a:lnTo>
                <a:lnTo>
                  <a:pt x="2541918" y="2811094"/>
                </a:lnTo>
                <a:lnTo>
                  <a:pt x="2573465" y="2811094"/>
                </a:lnTo>
                <a:close/>
                <a:moveTo>
                  <a:pt x="2435276" y="3081985"/>
                </a:moveTo>
                <a:lnTo>
                  <a:pt x="2435276" y="3052839"/>
                </a:lnTo>
                <a:lnTo>
                  <a:pt x="2464423" y="3052839"/>
                </a:lnTo>
                <a:lnTo>
                  <a:pt x="2464423" y="3023349"/>
                </a:lnTo>
                <a:lnTo>
                  <a:pt x="2435276" y="3023349"/>
                </a:lnTo>
                <a:lnTo>
                  <a:pt x="2435276" y="2994203"/>
                </a:lnTo>
                <a:lnTo>
                  <a:pt x="2405786" y="2994203"/>
                </a:lnTo>
                <a:lnTo>
                  <a:pt x="2405786" y="3023349"/>
                </a:lnTo>
                <a:lnTo>
                  <a:pt x="2376640" y="3023349"/>
                </a:lnTo>
                <a:lnTo>
                  <a:pt x="2376640" y="3052839"/>
                </a:lnTo>
                <a:lnTo>
                  <a:pt x="2405786" y="3052839"/>
                </a:lnTo>
                <a:lnTo>
                  <a:pt x="2405786" y="3081985"/>
                </a:lnTo>
                <a:lnTo>
                  <a:pt x="2435276" y="3081985"/>
                </a:lnTo>
                <a:close/>
                <a:moveTo>
                  <a:pt x="2915336" y="2670505"/>
                </a:moveTo>
                <a:lnTo>
                  <a:pt x="2915336" y="2641359"/>
                </a:lnTo>
                <a:lnTo>
                  <a:pt x="2944483" y="2641359"/>
                </a:lnTo>
                <a:lnTo>
                  <a:pt x="2944483" y="2611869"/>
                </a:lnTo>
                <a:lnTo>
                  <a:pt x="2915336" y="2611869"/>
                </a:lnTo>
                <a:lnTo>
                  <a:pt x="2915336" y="2582723"/>
                </a:lnTo>
                <a:lnTo>
                  <a:pt x="2885846" y="2582723"/>
                </a:lnTo>
                <a:lnTo>
                  <a:pt x="2885846" y="2611869"/>
                </a:lnTo>
                <a:lnTo>
                  <a:pt x="2856700" y="2611869"/>
                </a:lnTo>
                <a:lnTo>
                  <a:pt x="2856700" y="2641359"/>
                </a:lnTo>
                <a:lnTo>
                  <a:pt x="2885846" y="2641359"/>
                </a:lnTo>
                <a:lnTo>
                  <a:pt x="2885846" y="2670505"/>
                </a:lnTo>
                <a:lnTo>
                  <a:pt x="2915336" y="2670505"/>
                </a:lnTo>
                <a:close/>
                <a:moveTo>
                  <a:pt x="2367725" y="2947911"/>
                </a:moveTo>
                <a:lnTo>
                  <a:pt x="2367725" y="2916707"/>
                </a:lnTo>
                <a:lnTo>
                  <a:pt x="2398928" y="2916707"/>
                </a:lnTo>
                <a:lnTo>
                  <a:pt x="2398928" y="2885161"/>
                </a:lnTo>
                <a:lnTo>
                  <a:pt x="2367725" y="2885161"/>
                </a:lnTo>
                <a:lnTo>
                  <a:pt x="2367725" y="2853957"/>
                </a:lnTo>
                <a:lnTo>
                  <a:pt x="2336178" y="2853957"/>
                </a:lnTo>
                <a:lnTo>
                  <a:pt x="2336178" y="2885161"/>
                </a:lnTo>
                <a:lnTo>
                  <a:pt x="2304974" y="2885161"/>
                </a:lnTo>
                <a:lnTo>
                  <a:pt x="2304974" y="2916707"/>
                </a:lnTo>
                <a:lnTo>
                  <a:pt x="2336178" y="2916707"/>
                </a:lnTo>
                <a:lnTo>
                  <a:pt x="2336178" y="2947911"/>
                </a:lnTo>
                <a:lnTo>
                  <a:pt x="2367725" y="2947911"/>
                </a:lnTo>
                <a:close/>
                <a:moveTo>
                  <a:pt x="2504542" y="2946883"/>
                </a:moveTo>
                <a:lnTo>
                  <a:pt x="2504542" y="2916365"/>
                </a:lnTo>
                <a:lnTo>
                  <a:pt x="2535060" y="2916365"/>
                </a:lnTo>
                <a:lnTo>
                  <a:pt x="2535060" y="2885504"/>
                </a:lnTo>
                <a:lnTo>
                  <a:pt x="2504542" y="2885504"/>
                </a:lnTo>
                <a:lnTo>
                  <a:pt x="2504542" y="2854985"/>
                </a:lnTo>
                <a:lnTo>
                  <a:pt x="2473681" y="2854985"/>
                </a:lnTo>
                <a:lnTo>
                  <a:pt x="2473681" y="2885504"/>
                </a:lnTo>
                <a:lnTo>
                  <a:pt x="2443163" y="2885504"/>
                </a:lnTo>
                <a:lnTo>
                  <a:pt x="2443163" y="2916365"/>
                </a:lnTo>
                <a:lnTo>
                  <a:pt x="2473681" y="2916365"/>
                </a:lnTo>
                <a:lnTo>
                  <a:pt x="2473681" y="2946883"/>
                </a:lnTo>
                <a:lnTo>
                  <a:pt x="2504542" y="2946883"/>
                </a:lnTo>
                <a:close/>
                <a:moveTo>
                  <a:pt x="3299727" y="1491958"/>
                </a:moveTo>
                <a:lnTo>
                  <a:pt x="3299727" y="1516990"/>
                </a:lnTo>
                <a:lnTo>
                  <a:pt x="3274695" y="1516990"/>
                </a:lnTo>
                <a:lnTo>
                  <a:pt x="3274695" y="1541678"/>
                </a:lnTo>
                <a:lnTo>
                  <a:pt x="3299727" y="1541678"/>
                </a:lnTo>
                <a:lnTo>
                  <a:pt x="3299727" y="1566710"/>
                </a:lnTo>
                <a:lnTo>
                  <a:pt x="3324416" y="1566710"/>
                </a:lnTo>
                <a:lnTo>
                  <a:pt x="3324416" y="1541678"/>
                </a:lnTo>
                <a:lnTo>
                  <a:pt x="3349447" y="1541678"/>
                </a:lnTo>
                <a:lnTo>
                  <a:pt x="3349447" y="1516990"/>
                </a:lnTo>
                <a:lnTo>
                  <a:pt x="3324416" y="1516990"/>
                </a:lnTo>
                <a:lnTo>
                  <a:pt x="3324416" y="1491958"/>
                </a:lnTo>
                <a:lnTo>
                  <a:pt x="3299727" y="1491958"/>
                </a:lnTo>
                <a:close/>
                <a:moveTo>
                  <a:pt x="3299041" y="1764563"/>
                </a:moveTo>
                <a:lnTo>
                  <a:pt x="3299041" y="1790624"/>
                </a:lnTo>
                <a:lnTo>
                  <a:pt x="3272981" y="1790624"/>
                </a:lnTo>
                <a:lnTo>
                  <a:pt x="3272981" y="1816684"/>
                </a:lnTo>
                <a:lnTo>
                  <a:pt x="3299041" y="1816684"/>
                </a:lnTo>
                <a:lnTo>
                  <a:pt x="3299041" y="1842745"/>
                </a:lnTo>
                <a:lnTo>
                  <a:pt x="3325102" y="1842745"/>
                </a:lnTo>
                <a:lnTo>
                  <a:pt x="3325102" y="1816684"/>
                </a:lnTo>
                <a:lnTo>
                  <a:pt x="3351162" y="1816684"/>
                </a:lnTo>
                <a:lnTo>
                  <a:pt x="3351162" y="1790624"/>
                </a:lnTo>
                <a:lnTo>
                  <a:pt x="3325102" y="1790624"/>
                </a:lnTo>
                <a:lnTo>
                  <a:pt x="3325102" y="1764563"/>
                </a:lnTo>
                <a:lnTo>
                  <a:pt x="3299041" y="1764563"/>
                </a:lnTo>
                <a:close/>
                <a:moveTo>
                  <a:pt x="3162224" y="1216952"/>
                </a:moveTo>
                <a:lnTo>
                  <a:pt x="3162224" y="1242327"/>
                </a:lnTo>
                <a:lnTo>
                  <a:pt x="3136849" y="1242327"/>
                </a:lnTo>
                <a:lnTo>
                  <a:pt x="3136849" y="1267701"/>
                </a:lnTo>
                <a:lnTo>
                  <a:pt x="3162224" y="1267701"/>
                </a:lnTo>
                <a:lnTo>
                  <a:pt x="3162224" y="1293076"/>
                </a:lnTo>
                <a:lnTo>
                  <a:pt x="3187598" y="1293076"/>
                </a:lnTo>
                <a:lnTo>
                  <a:pt x="3187598" y="1267701"/>
                </a:lnTo>
                <a:lnTo>
                  <a:pt x="3212973" y="1267701"/>
                </a:lnTo>
                <a:lnTo>
                  <a:pt x="3212973" y="1242327"/>
                </a:lnTo>
                <a:lnTo>
                  <a:pt x="3187598" y="1242327"/>
                </a:lnTo>
                <a:lnTo>
                  <a:pt x="3187598" y="1216952"/>
                </a:lnTo>
                <a:lnTo>
                  <a:pt x="3162224" y="1216952"/>
                </a:lnTo>
                <a:close/>
                <a:moveTo>
                  <a:pt x="2983916" y="2533688"/>
                </a:moveTo>
                <a:lnTo>
                  <a:pt x="2983916" y="2504199"/>
                </a:lnTo>
                <a:lnTo>
                  <a:pt x="3013405" y="2504199"/>
                </a:lnTo>
                <a:lnTo>
                  <a:pt x="3013405" y="2474709"/>
                </a:lnTo>
                <a:lnTo>
                  <a:pt x="2983916" y="2474709"/>
                </a:lnTo>
                <a:lnTo>
                  <a:pt x="2983916" y="2445220"/>
                </a:lnTo>
                <a:lnTo>
                  <a:pt x="2954426" y="2445220"/>
                </a:lnTo>
                <a:lnTo>
                  <a:pt x="2954426" y="2474709"/>
                </a:lnTo>
                <a:lnTo>
                  <a:pt x="2924937" y="2474709"/>
                </a:lnTo>
                <a:lnTo>
                  <a:pt x="2924937" y="2504199"/>
                </a:lnTo>
                <a:lnTo>
                  <a:pt x="2954426" y="2504199"/>
                </a:lnTo>
                <a:lnTo>
                  <a:pt x="2954426" y="2533688"/>
                </a:lnTo>
                <a:lnTo>
                  <a:pt x="2983916" y="2533688"/>
                </a:lnTo>
                <a:close/>
                <a:moveTo>
                  <a:pt x="3325102" y="2117065"/>
                </a:moveTo>
                <a:lnTo>
                  <a:pt x="3325102" y="2091004"/>
                </a:lnTo>
                <a:lnTo>
                  <a:pt x="3351162" y="2091004"/>
                </a:lnTo>
                <a:lnTo>
                  <a:pt x="3351162" y="2064944"/>
                </a:lnTo>
                <a:lnTo>
                  <a:pt x="3325102" y="2064944"/>
                </a:lnTo>
                <a:lnTo>
                  <a:pt x="3325102" y="2038883"/>
                </a:lnTo>
                <a:lnTo>
                  <a:pt x="3299041" y="2038883"/>
                </a:lnTo>
                <a:lnTo>
                  <a:pt x="3299041" y="2064944"/>
                </a:lnTo>
                <a:lnTo>
                  <a:pt x="3272981" y="2064944"/>
                </a:lnTo>
                <a:lnTo>
                  <a:pt x="3272981" y="2091004"/>
                </a:lnTo>
                <a:lnTo>
                  <a:pt x="3299041" y="2091004"/>
                </a:lnTo>
                <a:lnTo>
                  <a:pt x="3299041" y="2117065"/>
                </a:lnTo>
                <a:lnTo>
                  <a:pt x="3325102" y="2117065"/>
                </a:lnTo>
                <a:close/>
                <a:moveTo>
                  <a:pt x="3230804" y="1354112"/>
                </a:moveTo>
                <a:lnTo>
                  <a:pt x="3230804" y="1379487"/>
                </a:lnTo>
                <a:lnTo>
                  <a:pt x="3205429" y="1379487"/>
                </a:lnTo>
                <a:lnTo>
                  <a:pt x="3205429" y="1404861"/>
                </a:lnTo>
                <a:lnTo>
                  <a:pt x="3230804" y="1404861"/>
                </a:lnTo>
                <a:lnTo>
                  <a:pt x="3230804" y="1430236"/>
                </a:lnTo>
                <a:lnTo>
                  <a:pt x="3256178" y="1430236"/>
                </a:lnTo>
                <a:lnTo>
                  <a:pt x="3256178" y="1404861"/>
                </a:lnTo>
                <a:lnTo>
                  <a:pt x="3281553" y="1404861"/>
                </a:lnTo>
                <a:lnTo>
                  <a:pt x="3281553" y="1379487"/>
                </a:lnTo>
                <a:lnTo>
                  <a:pt x="3256178" y="1379487"/>
                </a:lnTo>
                <a:lnTo>
                  <a:pt x="3256178" y="1354112"/>
                </a:lnTo>
                <a:lnTo>
                  <a:pt x="3230804" y="1354112"/>
                </a:lnTo>
                <a:close/>
                <a:moveTo>
                  <a:pt x="3051467" y="2668105"/>
                </a:moveTo>
                <a:lnTo>
                  <a:pt x="3051467" y="2640330"/>
                </a:lnTo>
                <a:lnTo>
                  <a:pt x="3079242" y="2640330"/>
                </a:lnTo>
                <a:lnTo>
                  <a:pt x="3079242" y="2612898"/>
                </a:lnTo>
                <a:lnTo>
                  <a:pt x="3051467" y="2612898"/>
                </a:lnTo>
                <a:lnTo>
                  <a:pt x="3051467" y="2585123"/>
                </a:lnTo>
                <a:lnTo>
                  <a:pt x="3024035" y="2585123"/>
                </a:lnTo>
                <a:lnTo>
                  <a:pt x="3024035" y="2612898"/>
                </a:lnTo>
                <a:lnTo>
                  <a:pt x="2996260" y="2612898"/>
                </a:lnTo>
                <a:lnTo>
                  <a:pt x="2996260" y="2640330"/>
                </a:lnTo>
                <a:lnTo>
                  <a:pt x="3024035" y="2640330"/>
                </a:lnTo>
                <a:lnTo>
                  <a:pt x="3024035" y="2668105"/>
                </a:lnTo>
                <a:lnTo>
                  <a:pt x="3051467" y="2668105"/>
                </a:lnTo>
                <a:close/>
                <a:moveTo>
                  <a:pt x="3256864" y="2255596"/>
                </a:moveTo>
                <a:lnTo>
                  <a:pt x="3256864" y="2228507"/>
                </a:lnTo>
                <a:lnTo>
                  <a:pt x="3283954" y="2228507"/>
                </a:lnTo>
                <a:lnTo>
                  <a:pt x="3283954" y="2201761"/>
                </a:lnTo>
                <a:lnTo>
                  <a:pt x="3256864" y="2201761"/>
                </a:lnTo>
                <a:lnTo>
                  <a:pt x="3256864" y="2174672"/>
                </a:lnTo>
                <a:lnTo>
                  <a:pt x="3230118" y="2174672"/>
                </a:lnTo>
                <a:lnTo>
                  <a:pt x="3230118" y="2201761"/>
                </a:lnTo>
                <a:lnTo>
                  <a:pt x="3203029" y="2201761"/>
                </a:lnTo>
                <a:lnTo>
                  <a:pt x="3203029" y="2228507"/>
                </a:lnTo>
                <a:lnTo>
                  <a:pt x="3230118" y="2228507"/>
                </a:lnTo>
                <a:lnTo>
                  <a:pt x="3230118" y="2255596"/>
                </a:lnTo>
                <a:lnTo>
                  <a:pt x="3256864" y="2255596"/>
                </a:lnTo>
                <a:close/>
                <a:moveTo>
                  <a:pt x="3120047" y="2530945"/>
                </a:moveTo>
                <a:lnTo>
                  <a:pt x="3120047" y="2503170"/>
                </a:lnTo>
                <a:lnTo>
                  <a:pt x="3147822" y="2503170"/>
                </a:lnTo>
                <a:lnTo>
                  <a:pt x="3147822" y="2475738"/>
                </a:lnTo>
                <a:lnTo>
                  <a:pt x="3120047" y="2475738"/>
                </a:lnTo>
                <a:lnTo>
                  <a:pt x="3120047" y="2447963"/>
                </a:lnTo>
                <a:lnTo>
                  <a:pt x="3092615" y="2447963"/>
                </a:lnTo>
                <a:lnTo>
                  <a:pt x="3092615" y="2475738"/>
                </a:lnTo>
                <a:lnTo>
                  <a:pt x="3064840" y="2475738"/>
                </a:lnTo>
                <a:lnTo>
                  <a:pt x="3064840" y="2503170"/>
                </a:lnTo>
                <a:lnTo>
                  <a:pt x="3092615" y="2503170"/>
                </a:lnTo>
                <a:lnTo>
                  <a:pt x="3092615" y="2530945"/>
                </a:lnTo>
                <a:lnTo>
                  <a:pt x="3120047" y="2530945"/>
                </a:lnTo>
                <a:close/>
                <a:moveTo>
                  <a:pt x="3188627" y="2393442"/>
                </a:moveTo>
                <a:lnTo>
                  <a:pt x="3188627" y="2366010"/>
                </a:lnTo>
                <a:lnTo>
                  <a:pt x="3216059" y="2366010"/>
                </a:lnTo>
                <a:lnTo>
                  <a:pt x="3216059" y="2338578"/>
                </a:lnTo>
                <a:lnTo>
                  <a:pt x="3188627" y="2338578"/>
                </a:lnTo>
                <a:lnTo>
                  <a:pt x="3188627" y="2311146"/>
                </a:lnTo>
                <a:lnTo>
                  <a:pt x="3161195" y="2311146"/>
                </a:lnTo>
                <a:lnTo>
                  <a:pt x="3161195" y="2338578"/>
                </a:lnTo>
                <a:lnTo>
                  <a:pt x="3133763" y="2338578"/>
                </a:lnTo>
                <a:lnTo>
                  <a:pt x="3133763" y="2366010"/>
                </a:lnTo>
                <a:lnTo>
                  <a:pt x="3161195" y="2366010"/>
                </a:lnTo>
                <a:lnTo>
                  <a:pt x="3161195" y="2393442"/>
                </a:lnTo>
                <a:lnTo>
                  <a:pt x="3188627" y="2393442"/>
                </a:lnTo>
                <a:close/>
                <a:moveTo>
                  <a:pt x="1581455" y="1069505"/>
                </a:moveTo>
                <a:lnTo>
                  <a:pt x="1581455" y="1101738"/>
                </a:lnTo>
                <a:lnTo>
                  <a:pt x="1549222" y="1101738"/>
                </a:lnTo>
                <a:lnTo>
                  <a:pt x="1549222" y="1133970"/>
                </a:lnTo>
                <a:lnTo>
                  <a:pt x="1581455" y="1133970"/>
                </a:lnTo>
                <a:lnTo>
                  <a:pt x="1581455" y="1166203"/>
                </a:lnTo>
                <a:lnTo>
                  <a:pt x="1613687" y="1166203"/>
                </a:lnTo>
                <a:lnTo>
                  <a:pt x="1613687" y="1133970"/>
                </a:lnTo>
                <a:lnTo>
                  <a:pt x="1645920" y="1133970"/>
                </a:lnTo>
                <a:lnTo>
                  <a:pt x="1645920" y="1101738"/>
                </a:lnTo>
                <a:lnTo>
                  <a:pt x="1613687" y="1101738"/>
                </a:lnTo>
                <a:lnTo>
                  <a:pt x="1613687" y="1069505"/>
                </a:lnTo>
                <a:lnTo>
                  <a:pt x="1581455" y="1069505"/>
                </a:lnTo>
                <a:close/>
                <a:moveTo>
                  <a:pt x="991324" y="3141993"/>
                </a:moveTo>
                <a:lnTo>
                  <a:pt x="969378" y="3141993"/>
                </a:lnTo>
                <a:lnTo>
                  <a:pt x="969378" y="3164281"/>
                </a:lnTo>
                <a:lnTo>
                  <a:pt x="947090" y="3164281"/>
                </a:lnTo>
                <a:lnTo>
                  <a:pt x="947090" y="3186227"/>
                </a:lnTo>
                <a:lnTo>
                  <a:pt x="969378" y="3186227"/>
                </a:lnTo>
                <a:lnTo>
                  <a:pt x="969378" y="3208515"/>
                </a:lnTo>
                <a:lnTo>
                  <a:pt x="991324" y="3208515"/>
                </a:lnTo>
                <a:lnTo>
                  <a:pt x="991324" y="3186227"/>
                </a:lnTo>
                <a:lnTo>
                  <a:pt x="1013612" y="3186227"/>
                </a:lnTo>
                <a:lnTo>
                  <a:pt x="1013612" y="3164281"/>
                </a:lnTo>
                <a:lnTo>
                  <a:pt x="991324" y="3164281"/>
                </a:lnTo>
                <a:lnTo>
                  <a:pt x="991324" y="3141993"/>
                </a:lnTo>
                <a:close/>
                <a:moveTo>
                  <a:pt x="1056475" y="3564446"/>
                </a:moveTo>
                <a:lnTo>
                  <a:pt x="1041387" y="3564446"/>
                </a:lnTo>
                <a:lnTo>
                  <a:pt x="1041387" y="3579190"/>
                </a:lnTo>
                <a:lnTo>
                  <a:pt x="1026643" y="3579190"/>
                </a:lnTo>
                <a:lnTo>
                  <a:pt x="1026643" y="3594278"/>
                </a:lnTo>
                <a:lnTo>
                  <a:pt x="1041387" y="3594278"/>
                </a:lnTo>
                <a:lnTo>
                  <a:pt x="1041387" y="3609023"/>
                </a:lnTo>
                <a:lnTo>
                  <a:pt x="1056475" y="3609023"/>
                </a:lnTo>
                <a:lnTo>
                  <a:pt x="1056475" y="3594278"/>
                </a:lnTo>
                <a:lnTo>
                  <a:pt x="1071220" y="3594278"/>
                </a:lnTo>
                <a:lnTo>
                  <a:pt x="1071220" y="3579190"/>
                </a:lnTo>
                <a:lnTo>
                  <a:pt x="1056475" y="3579190"/>
                </a:lnTo>
                <a:lnTo>
                  <a:pt x="1056475" y="3564446"/>
                </a:lnTo>
                <a:close/>
                <a:moveTo>
                  <a:pt x="1059218" y="3281553"/>
                </a:moveTo>
                <a:lnTo>
                  <a:pt x="1038644" y="3281553"/>
                </a:lnTo>
                <a:lnTo>
                  <a:pt x="1038644" y="3302127"/>
                </a:lnTo>
                <a:lnTo>
                  <a:pt x="1018070" y="3302127"/>
                </a:lnTo>
                <a:lnTo>
                  <a:pt x="1018070" y="3322701"/>
                </a:lnTo>
                <a:lnTo>
                  <a:pt x="1038644" y="3322701"/>
                </a:lnTo>
                <a:lnTo>
                  <a:pt x="1038644" y="3343275"/>
                </a:lnTo>
                <a:lnTo>
                  <a:pt x="1059218" y="3343275"/>
                </a:lnTo>
                <a:lnTo>
                  <a:pt x="1059218" y="3322701"/>
                </a:lnTo>
                <a:lnTo>
                  <a:pt x="1079792" y="3322701"/>
                </a:lnTo>
                <a:lnTo>
                  <a:pt x="1079792" y="3302127"/>
                </a:lnTo>
                <a:lnTo>
                  <a:pt x="1059218" y="3302127"/>
                </a:lnTo>
                <a:lnTo>
                  <a:pt x="1059218" y="3281553"/>
                </a:lnTo>
                <a:close/>
                <a:moveTo>
                  <a:pt x="988924" y="3424199"/>
                </a:moveTo>
                <a:lnTo>
                  <a:pt x="971779" y="3424199"/>
                </a:lnTo>
                <a:lnTo>
                  <a:pt x="971779" y="3441002"/>
                </a:lnTo>
                <a:lnTo>
                  <a:pt x="954976" y="3441002"/>
                </a:lnTo>
                <a:lnTo>
                  <a:pt x="954976" y="3458147"/>
                </a:lnTo>
                <a:lnTo>
                  <a:pt x="971779" y="3458147"/>
                </a:lnTo>
                <a:lnTo>
                  <a:pt x="971779" y="3474949"/>
                </a:lnTo>
                <a:lnTo>
                  <a:pt x="988924" y="3474949"/>
                </a:lnTo>
                <a:lnTo>
                  <a:pt x="988924" y="3458147"/>
                </a:lnTo>
                <a:lnTo>
                  <a:pt x="1005726" y="3458147"/>
                </a:lnTo>
                <a:lnTo>
                  <a:pt x="1005726" y="3441002"/>
                </a:lnTo>
                <a:lnTo>
                  <a:pt x="988924" y="3441002"/>
                </a:lnTo>
                <a:lnTo>
                  <a:pt x="988924" y="3424199"/>
                </a:lnTo>
                <a:close/>
                <a:moveTo>
                  <a:pt x="923430" y="3003118"/>
                </a:moveTo>
                <a:lnTo>
                  <a:pt x="900112" y="3003118"/>
                </a:lnTo>
                <a:lnTo>
                  <a:pt x="900112" y="3026435"/>
                </a:lnTo>
                <a:lnTo>
                  <a:pt x="876795" y="3026435"/>
                </a:lnTo>
                <a:lnTo>
                  <a:pt x="876795" y="3049753"/>
                </a:lnTo>
                <a:lnTo>
                  <a:pt x="900112" y="3049753"/>
                </a:lnTo>
                <a:lnTo>
                  <a:pt x="900112" y="3073070"/>
                </a:lnTo>
                <a:lnTo>
                  <a:pt x="923430" y="3073070"/>
                </a:lnTo>
                <a:lnTo>
                  <a:pt x="923430" y="3049753"/>
                </a:lnTo>
                <a:lnTo>
                  <a:pt x="946747" y="3049753"/>
                </a:lnTo>
                <a:lnTo>
                  <a:pt x="946747" y="3026435"/>
                </a:lnTo>
                <a:lnTo>
                  <a:pt x="923430" y="3026435"/>
                </a:lnTo>
                <a:lnTo>
                  <a:pt x="923430" y="3003118"/>
                </a:lnTo>
                <a:close/>
                <a:moveTo>
                  <a:pt x="1105510" y="3210916"/>
                </a:moveTo>
                <a:lnTo>
                  <a:pt x="1129513" y="3210916"/>
                </a:lnTo>
                <a:lnTo>
                  <a:pt x="1129513" y="3187256"/>
                </a:lnTo>
                <a:lnTo>
                  <a:pt x="1153173" y="3187256"/>
                </a:lnTo>
                <a:lnTo>
                  <a:pt x="1153173" y="3163253"/>
                </a:lnTo>
                <a:lnTo>
                  <a:pt x="1129513" y="3163253"/>
                </a:lnTo>
                <a:lnTo>
                  <a:pt x="1129513" y="3139592"/>
                </a:lnTo>
                <a:lnTo>
                  <a:pt x="1105510" y="3139592"/>
                </a:lnTo>
                <a:lnTo>
                  <a:pt x="1105510" y="3163253"/>
                </a:lnTo>
                <a:lnTo>
                  <a:pt x="1081849" y="3163253"/>
                </a:lnTo>
                <a:lnTo>
                  <a:pt x="1081849" y="3187256"/>
                </a:lnTo>
                <a:lnTo>
                  <a:pt x="1105510" y="3187256"/>
                </a:lnTo>
                <a:lnTo>
                  <a:pt x="1105510" y="3210916"/>
                </a:lnTo>
                <a:close/>
                <a:moveTo>
                  <a:pt x="1197064" y="3279153"/>
                </a:moveTo>
                <a:lnTo>
                  <a:pt x="1175118" y="3279153"/>
                </a:lnTo>
                <a:lnTo>
                  <a:pt x="1175118" y="3301441"/>
                </a:lnTo>
                <a:lnTo>
                  <a:pt x="1152830" y="3301441"/>
                </a:lnTo>
                <a:lnTo>
                  <a:pt x="1152830" y="3323387"/>
                </a:lnTo>
                <a:lnTo>
                  <a:pt x="1175118" y="3323387"/>
                </a:lnTo>
                <a:lnTo>
                  <a:pt x="1175118" y="3345675"/>
                </a:lnTo>
                <a:lnTo>
                  <a:pt x="1197064" y="3345675"/>
                </a:lnTo>
                <a:lnTo>
                  <a:pt x="1197064" y="3323387"/>
                </a:lnTo>
                <a:lnTo>
                  <a:pt x="1219352" y="3323387"/>
                </a:lnTo>
                <a:lnTo>
                  <a:pt x="1219352" y="3301441"/>
                </a:lnTo>
                <a:lnTo>
                  <a:pt x="1197064" y="3301441"/>
                </a:lnTo>
                <a:lnTo>
                  <a:pt x="1197064" y="3279153"/>
                </a:lnTo>
                <a:close/>
                <a:moveTo>
                  <a:pt x="1194321" y="3562045"/>
                </a:moveTo>
                <a:lnTo>
                  <a:pt x="1177861" y="3562045"/>
                </a:lnTo>
                <a:lnTo>
                  <a:pt x="1177861" y="3578504"/>
                </a:lnTo>
                <a:lnTo>
                  <a:pt x="1161402" y="3578504"/>
                </a:lnTo>
                <a:lnTo>
                  <a:pt x="1161402" y="3594964"/>
                </a:lnTo>
                <a:lnTo>
                  <a:pt x="1177861" y="3594964"/>
                </a:lnTo>
                <a:lnTo>
                  <a:pt x="1177861" y="3611423"/>
                </a:lnTo>
                <a:lnTo>
                  <a:pt x="1194321" y="3611423"/>
                </a:lnTo>
                <a:lnTo>
                  <a:pt x="1194321" y="3594964"/>
                </a:lnTo>
                <a:lnTo>
                  <a:pt x="1210780" y="3594964"/>
                </a:lnTo>
                <a:lnTo>
                  <a:pt x="1210780" y="3578504"/>
                </a:lnTo>
                <a:lnTo>
                  <a:pt x="1194321" y="3578504"/>
                </a:lnTo>
                <a:lnTo>
                  <a:pt x="1194321" y="3562045"/>
                </a:lnTo>
                <a:close/>
                <a:moveTo>
                  <a:pt x="921029" y="3284296"/>
                </a:moveTo>
                <a:lnTo>
                  <a:pt x="902513" y="3284296"/>
                </a:lnTo>
                <a:lnTo>
                  <a:pt x="902513" y="3303156"/>
                </a:lnTo>
                <a:lnTo>
                  <a:pt x="883653" y="3303156"/>
                </a:lnTo>
                <a:lnTo>
                  <a:pt x="883653" y="3321672"/>
                </a:lnTo>
                <a:lnTo>
                  <a:pt x="902513" y="3321672"/>
                </a:lnTo>
                <a:lnTo>
                  <a:pt x="902513" y="3340532"/>
                </a:lnTo>
                <a:lnTo>
                  <a:pt x="921029" y="3340532"/>
                </a:lnTo>
                <a:lnTo>
                  <a:pt x="921029" y="3321672"/>
                </a:lnTo>
                <a:lnTo>
                  <a:pt x="939889" y="3321672"/>
                </a:lnTo>
                <a:lnTo>
                  <a:pt x="939889" y="3303156"/>
                </a:lnTo>
                <a:lnTo>
                  <a:pt x="921029" y="3303156"/>
                </a:lnTo>
                <a:lnTo>
                  <a:pt x="921029" y="3284296"/>
                </a:lnTo>
                <a:close/>
                <a:moveTo>
                  <a:pt x="1123683" y="3705035"/>
                </a:moveTo>
                <a:lnTo>
                  <a:pt x="1111339" y="3705035"/>
                </a:lnTo>
                <a:lnTo>
                  <a:pt x="1111339" y="3717722"/>
                </a:lnTo>
                <a:lnTo>
                  <a:pt x="1098652" y="3717722"/>
                </a:lnTo>
                <a:lnTo>
                  <a:pt x="1098652" y="3730066"/>
                </a:lnTo>
                <a:lnTo>
                  <a:pt x="1111339" y="3730066"/>
                </a:lnTo>
                <a:lnTo>
                  <a:pt x="1111339" y="3742754"/>
                </a:lnTo>
                <a:lnTo>
                  <a:pt x="1123683" y="3742754"/>
                </a:lnTo>
                <a:lnTo>
                  <a:pt x="1123683" y="3730066"/>
                </a:lnTo>
                <a:lnTo>
                  <a:pt x="1136371" y="3730066"/>
                </a:lnTo>
                <a:lnTo>
                  <a:pt x="1136371" y="3717722"/>
                </a:lnTo>
                <a:lnTo>
                  <a:pt x="1123683" y="3717722"/>
                </a:lnTo>
                <a:lnTo>
                  <a:pt x="1123683" y="3705035"/>
                </a:lnTo>
                <a:close/>
                <a:moveTo>
                  <a:pt x="1126769" y="3421799"/>
                </a:moveTo>
                <a:lnTo>
                  <a:pt x="1108253" y="3421799"/>
                </a:lnTo>
                <a:lnTo>
                  <a:pt x="1108253" y="3440316"/>
                </a:lnTo>
                <a:lnTo>
                  <a:pt x="1089736" y="3440316"/>
                </a:lnTo>
                <a:lnTo>
                  <a:pt x="1089736" y="3458832"/>
                </a:lnTo>
                <a:lnTo>
                  <a:pt x="1108253" y="3458832"/>
                </a:lnTo>
                <a:lnTo>
                  <a:pt x="1108253" y="3477349"/>
                </a:lnTo>
                <a:lnTo>
                  <a:pt x="1126769" y="3477349"/>
                </a:lnTo>
                <a:lnTo>
                  <a:pt x="1126769" y="3458832"/>
                </a:lnTo>
                <a:lnTo>
                  <a:pt x="1145286" y="3458832"/>
                </a:lnTo>
                <a:lnTo>
                  <a:pt x="1145286" y="3440316"/>
                </a:lnTo>
                <a:lnTo>
                  <a:pt x="1126769" y="3440316"/>
                </a:lnTo>
                <a:lnTo>
                  <a:pt x="1126769" y="3421799"/>
                </a:lnTo>
                <a:close/>
                <a:moveTo>
                  <a:pt x="717004" y="2867673"/>
                </a:moveTo>
                <a:lnTo>
                  <a:pt x="695058" y="2867673"/>
                </a:lnTo>
                <a:lnTo>
                  <a:pt x="695058" y="2889961"/>
                </a:lnTo>
                <a:lnTo>
                  <a:pt x="672770" y="2889961"/>
                </a:lnTo>
                <a:lnTo>
                  <a:pt x="672770" y="2911907"/>
                </a:lnTo>
                <a:lnTo>
                  <a:pt x="695058" y="2911907"/>
                </a:lnTo>
                <a:lnTo>
                  <a:pt x="695058" y="2934195"/>
                </a:lnTo>
                <a:lnTo>
                  <a:pt x="717004" y="2934195"/>
                </a:lnTo>
                <a:lnTo>
                  <a:pt x="717004" y="2911907"/>
                </a:lnTo>
                <a:lnTo>
                  <a:pt x="739292" y="2911907"/>
                </a:lnTo>
                <a:lnTo>
                  <a:pt x="739292" y="2889961"/>
                </a:lnTo>
                <a:lnTo>
                  <a:pt x="717004" y="2889961"/>
                </a:lnTo>
                <a:lnTo>
                  <a:pt x="717004" y="2867673"/>
                </a:lnTo>
                <a:close/>
                <a:moveTo>
                  <a:pt x="714946" y="3148508"/>
                </a:moveTo>
                <a:lnTo>
                  <a:pt x="697116" y="3148508"/>
                </a:lnTo>
                <a:lnTo>
                  <a:pt x="697116" y="3166339"/>
                </a:lnTo>
                <a:lnTo>
                  <a:pt x="679285" y="3166339"/>
                </a:lnTo>
                <a:lnTo>
                  <a:pt x="679285" y="3184169"/>
                </a:lnTo>
                <a:lnTo>
                  <a:pt x="697116" y="3184169"/>
                </a:lnTo>
                <a:lnTo>
                  <a:pt x="697116" y="3202000"/>
                </a:lnTo>
                <a:lnTo>
                  <a:pt x="714946" y="3202000"/>
                </a:lnTo>
                <a:lnTo>
                  <a:pt x="714946" y="3184169"/>
                </a:lnTo>
                <a:lnTo>
                  <a:pt x="732777" y="3184169"/>
                </a:lnTo>
                <a:lnTo>
                  <a:pt x="732777" y="3166339"/>
                </a:lnTo>
                <a:lnTo>
                  <a:pt x="714946" y="3166339"/>
                </a:lnTo>
                <a:lnTo>
                  <a:pt x="714946" y="3148508"/>
                </a:lnTo>
                <a:close/>
                <a:moveTo>
                  <a:pt x="782841" y="3287382"/>
                </a:moveTo>
                <a:lnTo>
                  <a:pt x="766381" y="3287382"/>
                </a:lnTo>
                <a:lnTo>
                  <a:pt x="766381" y="3304184"/>
                </a:lnTo>
                <a:lnTo>
                  <a:pt x="749579" y="3304184"/>
                </a:lnTo>
                <a:lnTo>
                  <a:pt x="749579" y="3320644"/>
                </a:lnTo>
                <a:lnTo>
                  <a:pt x="766381" y="3320644"/>
                </a:lnTo>
                <a:lnTo>
                  <a:pt x="766381" y="3337446"/>
                </a:lnTo>
                <a:lnTo>
                  <a:pt x="782841" y="3337446"/>
                </a:lnTo>
                <a:lnTo>
                  <a:pt x="782841" y="3320644"/>
                </a:lnTo>
                <a:lnTo>
                  <a:pt x="799643" y="3320644"/>
                </a:lnTo>
                <a:lnTo>
                  <a:pt x="799643" y="3304184"/>
                </a:lnTo>
                <a:lnTo>
                  <a:pt x="782841" y="3304184"/>
                </a:lnTo>
                <a:lnTo>
                  <a:pt x="782841" y="3287382"/>
                </a:lnTo>
                <a:close/>
                <a:moveTo>
                  <a:pt x="648767" y="2729827"/>
                </a:moveTo>
                <a:lnTo>
                  <a:pt x="626135" y="2729827"/>
                </a:lnTo>
                <a:lnTo>
                  <a:pt x="626135" y="2752458"/>
                </a:lnTo>
                <a:lnTo>
                  <a:pt x="603504" y="2752458"/>
                </a:lnTo>
                <a:lnTo>
                  <a:pt x="603504" y="2775090"/>
                </a:lnTo>
                <a:lnTo>
                  <a:pt x="626135" y="2775090"/>
                </a:lnTo>
                <a:lnTo>
                  <a:pt x="626135" y="2797721"/>
                </a:lnTo>
                <a:lnTo>
                  <a:pt x="648767" y="2797721"/>
                </a:lnTo>
                <a:lnTo>
                  <a:pt x="648767" y="2775090"/>
                </a:lnTo>
                <a:lnTo>
                  <a:pt x="671398" y="2775090"/>
                </a:lnTo>
                <a:lnTo>
                  <a:pt x="671398" y="2752458"/>
                </a:lnTo>
                <a:lnTo>
                  <a:pt x="648767" y="2752458"/>
                </a:lnTo>
                <a:lnTo>
                  <a:pt x="648767" y="2729827"/>
                </a:lnTo>
                <a:close/>
                <a:moveTo>
                  <a:pt x="785241" y="3006204"/>
                </a:moveTo>
                <a:lnTo>
                  <a:pt x="763981" y="3006204"/>
                </a:lnTo>
                <a:lnTo>
                  <a:pt x="763981" y="3027464"/>
                </a:lnTo>
                <a:lnTo>
                  <a:pt x="742721" y="3027464"/>
                </a:lnTo>
                <a:lnTo>
                  <a:pt x="742721" y="3048724"/>
                </a:lnTo>
                <a:lnTo>
                  <a:pt x="763981" y="3048724"/>
                </a:lnTo>
                <a:lnTo>
                  <a:pt x="763981" y="3069984"/>
                </a:lnTo>
                <a:lnTo>
                  <a:pt x="785241" y="3069984"/>
                </a:lnTo>
                <a:lnTo>
                  <a:pt x="785241" y="3048724"/>
                </a:lnTo>
                <a:lnTo>
                  <a:pt x="806501" y="3048724"/>
                </a:lnTo>
                <a:lnTo>
                  <a:pt x="806501" y="3027464"/>
                </a:lnTo>
                <a:lnTo>
                  <a:pt x="785241" y="3027464"/>
                </a:lnTo>
                <a:lnTo>
                  <a:pt x="785241" y="3006204"/>
                </a:lnTo>
                <a:close/>
                <a:moveTo>
                  <a:pt x="850735" y="3427286"/>
                </a:moveTo>
                <a:lnTo>
                  <a:pt x="835647" y="3427286"/>
                </a:lnTo>
                <a:lnTo>
                  <a:pt x="835647" y="3442030"/>
                </a:lnTo>
                <a:lnTo>
                  <a:pt x="820903" y="3442030"/>
                </a:lnTo>
                <a:lnTo>
                  <a:pt x="820903" y="3457118"/>
                </a:lnTo>
                <a:lnTo>
                  <a:pt x="835647" y="3457118"/>
                </a:lnTo>
                <a:lnTo>
                  <a:pt x="835647" y="3471863"/>
                </a:lnTo>
                <a:lnTo>
                  <a:pt x="850735" y="3471863"/>
                </a:lnTo>
                <a:lnTo>
                  <a:pt x="850735" y="3457118"/>
                </a:lnTo>
                <a:lnTo>
                  <a:pt x="865480" y="3457118"/>
                </a:lnTo>
                <a:lnTo>
                  <a:pt x="865480" y="3442030"/>
                </a:lnTo>
                <a:lnTo>
                  <a:pt x="850735" y="3442030"/>
                </a:lnTo>
                <a:lnTo>
                  <a:pt x="850735" y="3427286"/>
                </a:lnTo>
                <a:close/>
                <a:moveTo>
                  <a:pt x="918286" y="3567189"/>
                </a:moveTo>
                <a:lnTo>
                  <a:pt x="905256" y="3567189"/>
                </a:lnTo>
                <a:lnTo>
                  <a:pt x="905256" y="3580219"/>
                </a:lnTo>
                <a:lnTo>
                  <a:pt x="892226" y="3580219"/>
                </a:lnTo>
                <a:lnTo>
                  <a:pt x="892226" y="3593249"/>
                </a:lnTo>
                <a:lnTo>
                  <a:pt x="905256" y="3593249"/>
                </a:lnTo>
                <a:lnTo>
                  <a:pt x="905256" y="3606279"/>
                </a:lnTo>
                <a:lnTo>
                  <a:pt x="918286" y="3606279"/>
                </a:lnTo>
                <a:lnTo>
                  <a:pt x="918286" y="3593249"/>
                </a:lnTo>
                <a:lnTo>
                  <a:pt x="931316" y="3593249"/>
                </a:lnTo>
                <a:lnTo>
                  <a:pt x="931316" y="3580219"/>
                </a:lnTo>
                <a:lnTo>
                  <a:pt x="918286" y="3580219"/>
                </a:lnTo>
                <a:lnTo>
                  <a:pt x="918286" y="3567189"/>
                </a:lnTo>
                <a:close/>
                <a:moveTo>
                  <a:pt x="1882178" y="3556216"/>
                </a:moveTo>
                <a:lnTo>
                  <a:pt x="1861604" y="3556216"/>
                </a:lnTo>
                <a:lnTo>
                  <a:pt x="1861604" y="3576447"/>
                </a:lnTo>
                <a:lnTo>
                  <a:pt x="1841373" y="3576447"/>
                </a:lnTo>
                <a:lnTo>
                  <a:pt x="1841373" y="3597021"/>
                </a:lnTo>
                <a:lnTo>
                  <a:pt x="1861604" y="3597021"/>
                </a:lnTo>
                <a:lnTo>
                  <a:pt x="1861604" y="3617252"/>
                </a:lnTo>
                <a:lnTo>
                  <a:pt x="1882178" y="3617252"/>
                </a:lnTo>
                <a:lnTo>
                  <a:pt x="1882178" y="3597021"/>
                </a:lnTo>
                <a:lnTo>
                  <a:pt x="1902409" y="3597021"/>
                </a:lnTo>
                <a:lnTo>
                  <a:pt x="1902409" y="3576447"/>
                </a:lnTo>
                <a:lnTo>
                  <a:pt x="1882178" y="3576447"/>
                </a:lnTo>
                <a:lnTo>
                  <a:pt x="1882178" y="3556216"/>
                </a:lnTo>
                <a:close/>
                <a:moveTo>
                  <a:pt x="830847" y="2937624"/>
                </a:moveTo>
                <a:lnTo>
                  <a:pt x="855535" y="2937624"/>
                </a:lnTo>
                <a:lnTo>
                  <a:pt x="855535" y="2913278"/>
                </a:lnTo>
                <a:lnTo>
                  <a:pt x="879881" y="2913278"/>
                </a:lnTo>
                <a:lnTo>
                  <a:pt x="879881" y="2888590"/>
                </a:lnTo>
                <a:lnTo>
                  <a:pt x="855535" y="2888590"/>
                </a:lnTo>
                <a:lnTo>
                  <a:pt x="855535" y="2864244"/>
                </a:lnTo>
                <a:lnTo>
                  <a:pt x="830847" y="2864244"/>
                </a:lnTo>
                <a:lnTo>
                  <a:pt x="830847" y="2888590"/>
                </a:lnTo>
                <a:lnTo>
                  <a:pt x="806501" y="2888590"/>
                </a:lnTo>
                <a:lnTo>
                  <a:pt x="806501" y="2913278"/>
                </a:lnTo>
                <a:lnTo>
                  <a:pt x="830847" y="2913278"/>
                </a:lnTo>
                <a:lnTo>
                  <a:pt x="830847" y="2937624"/>
                </a:lnTo>
                <a:close/>
                <a:moveTo>
                  <a:pt x="712546" y="3430029"/>
                </a:moveTo>
                <a:lnTo>
                  <a:pt x="699516" y="3430029"/>
                </a:lnTo>
                <a:lnTo>
                  <a:pt x="699516" y="3443059"/>
                </a:lnTo>
                <a:lnTo>
                  <a:pt x="686486" y="3443059"/>
                </a:lnTo>
                <a:lnTo>
                  <a:pt x="686486" y="3456089"/>
                </a:lnTo>
                <a:lnTo>
                  <a:pt x="699516" y="3456089"/>
                </a:lnTo>
                <a:lnTo>
                  <a:pt x="699516" y="3469119"/>
                </a:lnTo>
                <a:lnTo>
                  <a:pt x="712546" y="3469119"/>
                </a:lnTo>
                <a:lnTo>
                  <a:pt x="712546" y="3456089"/>
                </a:lnTo>
                <a:lnTo>
                  <a:pt x="725576" y="3456089"/>
                </a:lnTo>
                <a:lnTo>
                  <a:pt x="725576" y="3443059"/>
                </a:lnTo>
                <a:lnTo>
                  <a:pt x="712546" y="3443059"/>
                </a:lnTo>
                <a:lnTo>
                  <a:pt x="712546" y="3430029"/>
                </a:lnTo>
                <a:close/>
                <a:moveTo>
                  <a:pt x="1741246" y="3841166"/>
                </a:moveTo>
                <a:lnTo>
                  <a:pt x="1728216" y="3841166"/>
                </a:lnTo>
                <a:lnTo>
                  <a:pt x="1728216" y="3854539"/>
                </a:lnTo>
                <a:lnTo>
                  <a:pt x="1714843" y="3854539"/>
                </a:lnTo>
                <a:lnTo>
                  <a:pt x="1714843" y="3867569"/>
                </a:lnTo>
                <a:lnTo>
                  <a:pt x="1728216" y="3867569"/>
                </a:lnTo>
                <a:lnTo>
                  <a:pt x="1728216" y="3880942"/>
                </a:lnTo>
                <a:lnTo>
                  <a:pt x="1741246" y="3880942"/>
                </a:lnTo>
                <a:lnTo>
                  <a:pt x="1741246" y="3867569"/>
                </a:lnTo>
                <a:lnTo>
                  <a:pt x="1754619" y="3867569"/>
                </a:lnTo>
                <a:lnTo>
                  <a:pt x="1754619" y="3854539"/>
                </a:lnTo>
                <a:lnTo>
                  <a:pt x="1741246" y="3854539"/>
                </a:lnTo>
                <a:lnTo>
                  <a:pt x="1741246" y="3841166"/>
                </a:lnTo>
                <a:close/>
                <a:moveTo>
                  <a:pt x="1674381" y="3699205"/>
                </a:moveTo>
                <a:lnTo>
                  <a:pt x="1657921" y="3699205"/>
                </a:lnTo>
                <a:lnTo>
                  <a:pt x="1657921" y="3715664"/>
                </a:lnTo>
                <a:lnTo>
                  <a:pt x="1641462" y="3715664"/>
                </a:lnTo>
                <a:lnTo>
                  <a:pt x="1641462" y="3732124"/>
                </a:lnTo>
                <a:lnTo>
                  <a:pt x="1657921" y="3732124"/>
                </a:lnTo>
                <a:lnTo>
                  <a:pt x="1657921" y="3748583"/>
                </a:lnTo>
                <a:lnTo>
                  <a:pt x="1674381" y="3748583"/>
                </a:lnTo>
                <a:lnTo>
                  <a:pt x="1674381" y="3732124"/>
                </a:lnTo>
                <a:lnTo>
                  <a:pt x="1690840" y="3732124"/>
                </a:lnTo>
                <a:lnTo>
                  <a:pt x="1690840" y="3715664"/>
                </a:lnTo>
                <a:lnTo>
                  <a:pt x="1674381" y="3715664"/>
                </a:lnTo>
                <a:lnTo>
                  <a:pt x="1674381" y="3699205"/>
                </a:lnTo>
                <a:close/>
                <a:moveTo>
                  <a:pt x="1677467" y="3415627"/>
                </a:moveTo>
                <a:lnTo>
                  <a:pt x="1654835" y="3415627"/>
                </a:lnTo>
                <a:lnTo>
                  <a:pt x="1654835" y="3438258"/>
                </a:lnTo>
                <a:lnTo>
                  <a:pt x="1632204" y="3438258"/>
                </a:lnTo>
                <a:lnTo>
                  <a:pt x="1632204" y="3460890"/>
                </a:lnTo>
                <a:lnTo>
                  <a:pt x="1654835" y="3460890"/>
                </a:lnTo>
                <a:lnTo>
                  <a:pt x="1654835" y="3483521"/>
                </a:lnTo>
                <a:lnTo>
                  <a:pt x="1677467" y="3483521"/>
                </a:lnTo>
                <a:lnTo>
                  <a:pt x="1677467" y="3460890"/>
                </a:lnTo>
                <a:lnTo>
                  <a:pt x="1700098" y="3460890"/>
                </a:lnTo>
                <a:lnTo>
                  <a:pt x="1700098" y="3438258"/>
                </a:lnTo>
                <a:lnTo>
                  <a:pt x="1677467" y="3438258"/>
                </a:lnTo>
                <a:lnTo>
                  <a:pt x="1677467" y="3415627"/>
                </a:lnTo>
                <a:close/>
                <a:moveTo>
                  <a:pt x="1604086" y="3841852"/>
                </a:moveTo>
                <a:lnTo>
                  <a:pt x="1591056" y="3841852"/>
                </a:lnTo>
                <a:lnTo>
                  <a:pt x="1591056" y="3854539"/>
                </a:lnTo>
                <a:lnTo>
                  <a:pt x="1578369" y="3854539"/>
                </a:lnTo>
                <a:lnTo>
                  <a:pt x="1578369" y="3867569"/>
                </a:lnTo>
                <a:lnTo>
                  <a:pt x="1591056" y="3867569"/>
                </a:lnTo>
                <a:lnTo>
                  <a:pt x="1591056" y="3880256"/>
                </a:lnTo>
                <a:lnTo>
                  <a:pt x="1604086" y="3880256"/>
                </a:lnTo>
                <a:lnTo>
                  <a:pt x="1604086" y="3867569"/>
                </a:lnTo>
                <a:lnTo>
                  <a:pt x="1616773" y="3867569"/>
                </a:lnTo>
                <a:lnTo>
                  <a:pt x="1616773" y="3854539"/>
                </a:lnTo>
                <a:lnTo>
                  <a:pt x="1604086" y="3854539"/>
                </a:lnTo>
                <a:lnTo>
                  <a:pt x="1604086" y="3841852"/>
                </a:lnTo>
                <a:close/>
                <a:moveTo>
                  <a:pt x="1607172" y="3557588"/>
                </a:moveTo>
                <a:lnTo>
                  <a:pt x="1587970" y="3557588"/>
                </a:lnTo>
                <a:lnTo>
                  <a:pt x="1587970" y="3577133"/>
                </a:lnTo>
                <a:lnTo>
                  <a:pt x="1568425" y="3577133"/>
                </a:lnTo>
                <a:lnTo>
                  <a:pt x="1568425" y="3596335"/>
                </a:lnTo>
                <a:lnTo>
                  <a:pt x="1587970" y="3596335"/>
                </a:lnTo>
                <a:lnTo>
                  <a:pt x="1587970" y="3615881"/>
                </a:lnTo>
                <a:lnTo>
                  <a:pt x="1607172" y="3615881"/>
                </a:lnTo>
                <a:lnTo>
                  <a:pt x="1607172" y="3596335"/>
                </a:lnTo>
                <a:lnTo>
                  <a:pt x="1626718" y="3596335"/>
                </a:lnTo>
                <a:lnTo>
                  <a:pt x="1626718" y="3577133"/>
                </a:lnTo>
                <a:lnTo>
                  <a:pt x="1607172" y="3577133"/>
                </a:lnTo>
                <a:lnTo>
                  <a:pt x="1607172" y="3557588"/>
                </a:lnTo>
                <a:close/>
                <a:moveTo>
                  <a:pt x="1539964" y="3416313"/>
                </a:moveTo>
                <a:lnTo>
                  <a:pt x="1518018" y="3416313"/>
                </a:lnTo>
                <a:lnTo>
                  <a:pt x="1518018" y="3438601"/>
                </a:lnTo>
                <a:lnTo>
                  <a:pt x="1495730" y="3438601"/>
                </a:lnTo>
                <a:lnTo>
                  <a:pt x="1495730" y="3460547"/>
                </a:lnTo>
                <a:lnTo>
                  <a:pt x="1518018" y="3460547"/>
                </a:lnTo>
                <a:lnTo>
                  <a:pt x="1518018" y="3482835"/>
                </a:lnTo>
                <a:lnTo>
                  <a:pt x="1539964" y="3482835"/>
                </a:lnTo>
                <a:lnTo>
                  <a:pt x="1539964" y="3460547"/>
                </a:lnTo>
                <a:lnTo>
                  <a:pt x="1562252" y="3460547"/>
                </a:lnTo>
                <a:lnTo>
                  <a:pt x="1562252" y="3438601"/>
                </a:lnTo>
                <a:lnTo>
                  <a:pt x="1539964" y="3438601"/>
                </a:lnTo>
                <a:lnTo>
                  <a:pt x="1539964" y="3416313"/>
                </a:lnTo>
                <a:close/>
                <a:moveTo>
                  <a:pt x="1878749" y="3840480"/>
                </a:moveTo>
                <a:lnTo>
                  <a:pt x="1865033" y="3840480"/>
                </a:lnTo>
                <a:lnTo>
                  <a:pt x="1865033" y="3854196"/>
                </a:lnTo>
                <a:lnTo>
                  <a:pt x="1851317" y="3854196"/>
                </a:lnTo>
                <a:lnTo>
                  <a:pt x="1851317" y="3867912"/>
                </a:lnTo>
                <a:lnTo>
                  <a:pt x="1865033" y="3867912"/>
                </a:lnTo>
                <a:lnTo>
                  <a:pt x="1865033" y="3881628"/>
                </a:lnTo>
                <a:lnTo>
                  <a:pt x="1878749" y="3881628"/>
                </a:lnTo>
                <a:lnTo>
                  <a:pt x="1878749" y="3867912"/>
                </a:lnTo>
                <a:lnTo>
                  <a:pt x="1892465" y="3867912"/>
                </a:lnTo>
                <a:lnTo>
                  <a:pt x="1892465" y="3854196"/>
                </a:lnTo>
                <a:lnTo>
                  <a:pt x="1878749" y="3854196"/>
                </a:lnTo>
                <a:lnTo>
                  <a:pt x="1878749" y="3840480"/>
                </a:lnTo>
                <a:close/>
                <a:moveTo>
                  <a:pt x="1744675" y="3556902"/>
                </a:moveTo>
                <a:lnTo>
                  <a:pt x="1724787" y="3556902"/>
                </a:lnTo>
                <a:lnTo>
                  <a:pt x="1724787" y="3576790"/>
                </a:lnTo>
                <a:lnTo>
                  <a:pt x="1704899" y="3576790"/>
                </a:lnTo>
                <a:lnTo>
                  <a:pt x="1704899" y="3596678"/>
                </a:lnTo>
                <a:lnTo>
                  <a:pt x="1724787" y="3596678"/>
                </a:lnTo>
                <a:lnTo>
                  <a:pt x="1724787" y="3616566"/>
                </a:lnTo>
                <a:lnTo>
                  <a:pt x="1744675" y="3616566"/>
                </a:lnTo>
                <a:lnTo>
                  <a:pt x="1744675" y="3596678"/>
                </a:lnTo>
                <a:lnTo>
                  <a:pt x="1764563" y="3596678"/>
                </a:lnTo>
                <a:lnTo>
                  <a:pt x="1764563" y="3576790"/>
                </a:lnTo>
                <a:lnTo>
                  <a:pt x="1744675" y="3576790"/>
                </a:lnTo>
                <a:lnTo>
                  <a:pt x="1744675" y="3556902"/>
                </a:lnTo>
                <a:close/>
                <a:moveTo>
                  <a:pt x="1814970" y="3414598"/>
                </a:moveTo>
                <a:lnTo>
                  <a:pt x="1791652" y="3414598"/>
                </a:lnTo>
                <a:lnTo>
                  <a:pt x="1791652" y="3437915"/>
                </a:lnTo>
                <a:lnTo>
                  <a:pt x="1768335" y="3437915"/>
                </a:lnTo>
                <a:lnTo>
                  <a:pt x="1768335" y="3461233"/>
                </a:lnTo>
                <a:lnTo>
                  <a:pt x="1791652" y="3461233"/>
                </a:lnTo>
                <a:lnTo>
                  <a:pt x="1791652" y="3484550"/>
                </a:lnTo>
                <a:lnTo>
                  <a:pt x="1814970" y="3484550"/>
                </a:lnTo>
                <a:lnTo>
                  <a:pt x="1814970" y="3461233"/>
                </a:lnTo>
                <a:lnTo>
                  <a:pt x="1838287" y="3461233"/>
                </a:lnTo>
                <a:lnTo>
                  <a:pt x="1838287" y="3437915"/>
                </a:lnTo>
                <a:lnTo>
                  <a:pt x="1814970" y="3437915"/>
                </a:lnTo>
                <a:lnTo>
                  <a:pt x="1814970" y="3414598"/>
                </a:lnTo>
                <a:close/>
                <a:moveTo>
                  <a:pt x="1811884" y="3698519"/>
                </a:moveTo>
                <a:lnTo>
                  <a:pt x="1794739" y="3698519"/>
                </a:lnTo>
                <a:lnTo>
                  <a:pt x="1794739" y="3715322"/>
                </a:lnTo>
                <a:lnTo>
                  <a:pt x="1777936" y="3715322"/>
                </a:lnTo>
                <a:lnTo>
                  <a:pt x="1777936" y="3732467"/>
                </a:lnTo>
                <a:lnTo>
                  <a:pt x="1794739" y="3732467"/>
                </a:lnTo>
                <a:lnTo>
                  <a:pt x="1794739" y="3749269"/>
                </a:lnTo>
                <a:lnTo>
                  <a:pt x="1811884" y="3749269"/>
                </a:lnTo>
                <a:lnTo>
                  <a:pt x="1811884" y="3732467"/>
                </a:lnTo>
                <a:lnTo>
                  <a:pt x="1828686" y="3732467"/>
                </a:lnTo>
                <a:lnTo>
                  <a:pt x="1828686" y="3715322"/>
                </a:lnTo>
                <a:lnTo>
                  <a:pt x="1811884" y="3715322"/>
                </a:lnTo>
                <a:lnTo>
                  <a:pt x="1811884" y="3698519"/>
                </a:lnTo>
                <a:close/>
                <a:moveTo>
                  <a:pt x="1402461" y="3417684"/>
                </a:moveTo>
                <a:lnTo>
                  <a:pt x="1381201" y="3417684"/>
                </a:lnTo>
                <a:lnTo>
                  <a:pt x="1381201" y="3438944"/>
                </a:lnTo>
                <a:lnTo>
                  <a:pt x="1359941" y="3438944"/>
                </a:lnTo>
                <a:lnTo>
                  <a:pt x="1359941" y="3460204"/>
                </a:lnTo>
                <a:lnTo>
                  <a:pt x="1381201" y="3460204"/>
                </a:lnTo>
                <a:lnTo>
                  <a:pt x="1381201" y="3481464"/>
                </a:lnTo>
                <a:lnTo>
                  <a:pt x="1402461" y="3481464"/>
                </a:lnTo>
                <a:lnTo>
                  <a:pt x="1402461" y="3460204"/>
                </a:lnTo>
                <a:lnTo>
                  <a:pt x="1423721" y="3460204"/>
                </a:lnTo>
                <a:lnTo>
                  <a:pt x="1423721" y="3438944"/>
                </a:lnTo>
                <a:lnTo>
                  <a:pt x="1402461" y="3438944"/>
                </a:lnTo>
                <a:lnTo>
                  <a:pt x="1402461" y="3417684"/>
                </a:lnTo>
                <a:close/>
                <a:moveTo>
                  <a:pt x="1334910" y="3277438"/>
                </a:moveTo>
                <a:lnTo>
                  <a:pt x="1311592" y="3277438"/>
                </a:lnTo>
                <a:lnTo>
                  <a:pt x="1311592" y="3300755"/>
                </a:lnTo>
                <a:lnTo>
                  <a:pt x="1288275" y="3300755"/>
                </a:lnTo>
                <a:lnTo>
                  <a:pt x="1288275" y="3324073"/>
                </a:lnTo>
                <a:lnTo>
                  <a:pt x="1311592" y="3324073"/>
                </a:lnTo>
                <a:lnTo>
                  <a:pt x="1311592" y="3347390"/>
                </a:lnTo>
                <a:lnTo>
                  <a:pt x="1334910" y="3347390"/>
                </a:lnTo>
                <a:lnTo>
                  <a:pt x="1334910" y="3324073"/>
                </a:lnTo>
                <a:lnTo>
                  <a:pt x="1358227" y="3324073"/>
                </a:lnTo>
                <a:lnTo>
                  <a:pt x="1358227" y="3300755"/>
                </a:lnTo>
                <a:lnTo>
                  <a:pt x="1334910" y="3300755"/>
                </a:lnTo>
                <a:lnTo>
                  <a:pt x="1334910" y="3277438"/>
                </a:lnTo>
                <a:close/>
                <a:moveTo>
                  <a:pt x="1399375" y="3701263"/>
                </a:moveTo>
                <a:lnTo>
                  <a:pt x="1384287" y="3701263"/>
                </a:lnTo>
                <a:lnTo>
                  <a:pt x="1384287" y="3716350"/>
                </a:lnTo>
                <a:lnTo>
                  <a:pt x="1369200" y="3716350"/>
                </a:lnTo>
                <a:lnTo>
                  <a:pt x="1369200" y="3731438"/>
                </a:lnTo>
                <a:lnTo>
                  <a:pt x="1384287" y="3731438"/>
                </a:lnTo>
                <a:lnTo>
                  <a:pt x="1384287" y="3746525"/>
                </a:lnTo>
                <a:lnTo>
                  <a:pt x="1399375" y="3746525"/>
                </a:lnTo>
                <a:lnTo>
                  <a:pt x="1399375" y="3731438"/>
                </a:lnTo>
                <a:lnTo>
                  <a:pt x="1414462" y="3731438"/>
                </a:lnTo>
                <a:lnTo>
                  <a:pt x="1414462" y="3716350"/>
                </a:lnTo>
                <a:lnTo>
                  <a:pt x="1399375" y="3716350"/>
                </a:lnTo>
                <a:lnTo>
                  <a:pt x="1399375" y="3701263"/>
                </a:lnTo>
                <a:close/>
                <a:moveTo>
                  <a:pt x="1332166" y="3560331"/>
                </a:moveTo>
                <a:lnTo>
                  <a:pt x="1314336" y="3560331"/>
                </a:lnTo>
                <a:lnTo>
                  <a:pt x="1314336" y="3577819"/>
                </a:lnTo>
                <a:lnTo>
                  <a:pt x="1296848" y="3577819"/>
                </a:lnTo>
                <a:lnTo>
                  <a:pt x="1296848" y="3595649"/>
                </a:lnTo>
                <a:lnTo>
                  <a:pt x="1314336" y="3595649"/>
                </a:lnTo>
                <a:lnTo>
                  <a:pt x="1314336" y="3613137"/>
                </a:lnTo>
                <a:lnTo>
                  <a:pt x="1332166" y="3613137"/>
                </a:lnTo>
                <a:lnTo>
                  <a:pt x="1332166" y="3595649"/>
                </a:lnTo>
                <a:lnTo>
                  <a:pt x="1349654" y="3595649"/>
                </a:lnTo>
                <a:lnTo>
                  <a:pt x="1349654" y="3577819"/>
                </a:lnTo>
                <a:lnTo>
                  <a:pt x="1332166" y="3577819"/>
                </a:lnTo>
                <a:lnTo>
                  <a:pt x="1332166" y="3560331"/>
                </a:lnTo>
                <a:close/>
                <a:moveTo>
                  <a:pt x="1264615" y="3419399"/>
                </a:moveTo>
                <a:lnTo>
                  <a:pt x="1244727" y="3419399"/>
                </a:lnTo>
                <a:lnTo>
                  <a:pt x="1244727" y="3439630"/>
                </a:lnTo>
                <a:lnTo>
                  <a:pt x="1224496" y="3439630"/>
                </a:lnTo>
                <a:lnTo>
                  <a:pt x="1224496" y="3459518"/>
                </a:lnTo>
                <a:lnTo>
                  <a:pt x="1244727" y="3459518"/>
                </a:lnTo>
                <a:lnTo>
                  <a:pt x="1244727" y="3479749"/>
                </a:lnTo>
                <a:lnTo>
                  <a:pt x="1264615" y="3479749"/>
                </a:lnTo>
                <a:lnTo>
                  <a:pt x="1264615" y="3459518"/>
                </a:lnTo>
                <a:lnTo>
                  <a:pt x="1284846" y="3459518"/>
                </a:lnTo>
                <a:lnTo>
                  <a:pt x="1284846" y="3439630"/>
                </a:lnTo>
                <a:lnTo>
                  <a:pt x="1264615" y="3439630"/>
                </a:lnTo>
                <a:lnTo>
                  <a:pt x="1264615" y="3419399"/>
                </a:lnTo>
                <a:close/>
                <a:moveTo>
                  <a:pt x="1536878" y="3699891"/>
                </a:moveTo>
                <a:lnTo>
                  <a:pt x="1521104" y="3699891"/>
                </a:lnTo>
                <a:lnTo>
                  <a:pt x="1521104" y="3716007"/>
                </a:lnTo>
                <a:lnTo>
                  <a:pt x="1504988" y="3716007"/>
                </a:lnTo>
                <a:lnTo>
                  <a:pt x="1504988" y="3731781"/>
                </a:lnTo>
                <a:lnTo>
                  <a:pt x="1521104" y="3731781"/>
                </a:lnTo>
                <a:lnTo>
                  <a:pt x="1521104" y="3747897"/>
                </a:lnTo>
                <a:lnTo>
                  <a:pt x="1536878" y="3747897"/>
                </a:lnTo>
                <a:lnTo>
                  <a:pt x="1536878" y="3731781"/>
                </a:lnTo>
                <a:lnTo>
                  <a:pt x="1552994" y="3731781"/>
                </a:lnTo>
                <a:lnTo>
                  <a:pt x="1552994" y="3716007"/>
                </a:lnTo>
                <a:lnTo>
                  <a:pt x="1536878" y="3716007"/>
                </a:lnTo>
                <a:lnTo>
                  <a:pt x="1536878" y="3699891"/>
                </a:lnTo>
                <a:close/>
                <a:moveTo>
                  <a:pt x="1466583" y="3842880"/>
                </a:moveTo>
                <a:lnTo>
                  <a:pt x="1454239" y="3842880"/>
                </a:lnTo>
                <a:lnTo>
                  <a:pt x="1454239" y="3854882"/>
                </a:lnTo>
                <a:lnTo>
                  <a:pt x="1442237" y="3854882"/>
                </a:lnTo>
                <a:lnTo>
                  <a:pt x="1442237" y="3867226"/>
                </a:lnTo>
                <a:lnTo>
                  <a:pt x="1454239" y="3867226"/>
                </a:lnTo>
                <a:lnTo>
                  <a:pt x="1454239" y="3879228"/>
                </a:lnTo>
                <a:lnTo>
                  <a:pt x="1466583" y="3879228"/>
                </a:lnTo>
                <a:lnTo>
                  <a:pt x="1466583" y="3867226"/>
                </a:lnTo>
                <a:lnTo>
                  <a:pt x="1478585" y="3867226"/>
                </a:lnTo>
                <a:lnTo>
                  <a:pt x="1478585" y="3854882"/>
                </a:lnTo>
                <a:lnTo>
                  <a:pt x="1466583" y="3854882"/>
                </a:lnTo>
                <a:lnTo>
                  <a:pt x="1466583" y="3842880"/>
                </a:lnTo>
                <a:close/>
                <a:moveTo>
                  <a:pt x="1261529" y="3703320"/>
                </a:moveTo>
                <a:lnTo>
                  <a:pt x="1247813" y="3703320"/>
                </a:lnTo>
                <a:lnTo>
                  <a:pt x="1247813" y="3717036"/>
                </a:lnTo>
                <a:lnTo>
                  <a:pt x="1234097" y="3717036"/>
                </a:lnTo>
                <a:lnTo>
                  <a:pt x="1234097" y="3730752"/>
                </a:lnTo>
                <a:lnTo>
                  <a:pt x="1247813" y="3730752"/>
                </a:lnTo>
                <a:lnTo>
                  <a:pt x="1247813" y="3744468"/>
                </a:lnTo>
                <a:lnTo>
                  <a:pt x="1261529" y="3744468"/>
                </a:lnTo>
                <a:lnTo>
                  <a:pt x="1261529" y="3730752"/>
                </a:lnTo>
                <a:lnTo>
                  <a:pt x="1275245" y="3730752"/>
                </a:lnTo>
                <a:lnTo>
                  <a:pt x="1275245" y="3717036"/>
                </a:lnTo>
                <a:lnTo>
                  <a:pt x="1261529" y="3717036"/>
                </a:lnTo>
                <a:lnTo>
                  <a:pt x="1261529" y="3703320"/>
                </a:lnTo>
                <a:close/>
                <a:moveTo>
                  <a:pt x="1469669" y="3558616"/>
                </a:moveTo>
                <a:lnTo>
                  <a:pt x="1451153" y="3558616"/>
                </a:lnTo>
                <a:lnTo>
                  <a:pt x="1451153" y="3577476"/>
                </a:lnTo>
                <a:lnTo>
                  <a:pt x="1432293" y="3577476"/>
                </a:lnTo>
                <a:lnTo>
                  <a:pt x="1432293" y="3595992"/>
                </a:lnTo>
                <a:lnTo>
                  <a:pt x="1451153" y="3595992"/>
                </a:lnTo>
                <a:lnTo>
                  <a:pt x="1451153" y="3614852"/>
                </a:lnTo>
                <a:lnTo>
                  <a:pt x="1469669" y="3614852"/>
                </a:lnTo>
                <a:lnTo>
                  <a:pt x="1469669" y="3595992"/>
                </a:lnTo>
                <a:lnTo>
                  <a:pt x="1488529" y="3595992"/>
                </a:lnTo>
                <a:lnTo>
                  <a:pt x="1488529" y="3577476"/>
                </a:lnTo>
                <a:lnTo>
                  <a:pt x="1469669" y="3577476"/>
                </a:lnTo>
                <a:lnTo>
                  <a:pt x="1469669" y="3558616"/>
                </a:lnTo>
                <a:close/>
                <a:moveTo>
                  <a:pt x="1448067" y="3349104"/>
                </a:moveTo>
                <a:lnTo>
                  <a:pt x="1472755" y="3349104"/>
                </a:lnTo>
                <a:lnTo>
                  <a:pt x="1472755" y="3324758"/>
                </a:lnTo>
                <a:lnTo>
                  <a:pt x="1497101" y="3324758"/>
                </a:lnTo>
                <a:lnTo>
                  <a:pt x="1497101" y="3300070"/>
                </a:lnTo>
                <a:lnTo>
                  <a:pt x="1472755" y="3300070"/>
                </a:lnTo>
                <a:lnTo>
                  <a:pt x="1472755" y="3275724"/>
                </a:lnTo>
                <a:lnTo>
                  <a:pt x="1448067" y="3275724"/>
                </a:lnTo>
                <a:lnTo>
                  <a:pt x="1448067" y="3300070"/>
                </a:lnTo>
                <a:lnTo>
                  <a:pt x="1423721" y="3300070"/>
                </a:lnTo>
                <a:lnTo>
                  <a:pt x="1423721" y="3324758"/>
                </a:lnTo>
                <a:lnTo>
                  <a:pt x="1448067" y="3324758"/>
                </a:lnTo>
                <a:lnTo>
                  <a:pt x="1448067" y="3349104"/>
                </a:lnTo>
                <a:close/>
                <a:moveTo>
                  <a:pt x="853135" y="3145079"/>
                </a:moveTo>
                <a:lnTo>
                  <a:pt x="833247" y="3145079"/>
                </a:lnTo>
                <a:lnTo>
                  <a:pt x="833247" y="3165310"/>
                </a:lnTo>
                <a:lnTo>
                  <a:pt x="813016" y="3165310"/>
                </a:lnTo>
                <a:lnTo>
                  <a:pt x="813016" y="3185198"/>
                </a:lnTo>
                <a:lnTo>
                  <a:pt x="833247" y="3185198"/>
                </a:lnTo>
                <a:lnTo>
                  <a:pt x="833247" y="3205429"/>
                </a:lnTo>
                <a:lnTo>
                  <a:pt x="853135" y="3205429"/>
                </a:lnTo>
                <a:lnTo>
                  <a:pt x="853135" y="3185198"/>
                </a:lnTo>
                <a:lnTo>
                  <a:pt x="873366" y="3185198"/>
                </a:lnTo>
                <a:lnTo>
                  <a:pt x="873366" y="3165310"/>
                </a:lnTo>
                <a:lnTo>
                  <a:pt x="853135" y="3165310"/>
                </a:lnTo>
                <a:lnTo>
                  <a:pt x="853135" y="3145079"/>
                </a:lnTo>
                <a:close/>
                <a:moveTo>
                  <a:pt x="233172" y="2742514"/>
                </a:moveTo>
                <a:lnTo>
                  <a:pt x="218770" y="2742514"/>
                </a:lnTo>
                <a:lnTo>
                  <a:pt x="218770" y="2756573"/>
                </a:lnTo>
                <a:lnTo>
                  <a:pt x="204711" y="2756573"/>
                </a:lnTo>
                <a:lnTo>
                  <a:pt x="204711" y="2770975"/>
                </a:lnTo>
                <a:lnTo>
                  <a:pt x="218770" y="2770975"/>
                </a:lnTo>
                <a:lnTo>
                  <a:pt x="218770" y="2785034"/>
                </a:lnTo>
                <a:lnTo>
                  <a:pt x="233172" y="2785034"/>
                </a:lnTo>
                <a:lnTo>
                  <a:pt x="233172" y="2770975"/>
                </a:lnTo>
                <a:lnTo>
                  <a:pt x="247231" y="2770975"/>
                </a:lnTo>
                <a:lnTo>
                  <a:pt x="247231" y="2756573"/>
                </a:lnTo>
                <a:lnTo>
                  <a:pt x="233172" y="2756573"/>
                </a:lnTo>
                <a:lnTo>
                  <a:pt x="233172" y="2742514"/>
                </a:lnTo>
                <a:close/>
                <a:moveTo>
                  <a:pt x="234201" y="2464422"/>
                </a:moveTo>
                <a:lnTo>
                  <a:pt x="217742" y="2464422"/>
                </a:lnTo>
                <a:lnTo>
                  <a:pt x="217742" y="2481224"/>
                </a:lnTo>
                <a:lnTo>
                  <a:pt x="200939" y="2481224"/>
                </a:lnTo>
                <a:lnTo>
                  <a:pt x="200939" y="2497684"/>
                </a:lnTo>
                <a:lnTo>
                  <a:pt x="217742" y="2497684"/>
                </a:lnTo>
                <a:lnTo>
                  <a:pt x="217742" y="2514486"/>
                </a:lnTo>
                <a:lnTo>
                  <a:pt x="234201" y="2514486"/>
                </a:lnTo>
                <a:lnTo>
                  <a:pt x="234201" y="2497684"/>
                </a:lnTo>
                <a:lnTo>
                  <a:pt x="251003" y="2497684"/>
                </a:lnTo>
                <a:lnTo>
                  <a:pt x="251003" y="2481224"/>
                </a:lnTo>
                <a:lnTo>
                  <a:pt x="234201" y="2481224"/>
                </a:lnTo>
                <a:lnTo>
                  <a:pt x="234201" y="2464422"/>
                </a:lnTo>
                <a:close/>
                <a:moveTo>
                  <a:pt x="165278" y="2328634"/>
                </a:moveTo>
                <a:lnTo>
                  <a:pt x="149504" y="2328634"/>
                </a:lnTo>
                <a:lnTo>
                  <a:pt x="149504" y="2344407"/>
                </a:lnTo>
                <a:lnTo>
                  <a:pt x="133731" y="2344407"/>
                </a:lnTo>
                <a:lnTo>
                  <a:pt x="133731" y="2360181"/>
                </a:lnTo>
                <a:lnTo>
                  <a:pt x="149504" y="2360181"/>
                </a:lnTo>
                <a:lnTo>
                  <a:pt x="149504" y="2375954"/>
                </a:lnTo>
                <a:lnTo>
                  <a:pt x="165278" y="2375954"/>
                </a:lnTo>
                <a:lnTo>
                  <a:pt x="165278" y="2360181"/>
                </a:lnTo>
                <a:lnTo>
                  <a:pt x="181051" y="2360181"/>
                </a:lnTo>
                <a:lnTo>
                  <a:pt x="181051" y="2344407"/>
                </a:lnTo>
                <a:lnTo>
                  <a:pt x="165278" y="2344407"/>
                </a:lnTo>
                <a:lnTo>
                  <a:pt x="165278" y="2328634"/>
                </a:lnTo>
                <a:close/>
                <a:moveTo>
                  <a:pt x="165964" y="2052599"/>
                </a:moveTo>
                <a:lnTo>
                  <a:pt x="148819" y="2052599"/>
                </a:lnTo>
                <a:lnTo>
                  <a:pt x="148819" y="2069402"/>
                </a:lnTo>
                <a:lnTo>
                  <a:pt x="132017" y="2069402"/>
                </a:lnTo>
                <a:lnTo>
                  <a:pt x="132017" y="2086547"/>
                </a:lnTo>
                <a:lnTo>
                  <a:pt x="148819" y="2086547"/>
                </a:lnTo>
                <a:lnTo>
                  <a:pt x="148819" y="2103349"/>
                </a:lnTo>
                <a:lnTo>
                  <a:pt x="165964" y="2103349"/>
                </a:lnTo>
                <a:lnTo>
                  <a:pt x="165964" y="2086547"/>
                </a:lnTo>
                <a:lnTo>
                  <a:pt x="182766" y="2086547"/>
                </a:lnTo>
                <a:lnTo>
                  <a:pt x="182766" y="2069402"/>
                </a:lnTo>
                <a:lnTo>
                  <a:pt x="165964" y="2069402"/>
                </a:lnTo>
                <a:lnTo>
                  <a:pt x="165964" y="2052599"/>
                </a:lnTo>
                <a:close/>
                <a:moveTo>
                  <a:pt x="165964" y="1778279"/>
                </a:moveTo>
                <a:lnTo>
                  <a:pt x="148819" y="1778279"/>
                </a:lnTo>
                <a:lnTo>
                  <a:pt x="148819" y="1795082"/>
                </a:lnTo>
                <a:lnTo>
                  <a:pt x="132017" y="1795082"/>
                </a:lnTo>
                <a:lnTo>
                  <a:pt x="132017" y="1812227"/>
                </a:lnTo>
                <a:lnTo>
                  <a:pt x="148819" y="1812227"/>
                </a:lnTo>
                <a:lnTo>
                  <a:pt x="148819" y="1829029"/>
                </a:lnTo>
                <a:lnTo>
                  <a:pt x="165964" y="1829029"/>
                </a:lnTo>
                <a:lnTo>
                  <a:pt x="165964" y="1812227"/>
                </a:lnTo>
                <a:lnTo>
                  <a:pt x="182766" y="1812227"/>
                </a:lnTo>
                <a:lnTo>
                  <a:pt x="182766" y="1795082"/>
                </a:lnTo>
                <a:lnTo>
                  <a:pt x="165964" y="1795082"/>
                </a:lnTo>
                <a:lnTo>
                  <a:pt x="165964" y="1778279"/>
                </a:lnTo>
                <a:close/>
                <a:moveTo>
                  <a:pt x="304495" y="2047799"/>
                </a:moveTo>
                <a:lnTo>
                  <a:pt x="284607" y="2047799"/>
                </a:lnTo>
                <a:lnTo>
                  <a:pt x="284607" y="2068030"/>
                </a:lnTo>
                <a:lnTo>
                  <a:pt x="264376" y="2068030"/>
                </a:lnTo>
                <a:lnTo>
                  <a:pt x="264376" y="2087918"/>
                </a:lnTo>
                <a:lnTo>
                  <a:pt x="284607" y="2087918"/>
                </a:lnTo>
                <a:lnTo>
                  <a:pt x="284607" y="2108149"/>
                </a:lnTo>
                <a:lnTo>
                  <a:pt x="304495" y="2108149"/>
                </a:lnTo>
                <a:lnTo>
                  <a:pt x="304495" y="2087918"/>
                </a:lnTo>
                <a:lnTo>
                  <a:pt x="324726" y="2087918"/>
                </a:lnTo>
                <a:lnTo>
                  <a:pt x="324726" y="2068030"/>
                </a:lnTo>
                <a:lnTo>
                  <a:pt x="304495" y="2068030"/>
                </a:lnTo>
                <a:lnTo>
                  <a:pt x="304495" y="2047799"/>
                </a:lnTo>
                <a:close/>
                <a:moveTo>
                  <a:pt x="304152" y="2323833"/>
                </a:moveTo>
                <a:lnTo>
                  <a:pt x="284950" y="2323833"/>
                </a:lnTo>
                <a:lnTo>
                  <a:pt x="284950" y="2342693"/>
                </a:lnTo>
                <a:lnTo>
                  <a:pt x="266090" y="2342693"/>
                </a:lnTo>
                <a:lnTo>
                  <a:pt x="266090" y="2361895"/>
                </a:lnTo>
                <a:lnTo>
                  <a:pt x="284950" y="2361895"/>
                </a:lnTo>
                <a:lnTo>
                  <a:pt x="284950" y="2380755"/>
                </a:lnTo>
                <a:lnTo>
                  <a:pt x="304152" y="2380755"/>
                </a:lnTo>
                <a:lnTo>
                  <a:pt x="304152" y="2361895"/>
                </a:lnTo>
                <a:lnTo>
                  <a:pt x="323012" y="2361895"/>
                </a:lnTo>
                <a:lnTo>
                  <a:pt x="323012" y="2342693"/>
                </a:lnTo>
                <a:lnTo>
                  <a:pt x="304152" y="2342693"/>
                </a:lnTo>
                <a:lnTo>
                  <a:pt x="304152" y="2323833"/>
                </a:lnTo>
                <a:close/>
                <a:moveTo>
                  <a:pt x="303124" y="2600897"/>
                </a:moveTo>
                <a:lnTo>
                  <a:pt x="285979" y="2600897"/>
                </a:lnTo>
                <a:lnTo>
                  <a:pt x="285979" y="2618042"/>
                </a:lnTo>
                <a:lnTo>
                  <a:pt x="268834" y="2618042"/>
                </a:lnTo>
                <a:lnTo>
                  <a:pt x="268834" y="2635187"/>
                </a:lnTo>
                <a:lnTo>
                  <a:pt x="285979" y="2635187"/>
                </a:lnTo>
                <a:lnTo>
                  <a:pt x="285979" y="2652332"/>
                </a:lnTo>
                <a:lnTo>
                  <a:pt x="303124" y="2652332"/>
                </a:lnTo>
                <a:lnTo>
                  <a:pt x="303124" y="2635187"/>
                </a:lnTo>
                <a:lnTo>
                  <a:pt x="320269" y="2635187"/>
                </a:lnTo>
                <a:lnTo>
                  <a:pt x="320269" y="2618042"/>
                </a:lnTo>
                <a:lnTo>
                  <a:pt x="303124" y="2618042"/>
                </a:lnTo>
                <a:lnTo>
                  <a:pt x="303124" y="2600897"/>
                </a:lnTo>
                <a:close/>
                <a:moveTo>
                  <a:pt x="235229" y="1912696"/>
                </a:moveTo>
                <a:lnTo>
                  <a:pt x="216713" y="1912696"/>
                </a:lnTo>
                <a:lnTo>
                  <a:pt x="216713" y="1931556"/>
                </a:lnTo>
                <a:lnTo>
                  <a:pt x="197853" y="1931556"/>
                </a:lnTo>
                <a:lnTo>
                  <a:pt x="197853" y="1950072"/>
                </a:lnTo>
                <a:lnTo>
                  <a:pt x="216713" y="1950072"/>
                </a:lnTo>
                <a:lnTo>
                  <a:pt x="216713" y="1968932"/>
                </a:lnTo>
                <a:lnTo>
                  <a:pt x="235229" y="1968932"/>
                </a:lnTo>
                <a:lnTo>
                  <a:pt x="235229" y="1950072"/>
                </a:lnTo>
                <a:lnTo>
                  <a:pt x="254089" y="1950072"/>
                </a:lnTo>
                <a:lnTo>
                  <a:pt x="254089" y="1931556"/>
                </a:lnTo>
                <a:lnTo>
                  <a:pt x="235229" y="1931556"/>
                </a:lnTo>
                <a:lnTo>
                  <a:pt x="235229" y="1912696"/>
                </a:lnTo>
                <a:close/>
                <a:moveTo>
                  <a:pt x="301409" y="2880017"/>
                </a:moveTo>
                <a:lnTo>
                  <a:pt x="287693" y="2880017"/>
                </a:lnTo>
                <a:lnTo>
                  <a:pt x="287693" y="2894076"/>
                </a:lnTo>
                <a:lnTo>
                  <a:pt x="273634" y="2894076"/>
                </a:lnTo>
                <a:lnTo>
                  <a:pt x="273634" y="2907792"/>
                </a:lnTo>
                <a:lnTo>
                  <a:pt x="287693" y="2907792"/>
                </a:lnTo>
                <a:lnTo>
                  <a:pt x="287693" y="2921851"/>
                </a:lnTo>
                <a:lnTo>
                  <a:pt x="301409" y="2921851"/>
                </a:lnTo>
                <a:lnTo>
                  <a:pt x="301409" y="2907792"/>
                </a:lnTo>
                <a:lnTo>
                  <a:pt x="315468" y="2907792"/>
                </a:lnTo>
                <a:lnTo>
                  <a:pt x="315468" y="2894076"/>
                </a:lnTo>
                <a:lnTo>
                  <a:pt x="301409" y="2894076"/>
                </a:lnTo>
                <a:lnTo>
                  <a:pt x="301409" y="2880017"/>
                </a:lnTo>
                <a:close/>
                <a:moveTo>
                  <a:pt x="235229" y="2187702"/>
                </a:moveTo>
                <a:lnTo>
                  <a:pt x="216713" y="2187702"/>
                </a:lnTo>
                <a:lnTo>
                  <a:pt x="216713" y="2205876"/>
                </a:lnTo>
                <a:lnTo>
                  <a:pt x="198539" y="2205876"/>
                </a:lnTo>
                <a:lnTo>
                  <a:pt x="198539" y="2224392"/>
                </a:lnTo>
                <a:lnTo>
                  <a:pt x="216713" y="2224392"/>
                </a:lnTo>
                <a:lnTo>
                  <a:pt x="216713" y="2242566"/>
                </a:lnTo>
                <a:lnTo>
                  <a:pt x="235229" y="2242566"/>
                </a:lnTo>
                <a:lnTo>
                  <a:pt x="235229" y="2224392"/>
                </a:lnTo>
                <a:lnTo>
                  <a:pt x="253403" y="2224392"/>
                </a:lnTo>
                <a:lnTo>
                  <a:pt x="253403" y="2205876"/>
                </a:lnTo>
                <a:lnTo>
                  <a:pt x="235229" y="2205876"/>
                </a:lnTo>
                <a:lnTo>
                  <a:pt x="235229" y="2187702"/>
                </a:lnTo>
                <a:close/>
                <a:moveTo>
                  <a:pt x="27089" y="2057743"/>
                </a:moveTo>
                <a:lnTo>
                  <a:pt x="13373" y="2057743"/>
                </a:lnTo>
                <a:lnTo>
                  <a:pt x="13373" y="2071116"/>
                </a:lnTo>
                <a:lnTo>
                  <a:pt x="0" y="2071116"/>
                </a:lnTo>
                <a:lnTo>
                  <a:pt x="0" y="2084832"/>
                </a:lnTo>
                <a:lnTo>
                  <a:pt x="13373" y="2084832"/>
                </a:lnTo>
                <a:lnTo>
                  <a:pt x="13373" y="2098205"/>
                </a:lnTo>
                <a:lnTo>
                  <a:pt x="27089" y="2098205"/>
                </a:lnTo>
                <a:lnTo>
                  <a:pt x="27089" y="2084832"/>
                </a:lnTo>
                <a:lnTo>
                  <a:pt x="40462" y="2084832"/>
                </a:lnTo>
                <a:lnTo>
                  <a:pt x="40462" y="2071116"/>
                </a:lnTo>
                <a:lnTo>
                  <a:pt x="27089" y="2071116"/>
                </a:lnTo>
                <a:lnTo>
                  <a:pt x="27089" y="2057743"/>
                </a:lnTo>
                <a:close/>
                <a:moveTo>
                  <a:pt x="164249" y="2605697"/>
                </a:moveTo>
                <a:lnTo>
                  <a:pt x="150533" y="2605697"/>
                </a:lnTo>
                <a:lnTo>
                  <a:pt x="150533" y="2619756"/>
                </a:lnTo>
                <a:lnTo>
                  <a:pt x="136474" y="2619756"/>
                </a:lnTo>
                <a:lnTo>
                  <a:pt x="136474" y="2633472"/>
                </a:lnTo>
                <a:lnTo>
                  <a:pt x="150533" y="2633472"/>
                </a:lnTo>
                <a:lnTo>
                  <a:pt x="150533" y="2647531"/>
                </a:lnTo>
                <a:lnTo>
                  <a:pt x="164249" y="2647531"/>
                </a:lnTo>
                <a:lnTo>
                  <a:pt x="164249" y="2633472"/>
                </a:lnTo>
                <a:lnTo>
                  <a:pt x="178308" y="2633472"/>
                </a:lnTo>
                <a:lnTo>
                  <a:pt x="178308" y="2619756"/>
                </a:lnTo>
                <a:lnTo>
                  <a:pt x="164249" y="2619756"/>
                </a:lnTo>
                <a:lnTo>
                  <a:pt x="164249" y="2605697"/>
                </a:lnTo>
                <a:close/>
                <a:moveTo>
                  <a:pt x="26403" y="2333435"/>
                </a:moveTo>
                <a:lnTo>
                  <a:pt x="14059" y="2333435"/>
                </a:lnTo>
                <a:lnTo>
                  <a:pt x="14059" y="2346122"/>
                </a:lnTo>
                <a:lnTo>
                  <a:pt x="1372" y="2346122"/>
                </a:lnTo>
                <a:lnTo>
                  <a:pt x="1372" y="2358466"/>
                </a:lnTo>
                <a:lnTo>
                  <a:pt x="14059" y="2358466"/>
                </a:lnTo>
                <a:lnTo>
                  <a:pt x="14059" y="2371154"/>
                </a:lnTo>
                <a:lnTo>
                  <a:pt x="26403" y="2371154"/>
                </a:lnTo>
                <a:lnTo>
                  <a:pt x="26403" y="2358466"/>
                </a:lnTo>
                <a:lnTo>
                  <a:pt x="39091" y="2358466"/>
                </a:lnTo>
                <a:lnTo>
                  <a:pt x="39091" y="2346122"/>
                </a:lnTo>
                <a:lnTo>
                  <a:pt x="26403" y="2346122"/>
                </a:lnTo>
                <a:lnTo>
                  <a:pt x="26403" y="2333435"/>
                </a:lnTo>
                <a:close/>
                <a:moveTo>
                  <a:pt x="81267" y="1688783"/>
                </a:moveTo>
                <a:lnTo>
                  <a:pt x="96355" y="1688783"/>
                </a:lnTo>
                <a:lnTo>
                  <a:pt x="96355" y="1674038"/>
                </a:lnTo>
                <a:lnTo>
                  <a:pt x="111100" y="1674038"/>
                </a:lnTo>
                <a:lnTo>
                  <a:pt x="111100" y="1658950"/>
                </a:lnTo>
                <a:lnTo>
                  <a:pt x="96355" y="1658950"/>
                </a:lnTo>
                <a:lnTo>
                  <a:pt x="96355" y="1644206"/>
                </a:lnTo>
                <a:lnTo>
                  <a:pt x="81267" y="1644206"/>
                </a:lnTo>
                <a:lnTo>
                  <a:pt x="81267" y="1658950"/>
                </a:lnTo>
                <a:lnTo>
                  <a:pt x="66523" y="1658950"/>
                </a:lnTo>
                <a:lnTo>
                  <a:pt x="66523" y="1674038"/>
                </a:lnTo>
                <a:lnTo>
                  <a:pt x="81267" y="1674038"/>
                </a:lnTo>
                <a:lnTo>
                  <a:pt x="81267" y="1688783"/>
                </a:lnTo>
                <a:close/>
                <a:moveTo>
                  <a:pt x="81953" y="1412405"/>
                </a:moveTo>
                <a:lnTo>
                  <a:pt x="95669" y="1412405"/>
                </a:lnTo>
                <a:lnTo>
                  <a:pt x="95669" y="1399032"/>
                </a:lnTo>
                <a:lnTo>
                  <a:pt x="109042" y="1399032"/>
                </a:lnTo>
                <a:lnTo>
                  <a:pt x="109042" y="1385316"/>
                </a:lnTo>
                <a:lnTo>
                  <a:pt x="95669" y="1385316"/>
                </a:lnTo>
                <a:lnTo>
                  <a:pt x="95669" y="1371943"/>
                </a:lnTo>
                <a:lnTo>
                  <a:pt x="81953" y="1371943"/>
                </a:lnTo>
                <a:lnTo>
                  <a:pt x="81953" y="1385316"/>
                </a:lnTo>
                <a:lnTo>
                  <a:pt x="68580" y="1385316"/>
                </a:lnTo>
                <a:lnTo>
                  <a:pt x="68580" y="1399032"/>
                </a:lnTo>
                <a:lnTo>
                  <a:pt x="81953" y="1399032"/>
                </a:lnTo>
                <a:lnTo>
                  <a:pt x="81953" y="1412405"/>
                </a:lnTo>
                <a:close/>
                <a:moveTo>
                  <a:pt x="27089" y="1783423"/>
                </a:moveTo>
                <a:lnTo>
                  <a:pt x="13373" y="1783423"/>
                </a:lnTo>
                <a:lnTo>
                  <a:pt x="13373" y="1796796"/>
                </a:lnTo>
                <a:lnTo>
                  <a:pt x="0" y="1796796"/>
                </a:lnTo>
                <a:lnTo>
                  <a:pt x="0" y="1810512"/>
                </a:lnTo>
                <a:lnTo>
                  <a:pt x="13373" y="1810512"/>
                </a:lnTo>
                <a:lnTo>
                  <a:pt x="13373" y="1823885"/>
                </a:lnTo>
                <a:lnTo>
                  <a:pt x="27089" y="1823885"/>
                </a:lnTo>
                <a:lnTo>
                  <a:pt x="27089" y="1810512"/>
                </a:lnTo>
                <a:lnTo>
                  <a:pt x="40462" y="1810512"/>
                </a:lnTo>
                <a:lnTo>
                  <a:pt x="40462" y="1796796"/>
                </a:lnTo>
                <a:lnTo>
                  <a:pt x="27089" y="1796796"/>
                </a:lnTo>
                <a:lnTo>
                  <a:pt x="27089" y="1783423"/>
                </a:lnTo>
                <a:close/>
                <a:moveTo>
                  <a:pt x="96355" y="1917840"/>
                </a:moveTo>
                <a:lnTo>
                  <a:pt x="81267" y="1917840"/>
                </a:lnTo>
                <a:lnTo>
                  <a:pt x="81267" y="1933270"/>
                </a:lnTo>
                <a:lnTo>
                  <a:pt x="65837" y="1933270"/>
                </a:lnTo>
                <a:lnTo>
                  <a:pt x="65837" y="1948358"/>
                </a:lnTo>
                <a:lnTo>
                  <a:pt x="81267" y="1948358"/>
                </a:lnTo>
                <a:lnTo>
                  <a:pt x="81267" y="1963788"/>
                </a:lnTo>
                <a:lnTo>
                  <a:pt x="96355" y="1963788"/>
                </a:lnTo>
                <a:lnTo>
                  <a:pt x="96355" y="1948358"/>
                </a:lnTo>
                <a:lnTo>
                  <a:pt x="111785" y="1948358"/>
                </a:lnTo>
                <a:lnTo>
                  <a:pt x="111785" y="1933270"/>
                </a:lnTo>
                <a:lnTo>
                  <a:pt x="96355" y="1933270"/>
                </a:lnTo>
                <a:lnTo>
                  <a:pt x="96355" y="1917840"/>
                </a:lnTo>
                <a:close/>
                <a:moveTo>
                  <a:pt x="96012" y="2193188"/>
                </a:moveTo>
                <a:lnTo>
                  <a:pt x="81610" y="2193188"/>
                </a:lnTo>
                <a:lnTo>
                  <a:pt x="81610" y="2207933"/>
                </a:lnTo>
                <a:lnTo>
                  <a:pt x="66866" y="2207933"/>
                </a:lnTo>
                <a:lnTo>
                  <a:pt x="66866" y="2222335"/>
                </a:lnTo>
                <a:lnTo>
                  <a:pt x="81610" y="2222335"/>
                </a:lnTo>
                <a:lnTo>
                  <a:pt x="81610" y="2237080"/>
                </a:lnTo>
                <a:lnTo>
                  <a:pt x="96012" y="2237080"/>
                </a:lnTo>
                <a:lnTo>
                  <a:pt x="96012" y="2222335"/>
                </a:lnTo>
                <a:lnTo>
                  <a:pt x="110757" y="2222335"/>
                </a:lnTo>
                <a:lnTo>
                  <a:pt x="110757" y="2207933"/>
                </a:lnTo>
                <a:lnTo>
                  <a:pt x="96012" y="2207933"/>
                </a:lnTo>
                <a:lnTo>
                  <a:pt x="96012" y="2193188"/>
                </a:lnTo>
                <a:close/>
                <a:moveTo>
                  <a:pt x="95326" y="2469566"/>
                </a:moveTo>
                <a:lnTo>
                  <a:pt x="82296" y="2469566"/>
                </a:lnTo>
                <a:lnTo>
                  <a:pt x="82296" y="2482939"/>
                </a:lnTo>
                <a:lnTo>
                  <a:pt x="68923" y="2482939"/>
                </a:lnTo>
                <a:lnTo>
                  <a:pt x="68923" y="2495969"/>
                </a:lnTo>
                <a:lnTo>
                  <a:pt x="82296" y="2495969"/>
                </a:lnTo>
                <a:lnTo>
                  <a:pt x="82296" y="2509342"/>
                </a:lnTo>
                <a:lnTo>
                  <a:pt x="95326" y="2509342"/>
                </a:lnTo>
                <a:lnTo>
                  <a:pt x="95326" y="2495969"/>
                </a:lnTo>
                <a:lnTo>
                  <a:pt x="108699" y="2495969"/>
                </a:lnTo>
                <a:lnTo>
                  <a:pt x="108699" y="2482939"/>
                </a:lnTo>
                <a:lnTo>
                  <a:pt x="95326" y="2482939"/>
                </a:lnTo>
                <a:lnTo>
                  <a:pt x="95326" y="2469566"/>
                </a:lnTo>
                <a:close/>
                <a:moveTo>
                  <a:pt x="440284" y="2875559"/>
                </a:moveTo>
                <a:lnTo>
                  <a:pt x="423139" y="2875559"/>
                </a:lnTo>
                <a:lnTo>
                  <a:pt x="423139" y="2892362"/>
                </a:lnTo>
                <a:lnTo>
                  <a:pt x="406336" y="2892362"/>
                </a:lnTo>
                <a:lnTo>
                  <a:pt x="406336" y="2909507"/>
                </a:lnTo>
                <a:lnTo>
                  <a:pt x="423139" y="2909507"/>
                </a:lnTo>
                <a:lnTo>
                  <a:pt x="423139" y="2926309"/>
                </a:lnTo>
                <a:lnTo>
                  <a:pt x="440284" y="2926309"/>
                </a:lnTo>
                <a:lnTo>
                  <a:pt x="440284" y="2909507"/>
                </a:lnTo>
                <a:lnTo>
                  <a:pt x="457086" y="2909507"/>
                </a:lnTo>
                <a:lnTo>
                  <a:pt x="457086" y="2892362"/>
                </a:lnTo>
                <a:lnTo>
                  <a:pt x="440284" y="2892362"/>
                </a:lnTo>
                <a:lnTo>
                  <a:pt x="440284" y="2875559"/>
                </a:lnTo>
                <a:close/>
                <a:moveTo>
                  <a:pt x="510235" y="2733599"/>
                </a:moveTo>
                <a:lnTo>
                  <a:pt x="490347" y="2733599"/>
                </a:lnTo>
                <a:lnTo>
                  <a:pt x="490347" y="2753830"/>
                </a:lnTo>
                <a:lnTo>
                  <a:pt x="470116" y="2753830"/>
                </a:lnTo>
                <a:lnTo>
                  <a:pt x="470116" y="2773718"/>
                </a:lnTo>
                <a:lnTo>
                  <a:pt x="490347" y="2773718"/>
                </a:lnTo>
                <a:lnTo>
                  <a:pt x="490347" y="2793949"/>
                </a:lnTo>
                <a:lnTo>
                  <a:pt x="510235" y="2793949"/>
                </a:lnTo>
                <a:lnTo>
                  <a:pt x="510235" y="2773718"/>
                </a:lnTo>
                <a:lnTo>
                  <a:pt x="530466" y="2773718"/>
                </a:lnTo>
                <a:lnTo>
                  <a:pt x="530466" y="2753830"/>
                </a:lnTo>
                <a:lnTo>
                  <a:pt x="510235" y="2753830"/>
                </a:lnTo>
                <a:lnTo>
                  <a:pt x="510235" y="2733599"/>
                </a:lnTo>
                <a:close/>
                <a:moveTo>
                  <a:pt x="508521" y="3013748"/>
                </a:moveTo>
                <a:lnTo>
                  <a:pt x="492061" y="3013748"/>
                </a:lnTo>
                <a:lnTo>
                  <a:pt x="492061" y="3029864"/>
                </a:lnTo>
                <a:lnTo>
                  <a:pt x="475945" y="3029864"/>
                </a:lnTo>
                <a:lnTo>
                  <a:pt x="475945" y="3046324"/>
                </a:lnTo>
                <a:lnTo>
                  <a:pt x="492061" y="3046324"/>
                </a:lnTo>
                <a:lnTo>
                  <a:pt x="492061" y="3062440"/>
                </a:lnTo>
                <a:lnTo>
                  <a:pt x="508521" y="3062440"/>
                </a:lnTo>
                <a:lnTo>
                  <a:pt x="508521" y="3046324"/>
                </a:lnTo>
                <a:lnTo>
                  <a:pt x="524637" y="3046324"/>
                </a:lnTo>
                <a:lnTo>
                  <a:pt x="524637" y="3029864"/>
                </a:lnTo>
                <a:lnTo>
                  <a:pt x="508521" y="3029864"/>
                </a:lnTo>
                <a:lnTo>
                  <a:pt x="508521" y="3013748"/>
                </a:lnTo>
                <a:close/>
                <a:moveTo>
                  <a:pt x="511607" y="2455507"/>
                </a:moveTo>
                <a:lnTo>
                  <a:pt x="488975" y="2455507"/>
                </a:lnTo>
                <a:lnTo>
                  <a:pt x="488975" y="2478138"/>
                </a:lnTo>
                <a:lnTo>
                  <a:pt x="466344" y="2478138"/>
                </a:lnTo>
                <a:lnTo>
                  <a:pt x="466344" y="2500770"/>
                </a:lnTo>
                <a:lnTo>
                  <a:pt x="488975" y="2500770"/>
                </a:lnTo>
                <a:lnTo>
                  <a:pt x="488975" y="2523401"/>
                </a:lnTo>
                <a:lnTo>
                  <a:pt x="511607" y="2523401"/>
                </a:lnTo>
                <a:lnTo>
                  <a:pt x="511607" y="2500770"/>
                </a:lnTo>
                <a:lnTo>
                  <a:pt x="534238" y="2500770"/>
                </a:lnTo>
                <a:lnTo>
                  <a:pt x="534238" y="2478138"/>
                </a:lnTo>
                <a:lnTo>
                  <a:pt x="511607" y="2478138"/>
                </a:lnTo>
                <a:lnTo>
                  <a:pt x="511607" y="2455507"/>
                </a:lnTo>
                <a:close/>
                <a:moveTo>
                  <a:pt x="506120" y="3294583"/>
                </a:moveTo>
                <a:lnTo>
                  <a:pt x="494462" y="3294583"/>
                </a:lnTo>
                <a:lnTo>
                  <a:pt x="494462" y="3306585"/>
                </a:lnTo>
                <a:lnTo>
                  <a:pt x="482460" y="3306585"/>
                </a:lnTo>
                <a:lnTo>
                  <a:pt x="482460" y="3318243"/>
                </a:lnTo>
                <a:lnTo>
                  <a:pt x="494462" y="3318243"/>
                </a:lnTo>
                <a:lnTo>
                  <a:pt x="494462" y="3330245"/>
                </a:lnTo>
                <a:lnTo>
                  <a:pt x="506120" y="3330245"/>
                </a:lnTo>
                <a:lnTo>
                  <a:pt x="506120" y="3318243"/>
                </a:lnTo>
                <a:lnTo>
                  <a:pt x="518122" y="3318243"/>
                </a:lnTo>
                <a:lnTo>
                  <a:pt x="518122" y="3306585"/>
                </a:lnTo>
                <a:lnTo>
                  <a:pt x="506120" y="3306585"/>
                </a:lnTo>
                <a:lnTo>
                  <a:pt x="506120" y="3294583"/>
                </a:lnTo>
                <a:close/>
                <a:moveTo>
                  <a:pt x="442684" y="2319376"/>
                </a:moveTo>
                <a:lnTo>
                  <a:pt x="420738" y="2319376"/>
                </a:lnTo>
                <a:lnTo>
                  <a:pt x="420738" y="2341321"/>
                </a:lnTo>
                <a:lnTo>
                  <a:pt x="398793" y="2341321"/>
                </a:lnTo>
                <a:lnTo>
                  <a:pt x="398793" y="2363267"/>
                </a:lnTo>
                <a:lnTo>
                  <a:pt x="420738" y="2363267"/>
                </a:lnTo>
                <a:lnTo>
                  <a:pt x="420738" y="2385212"/>
                </a:lnTo>
                <a:lnTo>
                  <a:pt x="442684" y="2385212"/>
                </a:lnTo>
                <a:lnTo>
                  <a:pt x="442684" y="2363267"/>
                </a:lnTo>
                <a:lnTo>
                  <a:pt x="464629" y="2363267"/>
                </a:lnTo>
                <a:lnTo>
                  <a:pt x="464629" y="2341321"/>
                </a:lnTo>
                <a:lnTo>
                  <a:pt x="442684" y="2341321"/>
                </a:lnTo>
                <a:lnTo>
                  <a:pt x="442684" y="2319376"/>
                </a:lnTo>
                <a:close/>
                <a:moveTo>
                  <a:pt x="580187" y="2592324"/>
                </a:moveTo>
                <a:lnTo>
                  <a:pt x="557555" y="2592324"/>
                </a:lnTo>
                <a:lnTo>
                  <a:pt x="557555" y="2615298"/>
                </a:lnTo>
                <a:lnTo>
                  <a:pt x="534581" y="2615298"/>
                </a:lnTo>
                <a:lnTo>
                  <a:pt x="534581" y="2637930"/>
                </a:lnTo>
                <a:lnTo>
                  <a:pt x="557555" y="2637930"/>
                </a:lnTo>
                <a:lnTo>
                  <a:pt x="557555" y="2660904"/>
                </a:lnTo>
                <a:lnTo>
                  <a:pt x="580187" y="2660904"/>
                </a:lnTo>
                <a:lnTo>
                  <a:pt x="580187" y="2637930"/>
                </a:lnTo>
                <a:lnTo>
                  <a:pt x="603161" y="2637930"/>
                </a:lnTo>
                <a:lnTo>
                  <a:pt x="603161" y="2615298"/>
                </a:lnTo>
                <a:lnTo>
                  <a:pt x="580187" y="2615298"/>
                </a:lnTo>
                <a:lnTo>
                  <a:pt x="580187" y="2592324"/>
                </a:lnTo>
                <a:close/>
                <a:moveTo>
                  <a:pt x="644652" y="3290811"/>
                </a:moveTo>
                <a:lnTo>
                  <a:pt x="630250" y="3290811"/>
                </a:lnTo>
                <a:lnTo>
                  <a:pt x="630250" y="3305213"/>
                </a:lnTo>
                <a:lnTo>
                  <a:pt x="615848" y="3305213"/>
                </a:lnTo>
                <a:lnTo>
                  <a:pt x="615848" y="3319615"/>
                </a:lnTo>
                <a:lnTo>
                  <a:pt x="630250" y="3319615"/>
                </a:lnTo>
                <a:lnTo>
                  <a:pt x="630250" y="3334017"/>
                </a:lnTo>
                <a:lnTo>
                  <a:pt x="644652" y="3334017"/>
                </a:lnTo>
                <a:lnTo>
                  <a:pt x="644652" y="3319615"/>
                </a:lnTo>
                <a:lnTo>
                  <a:pt x="659054" y="3319615"/>
                </a:lnTo>
                <a:lnTo>
                  <a:pt x="659054" y="3305213"/>
                </a:lnTo>
                <a:lnTo>
                  <a:pt x="644652" y="3305213"/>
                </a:lnTo>
                <a:lnTo>
                  <a:pt x="644652" y="3290811"/>
                </a:lnTo>
                <a:close/>
                <a:moveTo>
                  <a:pt x="576758" y="3151937"/>
                </a:moveTo>
                <a:lnTo>
                  <a:pt x="560984" y="3151937"/>
                </a:lnTo>
                <a:lnTo>
                  <a:pt x="560984" y="3167367"/>
                </a:lnTo>
                <a:lnTo>
                  <a:pt x="545554" y="3167367"/>
                </a:lnTo>
                <a:lnTo>
                  <a:pt x="545554" y="3183141"/>
                </a:lnTo>
                <a:lnTo>
                  <a:pt x="560984" y="3183141"/>
                </a:lnTo>
                <a:lnTo>
                  <a:pt x="560984" y="3198571"/>
                </a:lnTo>
                <a:lnTo>
                  <a:pt x="576758" y="3198571"/>
                </a:lnTo>
                <a:lnTo>
                  <a:pt x="576758" y="3183141"/>
                </a:lnTo>
                <a:lnTo>
                  <a:pt x="592188" y="3183141"/>
                </a:lnTo>
                <a:lnTo>
                  <a:pt x="592188" y="3167367"/>
                </a:lnTo>
                <a:lnTo>
                  <a:pt x="576758" y="3167367"/>
                </a:lnTo>
                <a:lnTo>
                  <a:pt x="576758" y="3151937"/>
                </a:lnTo>
                <a:close/>
                <a:moveTo>
                  <a:pt x="578815" y="2871445"/>
                </a:moveTo>
                <a:lnTo>
                  <a:pt x="558927" y="2871445"/>
                </a:lnTo>
                <a:lnTo>
                  <a:pt x="558927" y="2890990"/>
                </a:lnTo>
                <a:lnTo>
                  <a:pt x="539382" y="2890990"/>
                </a:lnTo>
                <a:lnTo>
                  <a:pt x="539382" y="2910878"/>
                </a:lnTo>
                <a:lnTo>
                  <a:pt x="558927" y="2910878"/>
                </a:lnTo>
                <a:lnTo>
                  <a:pt x="558927" y="2930423"/>
                </a:lnTo>
                <a:lnTo>
                  <a:pt x="578815" y="2930423"/>
                </a:lnTo>
                <a:lnTo>
                  <a:pt x="578815" y="2910878"/>
                </a:lnTo>
                <a:lnTo>
                  <a:pt x="598360" y="2910878"/>
                </a:lnTo>
                <a:lnTo>
                  <a:pt x="598360" y="2890990"/>
                </a:lnTo>
                <a:lnTo>
                  <a:pt x="578815" y="2890990"/>
                </a:lnTo>
                <a:lnTo>
                  <a:pt x="578815" y="2871445"/>
                </a:lnTo>
                <a:close/>
                <a:moveTo>
                  <a:pt x="373761" y="2183244"/>
                </a:moveTo>
                <a:lnTo>
                  <a:pt x="352501" y="2183244"/>
                </a:lnTo>
                <a:lnTo>
                  <a:pt x="352501" y="2204504"/>
                </a:lnTo>
                <a:lnTo>
                  <a:pt x="331241" y="2204504"/>
                </a:lnTo>
                <a:lnTo>
                  <a:pt x="331241" y="2225764"/>
                </a:lnTo>
                <a:lnTo>
                  <a:pt x="352501" y="2225764"/>
                </a:lnTo>
                <a:lnTo>
                  <a:pt x="352501" y="2247024"/>
                </a:lnTo>
                <a:lnTo>
                  <a:pt x="373761" y="2247024"/>
                </a:lnTo>
                <a:lnTo>
                  <a:pt x="373761" y="2225764"/>
                </a:lnTo>
                <a:lnTo>
                  <a:pt x="395021" y="2225764"/>
                </a:lnTo>
                <a:lnTo>
                  <a:pt x="395021" y="2204504"/>
                </a:lnTo>
                <a:lnTo>
                  <a:pt x="373761" y="2204504"/>
                </a:lnTo>
                <a:lnTo>
                  <a:pt x="373761" y="2183244"/>
                </a:lnTo>
                <a:close/>
                <a:moveTo>
                  <a:pt x="371704" y="2738057"/>
                </a:moveTo>
                <a:lnTo>
                  <a:pt x="354559" y="2738057"/>
                </a:lnTo>
                <a:lnTo>
                  <a:pt x="354559" y="2755202"/>
                </a:lnTo>
                <a:lnTo>
                  <a:pt x="337414" y="2755202"/>
                </a:lnTo>
                <a:lnTo>
                  <a:pt x="337414" y="2772347"/>
                </a:lnTo>
                <a:lnTo>
                  <a:pt x="354559" y="2772347"/>
                </a:lnTo>
                <a:lnTo>
                  <a:pt x="354559" y="2789492"/>
                </a:lnTo>
                <a:lnTo>
                  <a:pt x="371704" y="2789492"/>
                </a:lnTo>
                <a:lnTo>
                  <a:pt x="371704" y="2772347"/>
                </a:lnTo>
                <a:lnTo>
                  <a:pt x="388849" y="2772347"/>
                </a:lnTo>
                <a:lnTo>
                  <a:pt x="388849" y="2755202"/>
                </a:lnTo>
                <a:lnTo>
                  <a:pt x="371704" y="2755202"/>
                </a:lnTo>
                <a:lnTo>
                  <a:pt x="371704" y="2738057"/>
                </a:lnTo>
                <a:close/>
                <a:moveTo>
                  <a:pt x="373075" y="2459965"/>
                </a:moveTo>
                <a:lnTo>
                  <a:pt x="353187" y="2459965"/>
                </a:lnTo>
                <a:lnTo>
                  <a:pt x="353187" y="2479510"/>
                </a:lnTo>
                <a:lnTo>
                  <a:pt x="333642" y="2479510"/>
                </a:lnTo>
                <a:lnTo>
                  <a:pt x="333642" y="2499398"/>
                </a:lnTo>
                <a:lnTo>
                  <a:pt x="353187" y="2499398"/>
                </a:lnTo>
                <a:lnTo>
                  <a:pt x="353187" y="2518943"/>
                </a:lnTo>
                <a:lnTo>
                  <a:pt x="373075" y="2518943"/>
                </a:lnTo>
                <a:lnTo>
                  <a:pt x="373075" y="2499398"/>
                </a:lnTo>
                <a:lnTo>
                  <a:pt x="392620" y="2499398"/>
                </a:lnTo>
                <a:lnTo>
                  <a:pt x="392620" y="2479510"/>
                </a:lnTo>
                <a:lnTo>
                  <a:pt x="373075" y="2479510"/>
                </a:lnTo>
                <a:lnTo>
                  <a:pt x="373075" y="2459965"/>
                </a:lnTo>
                <a:close/>
                <a:moveTo>
                  <a:pt x="304495" y="1773479"/>
                </a:moveTo>
                <a:lnTo>
                  <a:pt x="284607" y="1773479"/>
                </a:lnTo>
                <a:lnTo>
                  <a:pt x="284607" y="1793710"/>
                </a:lnTo>
                <a:lnTo>
                  <a:pt x="264376" y="1793710"/>
                </a:lnTo>
                <a:lnTo>
                  <a:pt x="264376" y="1813598"/>
                </a:lnTo>
                <a:lnTo>
                  <a:pt x="284607" y="1813598"/>
                </a:lnTo>
                <a:lnTo>
                  <a:pt x="284607" y="1833829"/>
                </a:lnTo>
                <a:lnTo>
                  <a:pt x="304495" y="1833829"/>
                </a:lnTo>
                <a:lnTo>
                  <a:pt x="304495" y="1813598"/>
                </a:lnTo>
                <a:lnTo>
                  <a:pt x="324726" y="1813598"/>
                </a:lnTo>
                <a:lnTo>
                  <a:pt x="324726" y="1793710"/>
                </a:lnTo>
                <a:lnTo>
                  <a:pt x="304495" y="1793710"/>
                </a:lnTo>
                <a:lnTo>
                  <a:pt x="304495" y="1773479"/>
                </a:lnTo>
                <a:close/>
                <a:moveTo>
                  <a:pt x="369989" y="3017520"/>
                </a:moveTo>
                <a:lnTo>
                  <a:pt x="356273" y="3017520"/>
                </a:lnTo>
                <a:lnTo>
                  <a:pt x="356273" y="3031236"/>
                </a:lnTo>
                <a:lnTo>
                  <a:pt x="342557" y="3031236"/>
                </a:lnTo>
                <a:lnTo>
                  <a:pt x="342557" y="3044952"/>
                </a:lnTo>
                <a:lnTo>
                  <a:pt x="356273" y="3044952"/>
                </a:lnTo>
                <a:lnTo>
                  <a:pt x="356273" y="3058668"/>
                </a:lnTo>
                <a:lnTo>
                  <a:pt x="369989" y="3058668"/>
                </a:lnTo>
                <a:lnTo>
                  <a:pt x="369989" y="3044952"/>
                </a:lnTo>
                <a:lnTo>
                  <a:pt x="383705" y="3044952"/>
                </a:lnTo>
                <a:lnTo>
                  <a:pt x="383705" y="3031236"/>
                </a:lnTo>
                <a:lnTo>
                  <a:pt x="369989" y="3031236"/>
                </a:lnTo>
                <a:lnTo>
                  <a:pt x="369989" y="3017520"/>
                </a:lnTo>
                <a:close/>
                <a:moveTo>
                  <a:pt x="441655" y="2596439"/>
                </a:moveTo>
                <a:lnTo>
                  <a:pt x="421767" y="2596439"/>
                </a:lnTo>
                <a:lnTo>
                  <a:pt x="421767" y="2616670"/>
                </a:lnTo>
                <a:lnTo>
                  <a:pt x="401536" y="2616670"/>
                </a:lnTo>
                <a:lnTo>
                  <a:pt x="401536" y="2636558"/>
                </a:lnTo>
                <a:lnTo>
                  <a:pt x="421767" y="2636558"/>
                </a:lnTo>
                <a:lnTo>
                  <a:pt x="421767" y="2656789"/>
                </a:lnTo>
                <a:lnTo>
                  <a:pt x="441655" y="2656789"/>
                </a:lnTo>
                <a:lnTo>
                  <a:pt x="441655" y="2636558"/>
                </a:lnTo>
                <a:lnTo>
                  <a:pt x="461886" y="2636558"/>
                </a:lnTo>
                <a:lnTo>
                  <a:pt x="461886" y="2616670"/>
                </a:lnTo>
                <a:lnTo>
                  <a:pt x="441655" y="2616670"/>
                </a:lnTo>
                <a:lnTo>
                  <a:pt x="441655" y="2596439"/>
                </a:lnTo>
                <a:close/>
                <a:moveTo>
                  <a:pt x="438226" y="3156052"/>
                </a:moveTo>
                <a:lnTo>
                  <a:pt x="425196" y="3156052"/>
                </a:lnTo>
                <a:lnTo>
                  <a:pt x="425196" y="3168739"/>
                </a:lnTo>
                <a:lnTo>
                  <a:pt x="412509" y="3168739"/>
                </a:lnTo>
                <a:lnTo>
                  <a:pt x="412509" y="3181769"/>
                </a:lnTo>
                <a:lnTo>
                  <a:pt x="425196" y="3181769"/>
                </a:lnTo>
                <a:lnTo>
                  <a:pt x="425196" y="3194456"/>
                </a:lnTo>
                <a:lnTo>
                  <a:pt x="438226" y="3194456"/>
                </a:lnTo>
                <a:lnTo>
                  <a:pt x="438226" y="3181769"/>
                </a:lnTo>
                <a:lnTo>
                  <a:pt x="450913" y="3181769"/>
                </a:lnTo>
                <a:lnTo>
                  <a:pt x="450913" y="3168739"/>
                </a:lnTo>
                <a:lnTo>
                  <a:pt x="438226" y="3168739"/>
                </a:lnTo>
                <a:lnTo>
                  <a:pt x="438226" y="3156052"/>
                </a:lnTo>
                <a:close/>
                <a:moveTo>
                  <a:pt x="647052" y="3009633"/>
                </a:moveTo>
                <a:lnTo>
                  <a:pt x="627850" y="3009633"/>
                </a:lnTo>
                <a:lnTo>
                  <a:pt x="627850" y="3028493"/>
                </a:lnTo>
                <a:lnTo>
                  <a:pt x="608990" y="3028493"/>
                </a:lnTo>
                <a:lnTo>
                  <a:pt x="608990" y="3047695"/>
                </a:lnTo>
                <a:lnTo>
                  <a:pt x="627850" y="3047695"/>
                </a:lnTo>
                <a:lnTo>
                  <a:pt x="627850" y="3066555"/>
                </a:lnTo>
                <a:lnTo>
                  <a:pt x="647052" y="3066555"/>
                </a:lnTo>
                <a:lnTo>
                  <a:pt x="647052" y="3047695"/>
                </a:lnTo>
                <a:lnTo>
                  <a:pt x="665912" y="3047695"/>
                </a:lnTo>
                <a:lnTo>
                  <a:pt x="665912" y="3028493"/>
                </a:lnTo>
                <a:lnTo>
                  <a:pt x="647052" y="3028493"/>
                </a:lnTo>
                <a:lnTo>
                  <a:pt x="647052" y="3009633"/>
                </a:lnTo>
                <a:close/>
                <a:moveTo>
                  <a:pt x="420052" y="2112607"/>
                </a:moveTo>
                <a:lnTo>
                  <a:pt x="443370" y="2112607"/>
                </a:lnTo>
                <a:lnTo>
                  <a:pt x="443370" y="2089633"/>
                </a:lnTo>
                <a:lnTo>
                  <a:pt x="466344" y="2089633"/>
                </a:lnTo>
                <a:lnTo>
                  <a:pt x="466344" y="2066315"/>
                </a:lnTo>
                <a:lnTo>
                  <a:pt x="443370" y="2066315"/>
                </a:lnTo>
                <a:lnTo>
                  <a:pt x="443370" y="2043341"/>
                </a:lnTo>
                <a:lnTo>
                  <a:pt x="420052" y="2043341"/>
                </a:lnTo>
                <a:lnTo>
                  <a:pt x="420052" y="2066315"/>
                </a:lnTo>
                <a:lnTo>
                  <a:pt x="397078" y="2066315"/>
                </a:lnTo>
                <a:lnTo>
                  <a:pt x="397078" y="2089633"/>
                </a:lnTo>
                <a:lnTo>
                  <a:pt x="420052" y="2089633"/>
                </a:lnTo>
                <a:lnTo>
                  <a:pt x="420052" y="2112607"/>
                </a:lnTo>
                <a:close/>
                <a:moveTo>
                  <a:pt x="374104" y="1907896"/>
                </a:moveTo>
                <a:lnTo>
                  <a:pt x="352158" y="1907896"/>
                </a:lnTo>
                <a:lnTo>
                  <a:pt x="352158" y="1929841"/>
                </a:lnTo>
                <a:lnTo>
                  <a:pt x="330213" y="1929841"/>
                </a:lnTo>
                <a:lnTo>
                  <a:pt x="330213" y="1951787"/>
                </a:lnTo>
                <a:lnTo>
                  <a:pt x="352158" y="1951787"/>
                </a:lnTo>
                <a:lnTo>
                  <a:pt x="352158" y="1973732"/>
                </a:lnTo>
                <a:lnTo>
                  <a:pt x="374104" y="1973732"/>
                </a:lnTo>
                <a:lnTo>
                  <a:pt x="374104" y="1951787"/>
                </a:lnTo>
                <a:lnTo>
                  <a:pt x="396049" y="1951787"/>
                </a:lnTo>
                <a:lnTo>
                  <a:pt x="396049" y="1929841"/>
                </a:lnTo>
                <a:lnTo>
                  <a:pt x="374104" y="1929841"/>
                </a:lnTo>
                <a:lnTo>
                  <a:pt x="374104" y="1907896"/>
                </a:lnTo>
                <a:close/>
                <a:moveTo>
                  <a:pt x="14059" y="1547851"/>
                </a:moveTo>
                <a:lnTo>
                  <a:pt x="26403" y="1547851"/>
                </a:lnTo>
                <a:lnTo>
                  <a:pt x="26403" y="1535506"/>
                </a:lnTo>
                <a:lnTo>
                  <a:pt x="38748" y="1535506"/>
                </a:lnTo>
                <a:lnTo>
                  <a:pt x="38748" y="1523162"/>
                </a:lnTo>
                <a:lnTo>
                  <a:pt x="26403" y="1523162"/>
                </a:lnTo>
                <a:lnTo>
                  <a:pt x="26403" y="1510817"/>
                </a:lnTo>
                <a:lnTo>
                  <a:pt x="14059" y="1510817"/>
                </a:lnTo>
                <a:lnTo>
                  <a:pt x="14059" y="1523162"/>
                </a:lnTo>
                <a:lnTo>
                  <a:pt x="1715" y="1523162"/>
                </a:lnTo>
                <a:lnTo>
                  <a:pt x="1715" y="1535506"/>
                </a:lnTo>
                <a:lnTo>
                  <a:pt x="14059" y="1535506"/>
                </a:lnTo>
                <a:lnTo>
                  <a:pt x="14059" y="1547851"/>
                </a:lnTo>
                <a:close/>
                <a:moveTo>
                  <a:pt x="1949044" y="3698177"/>
                </a:moveTo>
                <a:lnTo>
                  <a:pt x="1931899" y="3698177"/>
                </a:lnTo>
                <a:lnTo>
                  <a:pt x="1931899" y="3715322"/>
                </a:lnTo>
                <a:lnTo>
                  <a:pt x="1914754" y="3715322"/>
                </a:lnTo>
                <a:lnTo>
                  <a:pt x="1914754" y="3732467"/>
                </a:lnTo>
                <a:lnTo>
                  <a:pt x="1931899" y="3732467"/>
                </a:lnTo>
                <a:lnTo>
                  <a:pt x="1931899" y="3749612"/>
                </a:lnTo>
                <a:lnTo>
                  <a:pt x="1949044" y="3749612"/>
                </a:lnTo>
                <a:lnTo>
                  <a:pt x="1949044" y="3732467"/>
                </a:lnTo>
                <a:lnTo>
                  <a:pt x="1966189" y="3732467"/>
                </a:lnTo>
                <a:lnTo>
                  <a:pt x="1966189" y="3715322"/>
                </a:lnTo>
                <a:lnTo>
                  <a:pt x="1949044" y="3715322"/>
                </a:lnTo>
                <a:lnTo>
                  <a:pt x="1949044" y="3698177"/>
                </a:lnTo>
                <a:close/>
                <a:moveTo>
                  <a:pt x="3460890" y="1769021"/>
                </a:moveTo>
                <a:lnTo>
                  <a:pt x="3437573" y="1769021"/>
                </a:lnTo>
                <a:lnTo>
                  <a:pt x="3437573" y="1791995"/>
                </a:lnTo>
                <a:lnTo>
                  <a:pt x="3414598" y="1791995"/>
                </a:lnTo>
                <a:lnTo>
                  <a:pt x="3414598" y="1815313"/>
                </a:lnTo>
                <a:lnTo>
                  <a:pt x="3437573" y="1815313"/>
                </a:lnTo>
                <a:lnTo>
                  <a:pt x="3437573" y="1838287"/>
                </a:lnTo>
                <a:lnTo>
                  <a:pt x="3460890" y="1838287"/>
                </a:lnTo>
                <a:lnTo>
                  <a:pt x="3460890" y="1815313"/>
                </a:lnTo>
                <a:lnTo>
                  <a:pt x="3483864" y="1815313"/>
                </a:lnTo>
                <a:lnTo>
                  <a:pt x="3483864" y="1791995"/>
                </a:lnTo>
                <a:lnTo>
                  <a:pt x="3460890" y="1791995"/>
                </a:lnTo>
                <a:lnTo>
                  <a:pt x="3460890" y="1769021"/>
                </a:lnTo>
                <a:close/>
                <a:moveTo>
                  <a:pt x="3455746" y="3156052"/>
                </a:moveTo>
                <a:lnTo>
                  <a:pt x="3442716" y="3156052"/>
                </a:lnTo>
                <a:lnTo>
                  <a:pt x="3442716" y="3168739"/>
                </a:lnTo>
                <a:lnTo>
                  <a:pt x="3430029" y="3168739"/>
                </a:lnTo>
                <a:lnTo>
                  <a:pt x="3430029" y="3181769"/>
                </a:lnTo>
                <a:lnTo>
                  <a:pt x="3442716" y="3181769"/>
                </a:lnTo>
                <a:lnTo>
                  <a:pt x="3442716" y="3194456"/>
                </a:lnTo>
                <a:lnTo>
                  <a:pt x="3455746" y="3194456"/>
                </a:lnTo>
                <a:lnTo>
                  <a:pt x="3455746" y="3181769"/>
                </a:lnTo>
                <a:lnTo>
                  <a:pt x="3468434" y="3181769"/>
                </a:lnTo>
                <a:lnTo>
                  <a:pt x="3468434" y="3168739"/>
                </a:lnTo>
                <a:lnTo>
                  <a:pt x="3455746" y="3168739"/>
                </a:lnTo>
                <a:lnTo>
                  <a:pt x="3455746" y="3156052"/>
                </a:lnTo>
                <a:close/>
                <a:moveTo>
                  <a:pt x="3459175" y="2596439"/>
                </a:moveTo>
                <a:lnTo>
                  <a:pt x="3439287" y="2596439"/>
                </a:lnTo>
                <a:lnTo>
                  <a:pt x="3439287" y="2616670"/>
                </a:lnTo>
                <a:lnTo>
                  <a:pt x="3419056" y="2616670"/>
                </a:lnTo>
                <a:lnTo>
                  <a:pt x="3419056" y="2636558"/>
                </a:lnTo>
                <a:lnTo>
                  <a:pt x="3439287" y="2636558"/>
                </a:lnTo>
                <a:lnTo>
                  <a:pt x="3439287" y="2656789"/>
                </a:lnTo>
                <a:lnTo>
                  <a:pt x="3459175" y="2656789"/>
                </a:lnTo>
                <a:lnTo>
                  <a:pt x="3459175" y="2636558"/>
                </a:lnTo>
                <a:lnTo>
                  <a:pt x="3479407" y="2636558"/>
                </a:lnTo>
                <a:lnTo>
                  <a:pt x="3479407" y="2616670"/>
                </a:lnTo>
                <a:lnTo>
                  <a:pt x="3459175" y="2616670"/>
                </a:lnTo>
                <a:lnTo>
                  <a:pt x="3459175" y="2596439"/>
                </a:lnTo>
                <a:close/>
                <a:moveTo>
                  <a:pt x="3457804" y="2875559"/>
                </a:moveTo>
                <a:lnTo>
                  <a:pt x="3440659" y="2875559"/>
                </a:lnTo>
                <a:lnTo>
                  <a:pt x="3440659" y="2892362"/>
                </a:lnTo>
                <a:lnTo>
                  <a:pt x="3423857" y="2892362"/>
                </a:lnTo>
                <a:lnTo>
                  <a:pt x="3423857" y="2909507"/>
                </a:lnTo>
                <a:lnTo>
                  <a:pt x="3440659" y="2909507"/>
                </a:lnTo>
                <a:lnTo>
                  <a:pt x="3440659" y="2926309"/>
                </a:lnTo>
                <a:lnTo>
                  <a:pt x="3457804" y="2926309"/>
                </a:lnTo>
                <a:lnTo>
                  <a:pt x="3457804" y="2909507"/>
                </a:lnTo>
                <a:lnTo>
                  <a:pt x="3474606" y="2909507"/>
                </a:lnTo>
                <a:lnTo>
                  <a:pt x="3474606" y="2892362"/>
                </a:lnTo>
                <a:lnTo>
                  <a:pt x="3457804" y="2892362"/>
                </a:lnTo>
                <a:lnTo>
                  <a:pt x="3457804" y="2875559"/>
                </a:lnTo>
                <a:close/>
                <a:moveTo>
                  <a:pt x="3460204" y="2319033"/>
                </a:moveTo>
                <a:lnTo>
                  <a:pt x="3438259" y="2319033"/>
                </a:lnTo>
                <a:lnTo>
                  <a:pt x="3438259" y="2341321"/>
                </a:lnTo>
                <a:lnTo>
                  <a:pt x="3415970" y="2341321"/>
                </a:lnTo>
                <a:lnTo>
                  <a:pt x="3415970" y="2363267"/>
                </a:lnTo>
                <a:lnTo>
                  <a:pt x="3438259" y="2363267"/>
                </a:lnTo>
                <a:lnTo>
                  <a:pt x="3438259" y="2385555"/>
                </a:lnTo>
                <a:lnTo>
                  <a:pt x="3460204" y="2385555"/>
                </a:lnTo>
                <a:lnTo>
                  <a:pt x="3460204" y="2363267"/>
                </a:lnTo>
                <a:lnTo>
                  <a:pt x="3482492" y="2363267"/>
                </a:lnTo>
                <a:lnTo>
                  <a:pt x="3482492" y="2341321"/>
                </a:lnTo>
                <a:lnTo>
                  <a:pt x="3460204" y="2341321"/>
                </a:lnTo>
                <a:lnTo>
                  <a:pt x="3460204" y="2319033"/>
                </a:lnTo>
                <a:close/>
                <a:moveTo>
                  <a:pt x="3528441" y="2183244"/>
                </a:moveTo>
                <a:lnTo>
                  <a:pt x="3507181" y="2183244"/>
                </a:lnTo>
                <a:lnTo>
                  <a:pt x="3507181" y="2204504"/>
                </a:lnTo>
                <a:lnTo>
                  <a:pt x="3485921" y="2204504"/>
                </a:lnTo>
                <a:lnTo>
                  <a:pt x="3485921" y="2225764"/>
                </a:lnTo>
                <a:lnTo>
                  <a:pt x="3507181" y="2225764"/>
                </a:lnTo>
                <a:lnTo>
                  <a:pt x="3507181" y="2247024"/>
                </a:lnTo>
                <a:lnTo>
                  <a:pt x="3528441" y="2247024"/>
                </a:lnTo>
                <a:lnTo>
                  <a:pt x="3528441" y="2225764"/>
                </a:lnTo>
                <a:lnTo>
                  <a:pt x="3549701" y="2225764"/>
                </a:lnTo>
                <a:lnTo>
                  <a:pt x="3549701" y="2204504"/>
                </a:lnTo>
                <a:lnTo>
                  <a:pt x="3528441" y="2204504"/>
                </a:lnTo>
                <a:lnTo>
                  <a:pt x="3528441" y="2183244"/>
                </a:lnTo>
                <a:close/>
                <a:moveTo>
                  <a:pt x="3250692" y="3290811"/>
                </a:moveTo>
                <a:lnTo>
                  <a:pt x="3236290" y="3290811"/>
                </a:lnTo>
                <a:lnTo>
                  <a:pt x="3236290" y="3305213"/>
                </a:lnTo>
                <a:lnTo>
                  <a:pt x="3221888" y="3305213"/>
                </a:lnTo>
                <a:lnTo>
                  <a:pt x="3221888" y="3319615"/>
                </a:lnTo>
                <a:lnTo>
                  <a:pt x="3236290" y="3319615"/>
                </a:lnTo>
                <a:lnTo>
                  <a:pt x="3236290" y="3334017"/>
                </a:lnTo>
                <a:lnTo>
                  <a:pt x="3250692" y="3334017"/>
                </a:lnTo>
                <a:lnTo>
                  <a:pt x="3250692" y="3319615"/>
                </a:lnTo>
                <a:lnTo>
                  <a:pt x="3265094" y="3319615"/>
                </a:lnTo>
                <a:lnTo>
                  <a:pt x="3265094" y="3305213"/>
                </a:lnTo>
                <a:lnTo>
                  <a:pt x="3250692" y="3305213"/>
                </a:lnTo>
                <a:lnTo>
                  <a:pt x="3250692" y="3290811"/>
                </a:lnTo>
                <a:close/>
                <a:moveTo>
                  <a:pt x="3524669" y="3017863"/>
                </a:moveTo>
                <a:lnTo>
                  <a:pt x="3510953" y="3017863"/>
                </a:lnTo>
                <a:lnTo>
                  <a:pt x="3510953" y="3031236"/>
                </a:lnTo>
                <a:lnTo>
                  <a:pt x="3497580" y="3031236"/>
                </a:lnTo>
                <a:lnTo>
                  <a:pt x="3497580" y="3044952"/>
                </a:lnTo>
                <a:lnTo>
                  <a:pt x="3510953" y="3044952"/>
                </a:lnTo>
                <a:lnTo>
                  <a:pt x="3510953" y="3058325"/>
                </a:lnTo>
                <a:lnTo>
                  <a:pt x="3524669" y="3058325"/>
                </a:lnTo>
                <a:lnTo>
                  <a:pt x="3524669" y="3044952"/>
                </a:lnTo>
                <a:lnTo>
                  <a:pt x="3538042" y="3044952"/>
                </a:lnTo>
                <a:lnTo>
                  <a:pt x="3538042" y="3031236"/>
                </a:lnTo>
                <a:lnTo>
                  <a:pt x="3524669" y="3031236"/>
                </a:lnTo>
                <a:lnTo>
                  <a:pt x="3524669" y="3017863"/>
                </a:lnTo>
                <a:close/>
                <a:moveTo>
                  <a:pt x="3526384" y="2738057"/>
                </a:moveTo>
                <a:lnTo>
                  <a:pt x="3509239" y="2738057"/>
                </a:lnTo>
                <a:lnTo>
                  <a:pt x="3509239" y="2755202"/>
                </a:lnTo>
                <a:lnTo>
                  <a:pt x="3492094" y="2755202"/>
                </a:lnTo>
                <a:lnTo>
                  <a:pt x="3492094" y="2772347"/>
                </a:lnTo>
                <a:lnTo>
                  <a:pt x="3509239" y="2772347"/>
                </a:lnTo>
                <a:lnTo>
                  <a:pt x="3509239" y="2789492"/>
                </a:lnTo>
                <a:lnTo>
                  <a:pt x="3526384" y="2789492"/>
                </a:lnTo>
                <a:lnTo>
                  <a:pt x="3526384" y="2772347"/>
                </a:lnTo>
                <a:lnTo>
                  <a:pt x="3543529" y="2772347"/>
                </a:lnTo>
                <a:lnTo>
                  <a:pt x="3543529" y="2755202"/>
                </a:lnTo>
                <a:lnTo>
                  <a:pt x="3526384" y="2755202"/>
                </a:lnTo>
                <a:lnTo>
                  <a:pt x="3526384" y="2738057"/>
                </a:lnTo>
                <a:close/>
                <a:moveTo>
                  <a:pt x="3460890" y="2043341"/>
                </a:moveTo>
                <a:lnTo>
                  <a:pt x="3437573" y="2043341"/>
                </a:lnTo>
                <a:lnTo>
                  <a:pt x="3437573" y="2066315"/>
                </a:lnTo>
                <a:lnTo>
                  <a:pt x="3414598" y="2066315"/>
                </a:lnTo>
                <a:lnTo>
                  <a:pt x="3414598" y="2089633"/>
                </a:lnTo>
                <a:lnTo>
                  <a:pt x="3437573" y="2089633"/>
                </a:lnTo>
                <a:lnTo>
                  <a:pt x="3437573" y="2112607"/>
                </a:lnTo>
                <a:lnTo>
                  <a:pt x="3460890" y="2112607"/>
                </a:lnTo>
                <a:lnTo>
                  <a:pt x="3460890" y="2089633"/>
                </a:lnTo>
                <a:lnTo>
                  <a:pt x="3483864" y="2089633"/>
                </a:lnTo>
                <a:lnTo>
                  <a:pt x="3483864" y="2066315"/>
                </a:lnTo>
                <a:lnTo>
                  <a:pt x="3460890" y="2066315"/>
                </a:lnTo>
                <a:lnTo>
                  <a:pt x="3460890" y="2043341"/>
                </a:lnTo>
                <a:close/>
                <a:moveTo>
                  <a:pt x="3254807" y="2729827"/>
                </a:moveTo>
                <a:lnTo>
                  <a:pt x="3232175" y="2729827"/>
                </a:lnTo>
                <a:lnTo>
                  <a:pt x="3232175" y="2752458"/>
                </a:lnTo>
                <a:lnTo>
                  <a:pt x="3209544" y="2752458"/>
                </a:lnTo>
                <a:lnTo>
                  <a:pt x="3209544" y="2775090"/>
                </a:lnTo>
                <a:lnTo>
                  <a:pt x="3232175" y="2775090"/>
                </a:lnTo>
                <a:lnTo>
                  <a:pt x="3232175" y="2797721"/>
                </a:lnTo>
                <a:lnTo>
                  <a:pt x="3254807" y="2797721"/>
                </a:lnTo>
                <a:lnTo>
                  <a:pt x="3254807" y="2775090"/>
                </a:lnTo>
                <a:lnTo>
                  <a:pt x="3277438" y="2775090"/>
                </a:lnTo>
                <a:lnTo>
                  <a:pt x="3277438" y="2752458"/>
                </a:lnTo>
                <a:lnTo>
                  <a:pt x="3254807" y="2752458"/>
                </a:lnTo>
                <a:lnTo>
                  <a:pt x="3254807" y="2729827"/>
                </a:lnTo>
                <a:close/>
                <a:moveTo>
                  <a:pt x="3319958" y="3151937"/>
                </a:moveTo>
                <a:lnTo>
                  <a:pt x="3304184" y="3151937"/>
                </a:lnTo>
                <a:lnTo>
                  <a:pt x="3304184" y="3167367"/>
                </a:lnTo>
                <a:lnTo>
                  <a:pt x="3288754" y="3167367"/>
                </a:lnTo>
                <a:lnTo>
                  <a:pt x="3288754" y="3183141"/>
                </a:lnTo>
                <a:lnTo>
                  <a:pt x="3304184" y="3183141"/>
                </a:lnTo>
                <a:lnTo>
                  <a:pt x="3304184" y="3198571"/>
                </a:lnTo>
                <a:lnTo>
                  <a:pt x="3319958" y="3198571"/>
                </a:lnTo>
                <a:lnTo>
                  <a:pt x="3319958" y="3183141"/>
                </a:lnTo>
                <a:lnTo>
                  <a:pt x="3335389" y="3183141"/>
                </a:lnTo>
                <a:lnTo>
                  <a:pt x="3335389" y="3167367"/>
                </a:lnTo>
                <a:lnTo>
                  <a:pt x="3319958" y="3167367"/>
                </a:lnTo>
                <a:lnTo>
                  <a:pt x="3319958" y="3151937"/>
                </a:lnTo>
                <a:close/>
                <a:moveTo>
                  <a:pt x="3322015" y="2871445"/>
                </a:moveTo>
                <a:lnTo>
                  <a:pt x="3302127" y="2871445"/>
                </a:lnTo>
                <a:lnTo>
                  <a:pt x="3302127" y="2890990"/>
                </a:lnTo>
                <a:lnTo>
                  <a:pt x="3282582" y="2890990"/>
                </a:lnTo>
                <a:lnTo>
                  <a:pt x="3282582" y="2910878"/>
                </a:lnTo>
                <a:lnTo>
                  <a:pt x="3302127" y="2910878"/>
                </a:lnTo>
                <a:lnTo>
                  <a:pt x="3302127" y="2930423"/>
                </a:lnTo>
                <a:lnTo>
                  <a:pt x="3322015" y="2930423"/>
                </a:lnTo>
                <a:lnTo>
                  <a:pt x="3322015" y="2910878"/>
                </a:lnTo>
                <a:lnTo>
                  <a:pt x="3341561" y="2910878"/>
                </a:lnTo>
                <a:lnTo>
                  <a:pt x="3341561" y="2890990"/>
                </a:lnTo>
                <a:lnTo>
                  <a:pt x="3322015" y="2890990"/>
                </a:lnTo>
                <a:lnTo>
                  <a:pt x="3322015" y="2871445"/>
                </a:lnTo>
                <a:close/>
                <a:moveTo>
                  <a:pt x="3253093" y="3009633"/>
                </a:moveTo>
                <a:lnTo>
                  <a:pt x="3233890" y="3009633"/>
                </a:lnTo>
                <a:lnTo>
                  <a:pt x="3233890" y="3028493"/>
                </a:lnTo>
                <a:lnTo>
                  <a:pt x="3215030" y="3028493"/>
                </a:lnTo>
                <a:lnTo>
                  <a:pt x="3215030" y="3047695"/>
                </a:lnTo>
                <a:lnTo>
                  <a:pt x="3233890" y="3047695"/>
                </a:lnTo>
                <a:lnTo>
                  <a:pt x="3233890" y="3066555"/>
                </a:lnTo>
                <a:lnTo>
                  <a:pt x="3253093" y="3066555"/>
                </a:lnTo>
                <a:lnTo>
                  <a:pt x="3253093" y="3047695"/>
                </a:lnTo>
                <a:lnTo>
                  <a:pt x="3271952" y="3047695"/>
                </a:lnTo>
                <a:lnTo>
                  <a:pt x="3271952" y="3028493"/>
                </a:lnTo>
                <a:lnTo>
                  <a:pt x="3253093" y="3028493"/>
                </a:lnTo>
                <a:lnTo>
                  <a:pt x="3253093" y="3009633"/>
                </a:lnTo>
                <a:close/>
                <a:moveTo>
                  <a:pt x="3323387" y="2592667"/>
                </a:moveTo>
                <a:lnTo>
                  <a:pt x="3300755" y="2592667"/>
                </a:lnTo>
                <a:lnTo>
                  <a:pt x="3300755" y="2615298"/>
                </a:lnTo>
                <a:lnTo>
                  <a:pt x="3278124" y="2615298"/>
                </a:lnTo>
                <a:lnTo>
                  <a:pt x="3278124" y="2637930"/>
                </a:lnTo>
                <a:lnTo>
                  <a:pt x="3300755" y="2637930"/>
                </a:lnTo>
                <a:lnTo>
                  <a:pt x="3300755" y="2660561"/>
                </a:lnTo>
                <a:lnTo>
                  <a:pt x="3323387" y="2660561"/>
                </a:lnTo>
                <a:lnTo>
                  <a:pt x="3323387" y="2637930"/>
                </a:lnTo>
                <a:lnTo>
                  <a:pt x="3346018" y="2637930"/>
                </a:lnTo>
                <a:lnTo>
                  <a:pt x="3346018" y="2615298"/>
                </a:lnTo>
                <a:lnTo>
                  <a:pt x="3323387" y="2615298"/>
                </a:lnTo>
                <a:lnTo>
                  <a:pt x="3323387" y="2592667"/>
                </a:lnTo>
                <a:close/>
                <a:moveTo>
                  <a:pt x="3388881" y="3013405"/>
                </a:moveTo>
                <a:lnTo>
                  <a:pt x="3372422" y="3013405"/>
                </a:lnTo>
                <a:lnTo>
                  <a:pt x="3372422" y="3029864"/>
                </a:lnTo>
                <a:lnTo>
                  <a:pt x="3355963" y="3029864"/>
                </a:lnTo>
                <a:lnTo>
                  <a:pt x="3355963" y="3046324"/>
                </a:lnTo>
                <a:lnTo>
                  <a:pt x="3372422" y="3046324"/>
                </a:lnTo>
                <a:lnTo>
                  <a:pt x="3372422" y="3062783"/>
                </a:lnTo>
                <a:lnTo>
                  <a:pt x="3388881" y="3062783"/>
                </a:lnTo>
                <a:lnTo>
                  <a:pt x="3388881" y="3046324"/>
                </a:lnTo>
                <a:lnTo>
                  <a:pt x="3405340" y="3046324"/>
                </a:lnTo>
                <a:lnTo>
                  <a:pt x="3405340" y="3029864"/>
                </a:lnTo>
                <a:lnTo>
                  <a:pt x="3388881" y="3029864"/>
                </a:lnTo>
                <a:lnTo>
                  <a:pt x="3388881" y="3013405"/>
                </a:lnTo>
                <a:close/>
                <a:moveTo>
                  <a:pt x="3391967" y="2455507"/>
                </a:moveTo>
                <a:lnTo>
                  <a:pt x="3369335" y="2455507"/>
                </a:lnTo>
                <a:lnTo>
                  <a:pt x="3369335" y="2478138"/>
                </a:lnTo>
                <a:lnTo>
                  <a:pt x="3346704" y="2478138"/>
                </a:lnTo>
                <a:lnTo>
                  <a:pt x="3346704" y="2500770"/>
                </a:lnTo>
                <a:lnTo>
                  <a:pt x="3369335" y="2500770"/>
                </a:lnTo>
                <a:lnTo>
                  <a:pt x="3369335" y="2523401"/>
                </a:lnTo>
                <a:lnTo>
                  <a:pt x="3391967" y="2523401"/>
                </a:lnTo>
                <a:lnTo>
                  <a:pt x="3391967" y="2500770"/>
                </a:lnTo>
                <a:lnTo>
                  <a:pt x="3414598" y="2500770"/>
                </a:lnTo>
                <a:lnTo>
                  <a:pt x="3414598" y="2478138"/>
                </a:lnTo>
                <a:lnTo>
                  <a:pt x="3391967" y="2478138"/>
                </a:lnTo>
                <a:lnTo>
                  <a:pt x="3391967" y="2455507"/>
                </a:lnTo>
                <a:close/>
                <a:moveTo>
                  <a:pt x="3390595" y="2733599"/>
                </a:moveTo>
                <a:lnTo>
                  <a:pt x="3370707" y="2733599"/>
                </a:lnTo>
                <a:lnTo>
                  <a:pt x="3370707" y="2753830"/>
                </a:lnTo>
                <a:lnTo>
                  <a:pt x="3350476" y="2753830"/>
                </a:lnTo>
                <a:lnTo>
                  <a:pt x="3350476" y="2773718"/>
                </a:lnTo>
                <a:lnTo>
                  <a:pt x="3370707" y="2773718"/>
                </a:lnTo>
                <a:lnTo>
                  <a:pt x="3370707" y="2793949"/>
                </a:lnTo>
                <a:lnTo>
                  <a:pt x="3390595" y="2793949"/>
                </a:lnTo>
                <a:lnTo>
                  <a:pt x="3390595" y="2773718"/>
                </a:lnTo>
                <a:lnTo>
                  <a:pt x="3410827" y="2773718"/>
                </a:lnTo>
                <a:lnTo>
                  <a:pt x="3410827" y="2753830"/>
                </a:lnTo>
                <a:lnTo>
                  <a:pt x="3390595" y="2753830"/>
                </a:lnTo>
                <a:lnTo>
                  <a:pt x="3390595" y="2733599"/>
                </a:lnTo>
                <a:close/>
                <a:moveTo>
                  <a:pt x="3386480" y="3294583"/>
                </a:moveTo>
                <a:lnTo>
                  <a:pt x="3374822" y="3294583"/>
                </a:lnTo>
                <a:lnTo>
                  <a:pt x="3374822" y="3306585"/>
                </a:lnTo>
                <a:lnTo>
                  <a:pt x="3362821" y="3306585"/>
                </a:lnTo>
                <a:lnTo>
                  <a:pt x="3362821" y="3318243"/>
                </a:lnTo>
                <a:lnTo>
                  <a:pt x="3374822" y="3318243"/>
                </a:lnTo>
                <a:lnTo>
                  <a:pt x="3374822" y="3330245"/>
                </a:lnTo>
                <a:lnTo>
                  <a:pt x="3386480" y="3330245"/>
                </a:lnTo>
                <a:lnTo>
                  <a:pt x="3386480" y="3318243"/>
                </a:lnTo>
                <a:lnTo>
                  <a:pt x="3398482" y="3318243"/>
                </a:lnTo>
                <a:lnTo>
                  <a:pt x="3398482" y="3306585"/>
                </a:lnTo>
                <a:lnTo>
                  <a:pt x="3386480" y="3306585"/>
                </a:lnTo>
                <a:lnTo>
                  <a:pt x="3386480" y="3294583"/>
                </a:lnTo>
                <a:close/>
                <a:moveTo>
                  <a:pt x="3527755" y="2459965"/>
                </a:moveTo>
                <a:lnTo>
                  <a:pt x="3507867" y="2459965"/>
                </a:lnTo>
                <a:lnTo>
                  <a:pt x="3507867" y="2479510"/>
                </a:lnTo>
                <a:lnTo>
                  <a:pt x="3488322" y="2479510"/>
                </a:lnTo>
                <a:lnTo>
                  <a:pt x="3488322" y="2499398"/>
                </a:lnTo>
                <a:lnTo>
                  <a:pt x="3507867" y="2499398"/>
                </a:lnTo>
                <a:lnTo>
                  <a:pt x="3507867" y="2518943"/>
                </a:lnTo>
                <a:lnTo>
                  <a:pt x="3527755" y="2518943"/>
                </a:lnTo>
                <a:lnTo>
                  <a:pt x="3527755" y="2499398"/>
                </a:lnTo>
                <a:lnTo>
                  <a:pt x="3547301" y="2499398"/>
                </a:lnTo>
                <a:lnTo>
                  <a:pt x="3547301" y="2479510"/>
                </a:lnTo>
                <a:lnTo>
                  <a:pt x="3527755" y="2479510"/>
                </a:lnTo>
                <a:lnTo>
                  <a:pt x="3527755" y="2459965"/>
                </a:lnTo>
                <a:close/>
                <a:moveTo>
                  <a:pt x="3799675" y="2192846"/>
                </a:moveTo>
                <a:lnTo>
                  <a:pt x="3784588" y="2192846"/>
                </a:lnTo>
                <a:lnTo>
                  <a:pt x="3784588" y="2207590"/>
                </a:lnTo>
                <a:lnTo>
                  <a:pt x="3769843" y="2207590"/>
                </a:lnTo>
                <a:lnTo>
                  <a:pt x="3769843" y="2222678"/>
                </a:lnTo>
                <a:lnTo>
                  <a:pt x="3784588" y="2222678"/>
                </a:lnTo>
                <a:lnTo>
                  <a:pt x="3784588" y="2237423"/>
                </a:lnTo>
                <a:lnTo>
                  <a:pt x="3799675" y="2237423"/>
                </a:lnTo>
                <a:lnTo>
                  <a:pt x="3799675" y="2222678"/>
                </a:lnTo>
                <a:lnTo>
                  <a:pt x="3814420" y="2222678"/>
                </a:lnTo>
                <a:lnTo>
                  <a:pt x="3814420" y="2207590"/>
                </a:lnTo>
                <a:lnTo>
                  <a:pt x="3799675" y="2207590"/>
                </a:lnTo>
                <a:lnTo>
                  <a:pt x="3799675" y="2192846"/>
                </a:lnTo>
                <a:close/>
                <a:moveTo>
                  <a:pt x="3798646" y="2469566"/>
                </a:moveTo>
                <a:lnTo>
                  <a:pt x="3785616" y="2469566"/>
                </a:lnTo>
                <a:lnTo>
                  <a:pt x="3785616" y="2482939"/>
                </a:lnTo>
                <a:lnTo>
                  <a:pt x="3772243" y="2482939"/>
                </a:lnTo>
                <a:lnTo>
                  <a:pt x="3772243" y="2495969"/>
                </a:lnTo>
                <a:lnTo>
                  <a:pt x="3785616" y="2495969"/>
                </a:lnTo>
                <a:lnTo>
                  <a:pt x="3785616" y="2509342"/>
                </a:lnTo>
                <a:lnTo>
                  <a:pt x="3798646" y="2509342"/>
                </a:lnTo>
                <a:lnTo>
                  <a:pt x="3798646" y="2495969"/>
                </a:lnTo>
                <a:lnTo>
                  <a:pt x="3812020" y="2495969"/>
                </a:lnTo>
                <a:lnTo>
                  <a:pt x="3812020" y="2482939"/>
                </a:lnTo>
                <a:lnTo>
                  <a:pt x="3798646" y="2482939"/>
                </a:lnTo>
                <a:lnTo>
                  <a:pt x="3798646" y="2469566"/>
                </a:lnTo>
                <a:close/>
                <a:moveTo>
                  <a:pt x="3799675" y="1917840"/>
                </a:moveTo>
                <a:lnTo>
                  <a:pt x="3784588" y="1917840"/>
                </a:lnTo>
                <a:lnTo>
                  <a:pt x="3784588" y="1933270"/>
                </a:lnTo>
                <a:lnTo>
                  <a:pt x="3769157" y="1933270"/>
                </a:lnTo>
                <a:lnTo>
                  <a:pt x="3769157" y="1948358"/>
                </a:lnTo>
                <a:lnTo>
                  <a:pt x="3784588" y="1948358"/>
                </a:lnTo>
                <a:lnTo>
                  <a:pt x="3784588" y="1963788"/>
                </a:lnTo>
                <a:lnTo>
                  <a:pt x="3799675" y="1963788"/>
                </a:lnTo>
                <a:lnTo>
                  <a:pt x="3799675" y="1948358"/>
                </a:lnTo>
                <a:lnTo>
                  <a:pt x="3815105" y="1948358"/>
                </a:lnTo>
                <a:lnTo>
                  <a:pt x="3815105" y="1933270"/>
                </a:lnTo>
                <a:lnTo>
                  <a:pt x="3799675" y="1933270"/>
                </a:lnTo>
                <a:lnTo>
                  <a:pt x="3799675" y="1917840"/>
                </a:lnTo>
                <a:close/>
                <a:moveTo>
                  <a:pt x="3732124" y="2052599"/>
                </a:moveTo>
                <a:lnTo>
                  <a:pt x="3714979" y="2052599"/>
                </a:lnTo>
                <a:lnTo>
                  <a:pt x="3714979" y="2069402"/>
                </a:lnTo>
                <a:lnTo>
                  <a:pt x="3698177" y="2069402"/>
                </a:lnTo>
                <a:lnTo>
                  <a:pt x="3698177" y="2086547"/>
                </a:lnTo>
                <a:lnTo>
                  <a:pt x="3714979" y="2086547"/>
                </a:lnTo>
                <a:lnTo>
                  <a:pt x="3714979" y="2103349"/>
                </a:lnTo>
                <a:lnTo>
                  <a:pt x="3732124" y="2103349"/>
                </a:lnTo>
                <a:lnTo>
                  <a:pt x="3732124" y="2086547"/>
                </a:lnTo>
                <a:lnTo>
                  <a:pt x="3748926" y="2086547"/>
                </a:lnTo>
                <a:lnTo>
                  <a:pt x="3748926" y="2069402"/>
                </a:lnTo>
                <a:lnTo>
                  <a:pt x="3732124" y="2069402"/>
                </a:lnTo>
                <a:lnTo>
                  <a:pt x="3732124" y="2052599"/>
                </a:lnTo>
                <a:close/>
                <a:moveTo>
                  <a:pt x="3593249" y="2880017"/>
                </a:moveTo>
                <a:lnTo>
                  <a:pt x="3579533" y="2880017"/>
                </a:lnTo>
                <a:lnTo>
                  <a:pt x="3579533" y="2894076"/>
                </a:lnTo>
                <a:lnTo>
                  <a:pt x="3565474" y="2894076"/>
                </a:lnTo>
                <a:lnTo>
                  <a:pt x="3565474" y="2907792"/>
                </a:lnTo>
                <a:lnTo>
                  <a:pt x="3579533" y="2907792"/>
                </a:lnTo>
                <a:lnTo>
                  <a:pt x="3579533" y="2921851"/>
                </a:lnTo>
                <a:lnTo>
                  <a:pt x="3593249" y="2921851"/>
                </a:lnTo>
                <a:lnTo>
                  <a:pt x="3593249" y="2907792"/>
                </a:lnTo>
                <a:lnTo>
                  <a:pt x="3607308" y="2907792"/>
                </a:lnTo>
                <a:lnTo>
                  <a:pt x="3607308" y="2894076"/>
                </a:lnTo>
                <a:lnTo>
                  <a:pt x="3593249" y="2894076"/>
                </a:lnTo>
                <a:lnTo>
                  <a:pt x="3593249" y="2880017"/>
                </a:lnTo>
                <a:close/>
                <a:moveTo>
                  <a:pt x="3732124" y="1778279"/>
                </a:moveTo>
                <a:lnTo>
                  <a:pt x="3714979" y="1778279"/>
                </a:lnTo>
                <a:lnTo>
                  <a:pt x="3714979" y="1795082"/>
                </a:lnTo>
                <a:lnTo>
                  <a:pt x="3698177" y="1795082"/>
                </a:lnTo>
                <a:lnTo>
                  <a:pt x="3698177" y="1812227"/>
                </a:lnTo>
                <a:lnTo>
                  <a:pt x="3714979" y="1812227"/>
                </a:lnTo>
                <a:lnTo>
                  <a:pt x="3714979" y="1829029"/>
                </a:lnTo>
                <a:lnTo>
                  <a:pt x="3732124" y="1829029"/>
                </a:lnTo>
                <a:lnTo>
                  <a:pt x="3732124" y="1812227"/>
                </a:lnTo>
                <a:lnTo>
                  <a:pt x="3748926" y="1812227"/>
                </a:lnTo>
                <a:lnTo>
                  <a:pt x="3748926" y="1795082"/>
                </a:lnTo>
                <a:lnTo>
                  <a:pt x="3732124" y="1795082"/>
                </a:lnTo>
                <a:lnTo>
                  <a:pt x="3732124" y="1778279"/>
                </a:lnTo>
                <a:close/>
                <a:moveTo>
                  <a:pt x="3866884" y="2333435"/>
                </a:moveTo>
                <a:lnTo>
                  <a:pt x="3854539" y="2333435"/>
                </a:lnTo>
                <a:lnTo>
                  <a:pt x="3854539" y="2346122"/>
                </a:lnTo>
                <a:lnTo>
                  <a:pt x="3841852" y="2346122"/>
                </a:lnTo>
                <a:lnTo>
                  <a:pt x="3841852" y="2358466"/>
                </a:lnTo>
                <a:lnTo>
                  <a:pt x="3854539" y="2358466"/>
                </a:lnTo>
                <a:lnTo>
                  <a:pt x="3854539" y="2371154"/>
                </a:lnTo>
                <a:lnTo>
                  <a:pt x="3866884" y="2371154"/>
                </a:lnTo>
                <a:lnTo>
                  <a:pt x="3866884" y="2358466"/>
                </a:lnTo>
                <a:lnTo>
                  <a:pt x="3879571" y="2358466"/>
                </a:lnTo>
                <a:lnTo>
                  <a:pt x="3879571" y="2346122"/>
                </a:lnTo>
                <a:lnTo>
                  <a:pt x="3866884" y="2346122"/>
                </a:lnTo>
                <a:lnTo>
                  <a:pt x="3866884" y="2333435"/>
                </a:lnTo>
                <a:close/>
                <a:moveTo>
                  <a:pt x="3947122" y="1934985"/>
                </a:moveTo>
                <a:lnTo>
                  <a:pt x="3935120" y="1934985"/>
                </a:lnTo>
                <a:lnTo>
                  <a:pt x="3935120" y="1922983"/>
                </a:lnTo>
                <a:lnTo>
                  <a:pt x="3923462" y="1922983"/>
                </a:lnTo>
                <a:lnTo>
                  <a:pt x="3923462" y="1934985"/>
                </a:lnTo>
                <a:lnTo>
                  <a:pt x="3911461" y="1934985"/>
                </a:lnTo>
                <a:lnTo>
                  <a:pt x="3911461" y="1946643"/>
                </a:lnTo>
                <a:lnTo>
                  <a:pt x="3923462" y="1946643"/>
                </a:lnTo>
                <a:lnTo>
                  <a:pt x="3923462" y="1958645"/>
                </a:lnTo>
                <a:lnTo>
                  <a:pt x="3935120" y="1958645"/>
                </a:lnTo>
                <a:lnTo>
                  <a:pt x="3935120" y="1946643"/>
                </a:lnTo>
                <a:lnTo>
                  <a:pt x="3947122" y="1946643"/>
                </a:lnTo>
                <a:cubicBezTo>
                  <a:pt x="3947122" y="1944586"/>
                  <a:pt x="3947122" y="1942871"/>
                  <a:pt x="3947122" y="1940814"/>
                </a:cubicBezTo>
                <a:cubicBezTo>
                  <a:pt x="3947122" y="1938757"/>
                  <a:pt x="3947122" y="1937042"/>
                  <a:pt x="3947122" y="1934985"/>
                </a:cubicBezTo>
                <a:close/>
                <a:moveTo>
                  <a:pt x="3867569" y="1783423"/>
                </a:moveTo>
                <a:lnTo>
                  <a:pt x="3853853" y="1783423"/>
                </a:lnTo>
                <a:lnTo>
                  <a:pt x="3853853" y="1796796"/>
                </a:lnTo>
                <a:lnTo>
                  <a:pt x="3840480" y="1796796"/>
                </a:lnTo>
                <a:lnTo>
                  <a:pt x="3840480" y="1810512"/>
                </a:lnTo>
                <a:lnTo>
                  <a:pt x="3853853" y="1810512"/>
                </a:lnTo>
                <a:lnTo>
                  <a:pt x="3853853" y="1823885"/>
                </a:lnTo>
                <a:lnTo>
                  <a:pt x="3867569" y="1823885"/>
                </a:lnTo>
                <a:lnTo>
                  <a:pt x="3867569" y="1810512"/>
                </a:lnTo>
                <a:lnTo>
                  <a:pt x="3880942" y="1810512"/>
                </a:lnTo>
                <a:lnTo>
                  <a:pt x="3880942" y="1796796"/>
                </a:lnTo>
                <a:lnTo>
                  <a:pt x="3867569" y="1796796"/>
                </a:lnTo>
                <a:lnTo>
                  <a:pt x="3867569" y="1783423"/>
                </a:lnTo>
                <a:close/>
                <a:moveTo>
                  <a:pt x="3867569" y="2057743"/>
                </a:moveTo>
                <a:lnTo>
                  <a:pt x="3853853" y="2057743"/>
                </a:lnTo>
                <a:lnTo>
                  <a:pt x="3853853" y="2071116"/>
                </a:lnTo>
                <a:lnTo>
                  <a:pt x="3840480" y="2071116"/>
                </a:lnTo>
                <a:lnTo>
                  <a:pt x="3840480" y="2084832"/>
                </a:lnTo>
                <a:lnTo>
                  <a:pt x="3853853" y="2084832"/>
                </a:lnTo>
                <a:lnTo>
                  <a:pt x="3853853" y="2098205"/>
                </a:lnTo>
                <a:lnTo>
                  <a:pt x="3867569" y="2098205"/>
                </a:lnTo>
                <a:lnTo>
                  <a:pt x="3867569" y="2084832"/>
                </a:lnTo>
                <a:lnTo>
                  <a:pt x="3880942" y="2084832"/>
                </a:lnTo>
                <a:lnTo>
                  <a:pt x="3880942" y="2071116"/>
                </a:lnTo>
                <a:lnTo>
                  <a:pt x="3867569" y="2071116"/>
                </a:lnTo>
                <a:lnTo>
                  <a:pt x="3867569" y="2057743"/>
                </a:lnTo>
                <a:close/>
                <a:moveTo>
                  <a:pt x="3731438" y="2328634"/>
                </a:moveTo>
                <a:lnTo>
                  <a:pt x="3715664" y="2328634"/>
                </a:lnTo>
                <a:lnTo>
                  <a:pt x="3715664" y="2344407"/>
                </a:lnTo>
                <a:lnTo>
                  <a:pt x="3699891" y="2344407"/>
                </a:lnTo>
                <a:lnTo>
                  <a:pt x="3699891" y="2360181"/>
                </a:lnTo>
                <a:lnTo>
                  <a:pt x="3715664" y="2360181"/>
                </a:lnTo>
                <a:lnTo>
                  <a:pt x="3715664" y="2375954"/>
                </a:lnTo>
                <a:lnTo>
                  <a:pt x="3731438" y="2375954"/>
                </a:lnTo>
                <a:lnTo>
                  <a:pt x="3731438" y="2360181"/>
                </a:lnTo>
                <a:lnTo>
                  <a:pt x="3747211" y="2360181"/>
                </a:lnTo>
                <a:lnTo>
                  <a:pt x="3747211" y="2344407"/>
                </a:lnTo>
                <a:lnTo>
                  <a:pt x="3731438" y="2344407"/>
                </a:lnTo>
                <a:lnTo>
                  <a:pt x="3731438" y="2328634"/>
                </a:lnTo>
                <a:close/>
                <a:moveTo>
                  <a:pt x="3596335" y="1773479"/>
                </a:moveTo>
                <a:lnTo>
                  <a:pt x="3576447" y="1773479"/>
                </a:lnTo>
                <a:lnTo>
                  <a:pt x="3576447" y="1793710"/>
                </a:lnTo>
                <a:lnTo>
                  <a:pt x="3556216" y="1793710"/>
                </a:lnTo>
                <a:lnTo>
                  <a:pt x="3556216" y="1813598"/>
                </a:lnTo>
                <a:lnTo>
                  <a:pt x="3576447" y="1813598"/>
                </a:lnTo>
                <a:lnTo>
                  <a:pt x="3576447" y="1833829"/>
                </a:lnTo>
                <a:lnTo>
                  <a:pt x="3596335" y="1833829"/>
                </a:lnTo>
                <a:lnTo>
                  <a:pt x="3596335" y="1813598"/>
                </a:lnTo>
                <a:lnTo>
                  <a:pt x="3616567" y="1813598"/>
                </a:lnTo>
                <a:lnTo>
                  <a:pt x="3616567" y="1793710"/>
                </a:lnTo>
                <a:lnTo>
                  <a:pt x="3596335" y="1793710"/>
                </a:lnTo>
                <a:lnTo>
                  <a:pt x="3596335" y="1773479"/>
                </a:lnTo>
                <a:close/>
                <a:moveTo>
                  <a:pt x="3595993" y="2323833"/>
                </a:moveTo>
                <a:lnTo>
                  <a:pt x="3576790" y="2323833"/>
                </a:lnTo>
                <a:lnTo>
                  <a:pt x="3576790" y="2342693"/>
                </a:lnTo>
                <a:lnTo>
                  <a:pt x="3557930" y="2342693"/>
                </a:lnTo>
                <a:lnTo>
                  <a:pt x="3557930" y="2361895"/>
                </a:lnTo>
                <a:lnTo>
                  <a:pt x="3576790" y="2361895"/>
                </a:lnTo>
                <a:lnTo>
                  <a:pt x="3576790" y="2380755"/>
                </a:lnTo>
                <a:lnTo>
                  <a:pt x="3595993" y="2380755"/>
                </a:lnTo>
                <a:lnTo>
                  <a:pt x="3595993" y="2361895"/>
                </a:lnTo>
                <a:lnTo>
                  <a:pt x="3614852" y="2361895"/>
                </a:lnTo>
                <a:lnTo>
                  <a:pt x="3614852" y="2342693"/>
                </a:lnTo>
                <a:lnTo>
                  <a:pt x="3595993" y="2342693"/>
                </a:lnTo>
                <a:lnTo>
                  <a:pt x="3595993" y="2323833"/>
                </a:lnTo>
                <a:close/>
                <a:moveTo>
                  <a:pt x="3596335" y="2047799"/>
                </a:moveTo>
                <a:lnTo>
                  <a:pt x="3576447" y="2047799"/>
                </a:lnTo>
                <a:lnTo>
                  <a:pt x="3576447" y="2068030"/>
                </a:lnTo>
                <a:lnTo>
                  <a:pt x="3556216" y="2068030"/>
                </a:lnTo>
                <a:lnTo>
                  <a:pt x="3556216" y="2087918"/>
                </a:lnTo>
                <a:lnTo>
                  <a:pt x="3576447" y="2087918"/>
                </a:lnTo>
                <a:lnTo>
                  <a:pt x="3576447" y="2108149"/>
                </a:lnTo>
                <a:lnTo>
                  <a:pt x="3596335" y="2108149"/>
                </a:lnTo>
                <a:lnTo>
                  <a:pt x="3596335" y="2087918"/>
                </a:lnTo>
                <a:lnTo>
                  <a:pt x="3616567" y="2087918"/>
                </a:lnTo>
                <a:lnTo>
                  <a:pt x="3616567" y="2068030"/>
                </a:lnTo>
                <a:lnTo>
                  <a:pt x="3596335" y="2068030"/>
                </a:lnTo>
                <a:lnTo>
                  <a:pt x="3596335" y="2047799"/>
                </a:lnTo>
                <a:close/>
                <a:moveTo>
                  <a:pt x="3730409" y="2606040"/>
                </a:moveTo>
                <a:lnTo>
                  <a:pt x="3716693" y="2606040"/>
                </a:lnTo>
                <a:lnTo>
                  <a:pt x="3716693" y="2619756"/>
                </a:lnTo>
                <a:lnTo>
                  <a:pt x="3702977" y="2619756"/>
                </a:lnTo>
                <a:lnTo>
                  <a:pt x="3702977" y="2633472"/>
                </a:lnTo>
                <a:lnTo>
                  <a:pt x="3716693" y="2633472"/>
                </a:lnTo>
                <a:lnTo>
                  <a:pt x="3716693" y="2647188"/>
                </a:lnTo>
                <a:lnTo>
                  <a:pt x="3730409" y="2647188"/>
                </a:lnTo>
                <a:lnTo>
                  <a:pt x="3730409" y="2633472"/>
                </a:lnTo>
                <a:lnTo>
                  <a:pt x="3744125" y="2633472"/>
                </a:lnTo>
                <a:lnTo>
                  <a:pt x="3744125" y="2619756"/>
                </a:lnTo>
                <a:lnTo>
                  <a:pt x="3730409" y="2619756"/>
                </a:lnTo>
                <a:lnTo>
                  <a:pt x="3730409" y="2606040"/>
                </a:lnTo>
                <a:close/>
                <a:moveTo>
                  <a:pt x="3594964" y="2600897"/>
                </a:moveTo>
                <a:lnTo>
                  <a:pt x="3577819" y="2600897"/>
                </a:lnTo>
                <a:lnTo>
                  <a:pt x="3577819" y="2618042"/>
                </a:lnTo>
                <a:lnTo>
                  <a:pt x="3560674" y="2618042"/>
                </a:lnTo>
                <a:lnTo>
                  <a:pt x="3560674" y="2635187"/>
                </a:lnTo>
                <a:lnTo>
                  <a:pt x="3577819" y="2635187"/>
                </a:lnTo>
                <a:lnTo>
                  <a:pt x="3577819" y="2652332"/>
                </a:lnTo>
                <a:lnTo>
                  <a:pt x="3594964" y="2652332"/>
                </a:lnTo>
                <a:lnTo>
                  <a:pt x="3594964" y="2635187"/>
                </a:lnTo>
                <a:lnTo>
                  <a:pt x="3612109" y="2635187"/>
                </a:lnTo>
                <a:lnTo>
                  <a:pt x="3612109" y="2618042"/>
                </a:lnTo>
                <a:lnTo>
                  <a:pt x="3594964" y="2618042"/>
                </a:lnTo>
                <a:lnTo>
                  <a:pt x="3594964" y="2600897"/>
                </a:lnTo>
                <a:close/>
                <a:moveTo>
                  <a:pt x="3664229" y="1913039"/>
                </a:moveTo>
                <a:lnTo>
                  <a:pt x="3645713" y="1913039"/>
                </a:lnTo>
                <a:lnTo>
                  <a:pt x="3645713" y="1931556"/>
                </a:lnTo>
                <a:lnTo>
                  <a:pt x="3627196" y="1931556"/>
                </a:lnTo>
                <a:lnTo>
                  <a:pt x="3627196" y="1950072"/>
                </a:lnTo>
                <a:lnTo>
                  <a:pt x="3645713" y="1950072"/>
                </a:lnTo>
                <a:lnTo>
                  <a:pt x="3645713" y="1968589"/>
                </a:lnTo>
                <a:lnTo>
                  <a:pt x="3664229" y="1968589"/>
                </a:lnTo>
                <a:lnTo>
                  <a:pt x="3664229" y="1950072"/>
                </a:lnTo>
                <a:lnTo>
                  <a:pt x="3682746" y="1950072"/>
                </a:lnTo>
                <a:lnTo>
                  <a:pt x="3682746" y="1931556"/>
                </a:lnTo>
                <a:lnTo>
                  <a:pt x="3664229" y="1931556"/>
                </a:lnTo>
                <a:lnTo>
                  <a:pt x="3664229" y="1913039"/>
                </a:lnTo>
                <a:close/>
                <a:moveTo>
                  <a:pt x="3663887" y="2188045"/>
                </a:moveTo>
                <a:lnTo>
                  <a:pt x="3646056" y="2188045"/>
                </a:lnTo>
                <a:lnTo>
                  <a:pt x="3646056" y="2206219"/>
                </a:lnTo>
                <a:lnTo>
                  <a:pt x="3627882" y="2206219"/>
                </a:lnTo>
                <a:lnTo>
                  <a:pt x="3627882" y="2224049"/>
                </a:lnTo>
                <a:lnTo>
                  <a:pt x="3646056" y="2224049"/>
                </a:lnTo>
                <a:lnTo>
                  <a:pt x="3646056" y="2242223"/>
                </a:lnTo>
                <a:lnTo>
                  <a:pt x="3663887" y="2242223"/>
                </a:lnTo>
                <a:lnTo>
                  <a:pt x="3663887" y="2224049"/>
                </a:lnTo>
                <a:lnTo>
                  <a:pt x="3682060" y="2224049"/>
                </a:lnTo>
                <a:lnTo>
                  <a:pt x="3682060" y="2206219"/>
                </a:lnTo>
                <a:lnTo>
                  <a:pt x="3663887" y="2206219"/>
                </a:lnTo>
                <a:lnTo>
                  <a:pt x="3663887" y="2188045"/>
                </a:lnTo>
                <a:close/>
                <a:moveTo>
                  <a:pt x="3661829" y="2742857"/>
                </a:moveTo>
                <a:lnTo>
                  <a:pt x="3648113" y="2742857"/>
                </a:lnTo>
                <a:lnTo>
                  <a:pt x="3648113" y="2756916"/>
                </a:lnTo>
                <a:lnTo>
                  <a:pt x="3634054" y="2756916"/>
                </a:lnTo>
                <a:lnTo>
                  <a:pt x="3634054" y="2770632"/>
                </a:lnTo>
                <a:lnTo>
                  <a:pt x="3648113" y="2770632"/>
                </a:lnTo>
                <a:lnTo>
                  <a:pt x="3648113" y="2784691"/>
                </a:lnTo>
                <a:lnTo>
                  <a:pt x="3661829" y="2784691"/>
                </a:lnTo>
                <a:lnTo>
                  <a:pt x="3661829" y="2770632"/>
                </a:lnTo>
                <a:lnTo>
                  <a:pt x="3675888" y="2770632"/>
                </a:lnTo>
                <a:lnTo>
                  <a:pt x="3675888" y="2756916"/>
                </a:lnTo>
                <a:lnTo>
                  <a:pt x="3661829" y="2756916"/>
                </a:lnTo>
                <a:lnTo>
                  <a:pt x="3661829" y="2742857"/>
                </a:lnTo>
                <a:close/>
                <a:moveTo>
                  <a:pt x="3663201" y="2464422"/>
                </a:moveTo>
                <a:lnTo>
                  <a:pt x="3646742" y="2464422"/>
                </a:lnTo>
                <a:lnTo>
                  <a:pt x="3646742" y="2481224"/>
                </a:lnTo>
                <a:lnTo>
                  <a:pt x="3629939" y="2481224"/>
                </a:lnTo>
                <a:lnTo>
                  <a:pt x="3629939" y="2497684"/>
                </a:lnTo>
                <a:lnTo>
                  <a:pt x="3646742" y="2497684"/>
                </a:lnTo>
                <a:lnTo>
                  <a:pt x="3646742" y="2514486"/>
                </a:lnTo>
                <a:lnTo>
                  <a:pt x="3663201" y="2514486"/>
                </a:lnTo>
                <a:lnTo>
                  <a:pt x="3663201" y="2497684"/>
                </a:lnTo>
                <a:lnTo>
                  <a:pt x="3680003" y="2497684"/>
                </a:lnTo>
                <a:lnTo>
                  <a:pt x="3680003" y="2481224"/>
                </a:lnTo>
                <a:lnTo>
                  <a:pt x="3663201" y="2481224"/>
                </a:lnTo>
                <a:lnTo>
                  <a:pt x="3663201" y="2464422"/>
                </a:lnTo>
                <a:close/>
                <a:moveTo>
                  <a:pt x="3528784" y="1907896"/>
                </a:moveTo>
                <a:lnTo>
                  <a:pt x="3506839" y="1907896"/>
                </a:lnTo>
                <a:lnTo>
                  <a:pt x="3506839" y="1929841"/>
                </a:lnTo>
                <a:lnTo>
                  <a:pt x="3484893" y="1929841"/>
                </a:lnTo>
                <a:lnTo>
                  <a:pt x="3484893" y="1951787"/>
                </a:lnTo>
                <a:lnTo>
                  <a:pt x="3506839" y="1951787"/>
                </a:lnTo>
                <a:lnTo>
                  <a:pt x="3506839" y="1973732"/>
                </a:lnTo>
                <a:lnTo>
                  <a:pt x="3528784" y="1973732"/>
                </a:lnTo>
                <a:lnTo>
                  <a:pt x="3528784" y="1951787"/>
                </a:lnTo>
                <a:lnTo>
                  <a:pt x="3550730" y="1951787"/>
                </a:lnTo>
                <a:lnTo>
                  <a:pt x="3550730" y="1929841"/>
                </a:lnTo>
                <a:lnTo>
                  <a:pt x="3528784" y="1929841"/>
                </a:lnTo>
                <a:lnTo>
                  <a:pt x="3528784" y="1907896"/>
                </a:lnTo>
                <a:close/>
                <a:moveTo>
                  <a:pt x="2362924" y="3416313"/>
                </a:moveTo>
                <a:lnTo>
                  <a:pt x="2340979" y="3416313"/>
                </a:lnTo>
                <a:lnTo>
                  <a:pt x="2340979" y="3438601"/>
                </a:lnTo>
                <a:lnTo>
                  <a:pt x="2318690" y="3438601"/>
                </a:lnTo>
                <a:lnTo>
                  <a:pt x="2318690" y="3460547"/>
                </a:lnTo>
                <a:lnTo>
                  <a:pt x="2340979" y="3460547"/>
                </a:lnTo>
                <a:lnTo>
                  <a:pt x="2340979" y="3482835"/>
                </a:lnTo>
                <a:lnTo>
                  <a:pt x="2362924" y="3482835"/>
                </a:lnTo>
                <a:lnTo>
                  <a:pt x="2362924" y="3460547"/>
                </a:lnTo>
                <a:lnTo>
                  <a:pt x="2385212" y="3460547"/>
                </a:lnTo>
                <a:lnTo>
                  <a:pt x="2385212" y="3438601"/>
                </a:lnTo>
                <a:lnTo>
                  <a:pt x="2362924" y="3438601"/>
                </a:lnTo>
                <a:lnTo>
                  <a:pt x="2362924" y="3416313"/>
                </a:lnTo>
                <a:close/>
                <a:moveTo>
                  <a:pt x="2426704" y="3842880"/>
                </a:moveTo>
                <a:lnTo>
                  <a:pt x="2414359" y="3842880"/>
                </a:lnTo>
                <a:lnTo>
                  <a:pt x="2414359" y="3854882"/>
                </a:lnTo>
                <a:lnTo>
                  <a:pt x="2402357" y="3854882"/>
                </a:lnTo>
                <a:lnTo>
                  <a:pt x="2402357" y="3867226"/>
                </a:lnTo>
                <a:lnTo>
                  <a:pt x="2414359" y="3867226"/>
                </a:lnTo>
                <a:lnTo>
                  <a:pt x="2414359" y="3879228"/>
                </a:lnTo>
                <a:lnTo>
                  <a:pt x="2426704" y="3879228"/>
                </a:lnTo>
                <a:lnTo>
                  <a:pt x="2426704" y="3867226"/>
                </a:lnTo>
                <a:lnTo>
                  <a:pt x="2438705" y="3867226"/>
                </a:lnTo>
                <a:lnTo>
                  <a:pt x="2438705" y="3854882"/>
                </a:lnTo>
                <a:lnTo>
                  <a:pt x="2426704" y="3854882"/>
                </a:lnTo>
                <a:lnTo>
                  <a:pt x="2426704" y="3842880"/>
                </a:lnTo>
                <a:close/>
                <a:moveTo>
                  <a:pt x="2289886" y="3841852"/>
                </a:moveTo>
                <a:lnTo>
                  <a:pt x="2276856" y="3841852"/>
                </a:lnTo>
                <a:lnTo>
                  <a:pt x="2276856" y="3854539"/>
                </a:lnTo>
                <a:lnTo>
                  <a:pt x="2264169" y="3854539"/>
                </a:lnTo>
                <a:lnTo>
                  <a:pt x="2264169" y="3867569"/>
                </a:lnTo>
                <a:lnTo>
                  <a:pt x="2276856" y="3867569"/>
                </a:lnTo>
                <a:lnTo>
                  <a:pt x="2276856" y="3880256"/>
                </a:lnTo>
                <a:lnTo>
                  <a:pt x="2289886" y="3880256"/>
                </a:lnTo>
                <a:lnTo>
                  <a:pt x="2289886" y="3867569"/>
                </a:lnTo>
                <a:lnTo>
                  <a:pt x="2302574" y="3867569"/>
                </a:lnTo>
                <a:lnTo>
                  <a:pt x="2302574" y="3854539"/>
                </a:lnTo>
                <a:lnTo>
                  <a:pt x="2289886" y="3854539"/>
                </a:lnTo>
                <a:lnTo>
                  <a:pt x="2289886" y="3841852"/>
                </a:lnTo>
                <a:close/>
                <a:moveTo>
                  <a:pt x="3185884" y="2867673"/>
                </a:moveTo>
                <a:lnTo>
                  <a:pt x="3163939" y="2867673"/>
                </a:lnTo>
                <a:lnTo>
                  <a:pt x="3163939" y="2889961"/>
                </a:lnTo>
                <a:lnTo>
                  <a:pt x="3141650" y="2889961"/>
                </a:lnTo>
                <a:lnTo>
                  <a:pt x="3141650" y="2911907"/>
                </a:lnTo>
                <a:lnTo>
                  <a:pt x="3163939" y="2911907"/>
                </a:lnTo>
                <a:lnTo>
                  <a:pt x="3163939" y="2934195"/>
                </a:lnTo>
                <a:lnTo>
                  <a:pt x="3185884" y="2934195"/>
                </a:lnTo>
                <a:lnTo>
                  <a:pt x="3185884" y="2911907"/>
                </a:lnTo>
                <a:lnTo>
                  <a:pt x="3208172" y="2911907"/>
                </a:lnTo>
                <a:lnTo>
                  <a:pt x="3208172" y="2889961"/>
                </a:lnTo>
                <a:lnTo>
                  <a:pt x="3185884" y="2889961"/>
                </a:lnTo>
                <a:lnTo>
                  <a:pt x="3185884" y="2867673"/>
                </a:lnTo>
                <a:close/>
                <a:moveTo>
                  <a:pt x="2359838" y="3700234"/>
                </a:moveTo>
                <a:lnTo>
                  <a:pt x="2344064" y="3700234"/>
                </a:lnTo>
                <a:lnTo>
                  <a:pt x="2344064" y="3716007"/>
                </a:lnTo>
                <a:lnTo>
                  <a:pt x="2328291" y="3716007"/>
                </a:lnTo>
                <a:lnTo>
                  <a:pt x="2328291" y="3731781"/>
                </a:lnTo>
                <a:lnTo>
                  <a:pt x="2344064" y="3731781"/>
                </a:lnTo>
                <a:lnTo>
                  <a:pt x="2344064" y="3747554"/>
                </a:lnTo>
                <a:lnTo>
                  <a:pt x="2359838" y="3747554"/>
                </a:lnTo>
                <a:lnTo>
                  <a:pt x="2359838" y="3731781"/>
                </a:lnTo>
                <a:lnTo>
                  <a:pt x="2375611" y="3731781"/>
                </a:lnTo>
                <a:lnTo>
                  <a:pt x="2375611" y="3716007"/>
                </a:lnTo>
                <a:lnTo>
                  <a:pt x="2359838" y="3716007"/>
                </a:lnTo>
                <a:lnTo>
                  <a:pt x="2359838" y="3700234"/>
                </a:lnTo>
                <a:close/>
                <a:moveTo>
                  <a:pt x="2292973" y="3557588"/>
                </a:moveTo>
                <a:lnTo>
                  <a:pt x="2273770" y="3557588"/>
                </a:lnTo>
                <a:lnTo>
                  <a:pt x="2273770" y="3577133"/>
                </a:lnTo>
                <a:lnTo>
                  <a:pt x="2254225" y="3577133"/>
                </a:lnTo>
                <a:lnTo>
                  <a:pt x="2254225" y="3596335"/>
                </a:lnTo>
                <a:lnTo>
                  <a:pt x="2273770" y="3596335"/>
                </a:lnTo>
                <a:lnTo>
                  <a:pt x="2273770" y="3615881"/>
                </a:lnTo>
                <a:lnTo>
                  <a:pt x="2292973" y="3615881"/>
                </a:lnTo>
                <a:lnTo>
                  <a:pt x="2292973" y="3596335"/>
                </a:lnTo>
                <a:lnTo>
                  <a:pt x="2312518" y="3596335"/>
                </a:lnTo>
                <a:lnTo>
                  <a:pt x="2312518" y="3577133"/>
                </a:lnTo>
                <a:lnTo>
                  <a:pt x="2292973" y="3577133"/>
                </a:lnTo>
                <a:lnTo>
                  <a:pt x="2292973" y="3557588"/>
                </a:lnTo>
                <a:close/>
                <a:moveTo>
                  <a:pt x="2566607" y="3560331"/>
                </a:moveTo>
                <a:lnTo>
                  <a:pt x="2548776" y="3560331"/>
                </a:lnTo>
                <a:lnTo>
                  <a:pt x="2548776" y="3577819"/>
                </a:lnTo>
                <a:lnTo>
                  <a:pt x="2531288" y="3577819"/>
                </a:lnTo>
                <a:lnTo>
                  <a:pt x="2531288" y="3595649"/>
                </a:lnTo>
                <a:lnTo>
                  <a:pt x="2548776" y="3595649"/>
                </a:lnTo>
                <a:lnTo>
                  <a:pt x="2548776" y="3613137"/>
                </a:lnTo>
                <a:lnTo>
                  <a:pt x="2566607" y="3613137"/>
                </a:lnTo>
                <a:lnTo>
                  <a:pt x="2566607" y="3595649"/>
                </a:lnTo>
                <a:lnTo>
                  <a:pt x="2584094" y="3595649"/>
                </a:lnTo>
                <a:lnTo>
                  <a:pt x="2584094" y="3577819"/>
                </a:lnTo>
                <a:lnTo>
                  <a:pt x="2566607" y="3577819"/>
                </a:lnTo>
                <a:lnTo>
                  <a:pt x="2566607" y="3560331"/>
                </a:lnTo>
                <a:close/>
                <a:moveTo>
                  <a:pt x="2569350" y="3277438"/>
                </a:moveTo>
                <a:lnTo>
                  <a:pt x="2546033" y="3277438"/>
                </a:lnTo>
                <a:lnTo>
                  <a:pt x="2546033" y="3300755"/>
                </a:lnTo>
                <a:lnTo>
                  <a:pt x="2522716" y="3300755"/>
                </a:lnTo>
                <a:lnTo>
                  <a:pt x="2522716" y="3324073"/>
                </a:lnTo>
                <a:lnTo>
                  <a:pt x="2546033" y="3324073"/>
                </a:lnTo>
                <a:lnTo>
                  <a:pt x="2546033" y="3347390"/>
                </a:lnTo>
                <a:lnTo>
                  <a:pt x="2569350" y="3347390"/>
                </a:lnTo>
                <a:lnTo>
                  <a:pt x="2569350" y="3324073"/>
                </a:lnTo>
                <a:lnTo>
                  <a:pt x="2592667" y="3324073"/>
                </a:lnTo>
                <a:lnTo>
                  <a:pt x="2592667" y="3300755"/>
                </a:lnTo>
                <a:lnTo>
                  <a:pt x="2569350" y="3300755"/>
                </a:lnTo>
                <a:lnTo>
                  <a:pt x="2569350" y="3277438"/>
                </a:lnTo>
                <a:close/>
                <a:moveTo>
                  <a:pt x="2496655" y="3701263"/>
                </a:moveTo>
                <a:lnTo>
                  <a:pt x="2481568" y="3701263"/>
                </a:lnTo>
                <a:lnTo>
                  <a:pt x="2481568" y="3716350"/>
                </a:lnTo>
                <a:lnTo>
                  <a:pt x="2466480" y="3716350"/>
                </a:lnTo>
                <a:lnTo>
                  <a:pt x="2466480" y="3731438"/>
                </a:lnTo>
                <a:lnTo>
                  <a:pt x="2481568" y="3731438"/>
                </a:lnTo>
                <a:lnTo>
                  <a:pt x="2481568" y="3746525"/>
                </a:lnTo>
                <a:lnTo>
                  <a:pt x="2496655" y="3746525"/>
                </a:lnTo>
                <a:lnTo>
                  <a:pt x="2496655" y="3731438"/>
                </a:lnTo>
                <a:lnTo>
                  <a:pt x="2511743" y="3731438"/>
                </a:lnTo>
                <a:lnTo>
                  <a:pt x="2511743" y="3716350"/>
                </a:lnTo>
                <a:lnTo>
                  <a:pt x="2496655" y="3716350"/>
                </a:lnTo>
                <a:lnTo>
                  <a:pt x="2496655" y="3701263"/>
                </a:lnTo>
                <a:close/>
                <a:moveTo>
                  <a:pt x="2499741" y="3417684"/>
                </a:moveTo>
                <a:lnTo>
                  <a:pt x="2478481" y="3417684"/>
                </a:lnTo>
                <a:lnTo>
                  <a:pt x="2478481" y="3438944"/>
                </a:lnTo>
                <a:lnTo>
                  <a:pt x="2457221" y="3438944"/>
                </a:lnTo>
                <a:lnTo>
                  <a:pt x="2457221" y="3460204"/>
                </a:lnTo>
                <a:lnTo>
                  <a:pt x="2478481" y="3460204"/>
                </a:lnTo>
                <a:lnTo>
                  <a:pt x="2478481" y="3481464"/>
                </a:lnTo>
                <a:lnTo>
                  <a:pt x="2499741" y="3481464"/>
                </a:lnTo>
                <a:lnTo>
                  <a:pt x="2499741" y="3460204"/>
                </a:lnTo>
                <a:lnTo>
                  <a:pt x="2521001" y="3460204"/>
                </a:lnTo>
                <a:lnTo>
                  <a:pt x="2521001" y="3438944"/>
                </a:lnTo>
                <a:lnTo>
                  <a:pt x="2499741" y="3438944"/>
                </a:lnTo>
                <a:lnTo>
                  <a:pt x="2499741" y="3417684"/>
                </a:lnTo>
                <a:close/>
                <a:moveTo>
                  <a:pt x="1952130" y="3414598"/>
                </a:moveTo>
                <a:lnTo>
                  <a:pt x="1928812" y="3414598"/>
                </a:lnTo>
                <a:lnTo>
                  <a:pt x="1928812" y="3437915"/>
                </a:lnTo>
                <a:lnTo>
                  <a:pt x="1905495" y="3437915"/>
                </a:lnTo>
                <a:lnTo>
                  <a:pt x="1905495" y="3461233"/>
                </a:lnTo>
                <a:lnTo>
                  <a:pt x="1928812" y="3461233"/>
                </a:lnTo>
                <a:lnTo>
                  <a:pt x="1928812" y="3484550"/>
                </a:lnTo>
                <a:lnTo>
                  <a:pt x="1952130" y="3484550"/>
                </a:lnTo>
                <a:lnTo>
                  <a:pt x="1952130" y="3461233"/>
                </a:lnTo>
                <a:lnTo>
                  <a:pt x="1975447" y="3461233"/>
                </a:lnTo>
                <a:lnTo>
                  <a:pt x="1975447" y="3437915"/>
                </a:lnTo>
                <a:lnTo>
                  <a:pt x="1952130" y="3437915"/>
                </a:lnTo>
                <a:lnTo>
                  <a:pt x="1952130" y="3414598"/>
                </a:lnTo>
                <a:close/>
                <a:moveTo>
                  <a:pt x="2019338" y="3556216"/>
                </a:moveTo>
                <a:lnTo>
                  <a:pt x="1998764" y="3556216"/>
                </a:lnTo>
                <a:lnTo>
                  <a:pt x="1998764" y="3576447"/>
                </a:lnTo>
                <a:lnTo>
                  <a:pt x="1978533" y="3576447"/>
                </a:lnTo>
                <a:lnTo>
                  <a:pt x="1978533" y="3597021"/>
                </a:lnTo>
                <a:lnTo>
                  <a:pt x="1998764" y="3597021"/>
                </a:lnTo>
                <a:lnTo>
                  <a:pt x="1998764" y="3617252"/>
                </a:lnTo>
                <a:lnTo>
                  <a:pt x="2019338" y="3617252"/>
                </a:lnTo>
                <a:lnTo>
                  <a:pt x="2019338" y="3597021"/>
                </a:lnTo>
                <a:lnTo>
                  <a:pt x="2039569" y="3597021"/>
                </a:lnTo>
                <a:lnTo>
                  <a:pt x="2039569" y="3576447"/>
                </a:lnTo>
                <a:lnTo>
                  <a:pt x="2019338" y="3576447"/>
                </a:lnTo>
                <a:lnTo>
                  <a:pt x="2019338" y="3556216"/>
                </a:lnTo>
                <a:close/>
                <a:moveTo>
                  <a:pt x="2015909" y="3840823"/>
                </a:moveTo>
                <a:lnTo>
                  <a:pt x="2002193" y="3840823"/>
                </a:lnTo>
                <a:lnTo>
                  <a:pt x="2002193" y="3854196"/>
                </a:lnTo>
                <a:lnTo>
                  <a:pt x="1988820" y="3854196"/>
                </a:lnTo>
                <a:lnTo>
                  <a:pt x="1988820" y="3867912"/>
                </a:lnTo>
                <a:lnTo>
                  <a:pt x="2002193" y="3867912"/>
                </a:lnTo>
                <a:lnTo>
                  <a:pt x="2002193" y="3881285"/>
                </a:lnTo>
                <a:lnTo>
                  <a:pt x="2015909" y="3881285"/>
                </a:lnTo>
                <a:lnTo>
                  <a:pt x="2015909" y="3867912"/>
                </a:lnTo>
                <a:lnTo>
                  <a:pt x="2029282" y="3867912"/>
                </a:lnTo>
                <a:lnTo>
                  <a:pt x="2029282" y="3854196"/>
                </a:lnTo>
                <a:lnTo>
                  <a:pt x="2015909" y="3854196"/>
                </a:lnTo>
                <a:lnTo>
                  <a:pt x="2015909" y="3840823"/>
                </a:lnTo>
                <a:close/>
                <a:moveTo>
                  <a:pt x="2086204" y="3698519"/>
                </a:moveTo>
                <a:lnTo>
                  <a:pt x="2069059" y="3698519"/>
                </a:lnTo>
                <a:lnTo>
                  <a:pt x="2069059" y="3715322"/>
                </a:lnTo>
                <a:lnTo>
                  <a:pt x="2052256" y="3715322"/>
                </a:lnTo>
                <a:lnTo>
                  <a:pt x="2052256" y="3732467"/>
                </a:lnTo>
                <a:lnTo>
                  <a:pt x="2069059" y="3732467"/>
                </a:lnTo>
                <a:lnTo>
                  <a:pt x="2069059" y="3749269"/>
                </a:lnTo>
                <a:lnTo>
                  <a:pt x="2086204" y="3749269"/>
                </a:lnTo>
                <a:lnTo>
                  <a:pt x="2086204" y="3732467"/>
                </a:lnTo>
                <a:lnTo>
                  <a:pt x="2103006" y="3732467"/>
                </a:lnTo>
                <a:lnTo>
                  <a:pt x="2103006" y="3715322"/>
                </a:lnTo>
                <a:lnTo>
                  <a:pt x="2086204" y="3715322"/>
                </a:lnTo>
                <a:lnTo>
                  <a:pt x="2086204" y="3698519"/>
                </a:lnTo>
                <a:close/>
                <a:moveTo>
                  <a:pt x="2633129" y="3703320"/>
                </a:moveTo>
                <a:lnTo>
                  <a:pt x="2619413" y="3703320"/>
                </a:lnTo>
                <a:lnTo>
                  <a:pt x="2619413" y="3717036"/>
                </a:lnTo>
                <a:lnTo>
                  <a:pt x="2605697" y="3717036"/>
                </a:lnTo>
                <a:lnTo>
                  <a:pt x="2605697" y="3730752"/>
                </a:lnTo>
                <a:lnTo>
                  <a:pt x="2619413" y="3730752"/>
                </a:lnTo>
                <a:lnTo>
                  <a:pt x="2619413" y="3744468"/>
                </a:lnTo>
                <a:lnTo>
                  <a:pt x="2633129" y="3744468"/>
                </a:lnTo>
                <a:lnTo>
                  <a:pt x="2633129" y="3730752"/>
                </a:lnTo>
                <a:lnTo>
                  <a:pt x="2646845" y="3730752"/>
                </a:lnTo>
                <a:lnTo>
                  <a:pt x="2646845" y="3717036"/>
                </a:lnTo>
                <a:lnTo>
                  <a:pt x="2633129" y="3717036"/>
                </a:lnTo>
                <a:lnTo>
                  <a:pt x="2633129" y="3703320"/>
                </a:lnTo>
                <a:close/>
                <a:moveTo>
                  <a:pt x="2156155" y="3556559"/>
                </a:moveTo>
                <a:lnTo>
                  <a:pt x="2136267" y="3556559"/>
                </a:lnTo>
                <a:lnTo>
                  <a:pt x="2136267" y="3576790"/>
                </a:lnTo>
                <a:lnTo>
                  <a:pt x="2116036" y="3576790"/>
                </a:lnTo>
                <a:lnTo>
                  <a:pt x="2116036" y="3596678"/>
                </a:lnTo>
                <a:lnTo>
                  <a:pt x="2136267" y="3596678"/>
                </a:lnTo>
                <a:lnTo>
                  <a:pt x="2136267" y="3616909"/>
                </a:lnTo>
                <a:lnTo>
                  <a:pt x="2156155" y="3616909"/>
                </a:lnTo>
                <a:lnTo>
                  <a:pt x="2156155" y="3596678"/>
                </a:lnTo>
                <a:lnTo>
                  <a:pt x="2176387" y="3596678"/>
                </a:lnTo>
                <a:lnTo>
                  <a:pt x="2176387" y="3576790"/>
                </a:lnTo>
                <a:lnTo>
                  <a:pt x="2156155" y="3576790"/>
                </a:lnTo>
                <a:lnTo>
                  <a:pt x="2156155" y="3556559"/>
                </a:lnTo>
                <a:close/>
                <a:moveTo>
                  <a:pt x="2223021" y="3699205"/>
                </a:moveTo>
                <a:lnTo>
                  <a:pt x="2206562" y="3699205"/>
                </a:lnTo>
                <a:lnTo>
                  <a:pt x="2206562" y="3715664"/>
                </a:lnTo>
                <a:lnTo>
                  <a:pt x="2190103" y="3715664"/>
                </a:lnTo>
                <a:lnTo>
                  <a:pt x="2190103" y="3732124"/>
                </a:lnTo>
                <a:lnTo>
                  <a:pt x="2206562" y="3732124"/>
                </a:lnTo>
                <a:lnTo>
                  <a:pt x="2206562" y="3748583"/>
                </a:lnTo>
                <a:lnTo>
                  <a:pt x="2223021" y="3748583"/>
                </a:lnTo>
                <a:lnTo>
                  <a:pt x="2223021" y="3732124"/>
                </a:lnTo>
                <a:lnTo>
                  <a:pt x="2239480" y="3732124"/>
                </a:lnTo>
                <a:lnTo>
                  <a:pt x="2239480" y="3715664"/>
                </a:lnTo>
                <a:lnTo>
                  <a:pt x="2223021" y="3715664"/>
                </a:lnTo>
                <a:lnTo>
                  <a:pt x="2223021" y="3699205"/>
                </a:lnTo>
                <a:close/>
                <a:moveTo>
                  <a:pt x="2089290" y="3414598"/>
                </a:moveTo>
                <a:lnTo>
                  <a:pt x="2065972" y="3414598"/>
                </a:lnTo>
                <a:lnTo>
                  <a:pt x="2065972" y="3437915"/>
                </a:lnTo>
                <a:lnTo>
                  <a:pt x="2042656" y="3437915"/>
                </a:lnTo>
                <a:lnTo>
                  <a:pt x="2042656" y="3461233"/>
                </a:lnTo>
                <a:lnTo>
                  <a:pt x="2065972" y="3461233"/>
                </a:lnTo>
                <a:lnTo>
                  <a:pt x="2065972" y="3484550"/>
                </a:lnTo>
                <a:lnTo>
                  <a:pt x="2089290" y="3484550"/>
                </a:lnTo>
                <a:lnTo>
                  <a:pt x="2089290" y="3461233"/>
                </a:lnTo>
                <a:lnTo>
                  <a:pt x="2112607" y="3461233"/>
                </a:lnTo>
                <a:lnTo>
                  <a:pt x="2112607" y="3437915"/>
                </a:lnTo>
                <a:lnTo>
                  <a:pt x="2089290" y="3437915"/>
                </a:lnTo>
                <a:lnTo>
                  <a:pt x="2089290" y="3414598"/>
                </a:lnTo>
                <a:close/>
                <a:moveTo>
                  <a:pt x="2226107" y="3415627"/>
                </a:moveTo>
                <a:lnTo>
                  <a:pt x="2203475" y="3415627"/>
                </a:lnTo>
                <a:lnTo>
                  <a:pt x="2203475" y="3438258"/>
                </a:lnTo>
                <a:lnTo>
                  <a:pt x="2180844" y="3438258"/>
                </a:lnTo>
                <a:lnTo>
                  <a:pt x="2180844" y="3460890"/>
                </a:lnTo>
                <a:lnTo>
                  <a:pt x="2203475" y="3460890"/>
                </a:lnTo>
                <a:lnTo>
                  <a:pt x="2203475" y="3483521"/>
                </a:lnTo>
                <a:lnTo>
                  <a:pt x="2226107" y="3483521"/>
                </a:lnTo>
                <a:lnTo>
                  <a:pt x="2226107" y="3460890"/>
                </a:lnTo>
                <a:lnTo>
                  <a:pt x="2248738" y="3460890"/>
                </a:lnTo>
                <a:lnTo>
                  <a:pt x="2248738" y="3438258"/>
                </a:lnTo>
                <a:lnTo>
                  <a:pt x="2226107" y="3438258"/>
                </a:lnTo>
                <a:lnTo>
                  <a:pt x="2226107" y="3415627"/>
                </a:lnTo>
                <a:close/>
                <a:moveTo>
                  <a:pt x="2153069" y="3840823"/>
                </a:moveTo>
                <a:lnTo>
                  <a:pt x="2139353" y="3840823"/>
                </a:lnTo>
                <a:lnTo>
                  <a:pt x="2139353" y="3854196"/>
                </a:lnTo>
                <a:lnTo>
                  <a:pt x="2125980" y="3854196"/>
                </a:lnTo>
                <a:lnTo>
                  <a:pt x="2125980" y="3867912"/>
                </a:lnTo>
                <a:lnTo>
                  <a:pt x="2139353" y="3867912"/>
                </a:lnTo>
                <a:lnTo>
                  <a:pt x="2139353" y="3881285"/>
                </a:lnTo>
                <a:lnTo>
                  <a:pt x="2153069" y="3881285"/>
                </a:lnTo>
                <a:lnTo>
                  <a:pt x="2153069" y="3867912"/>
                </a:lnTo>
                <a:lnTo>
                  <a:pt x="2166442" y="3867912"/>
                </a:lnTo>
                <a:lnTo>
                  <a:pt x="2166442" y="3854196"/>
                </a:lnTo>
                <a:lnTo>
                  <a:pt x="2153069" y="3854196"/>
                </a:lnTo>
                <a:lnTo>
                  <a:pt x="2153069" y="3840823"/>
                </a:lnTo>
                <a:close/>
                <a:moveTo>
                  <a:pt x="2429789" y="3558616"/>
                </a:moveTo>
                <a:lnTo>
                  <a:pt x="2411273" y="3558616"/>
                </a:lnTo>
                <a:lnTo>
                  <a:pt x="2411273" y="3577476"/>
                </a:lnTo>
                <a:lnTo>
                  <a:pt x="2392414" y="3577476"/>
                </a:lnTo>
                <a:lnTo>
                  <a:pt x="2392414" y="3595992"/>
                </a:lnTo>
                <a:lnTo>
                  <a:pt x="2411273" y="3595992"/>
                </a:lnTo>
                <a:lnTo>
                  <a:pt x="2411273" y="3614852"/>
                </a:lnTo>
                <a:lnTo>
                  <a:pt x="2429789" y="3614852"/>
                </a:lnTo>
                <a:lnTo>
                  <a:pt x="2429789" y="3595992"/>
                </a:lnTo>
                <a:lnTo>
                  <a:pt x="2448649" y="3595992"/>
                </a:lnTo>
                <a:lnTo>
                  <a:pt x="2448649" y="3577476"/>
                </a:lnTo>
                <a:lnTo>
                  <a:pt x="2429789" y="3577476"/>
                </a:lnTo>
                <a:lnTo>
                  <a:pt x="2429789" y="3558616"/>
                </a:lnTo>
                <a:close/>
                <a:moveTo>
                  <a:pt x="3048038" y="3144736"/>
                </a:moveTo>
                <a:lnTo>
                  <a:pt x="3027464" y="3144736"/>
                </a:lnTo>
                <a:lnTo>
                  <a:pt x="3027464" y="3164967"/>
                </a:lnTo>
                <a:lnTo>
                  <a:pt x="3007233" y="3164967"/>
                </a:lnTo>
                <a:lnTo>
                  <a:pt x="3007233" y="3185541"/>
                </a:lnTo>
                <a:lnTo>
                  <a:pt x="3027464" y="3185541"/>
                </a:lnTo>
                <a:lnTo>
                  <a:pt x="3027464" y="3205772"/>
                </a:lnTo>
                <a:lnTo>
                  <a:pt x="3048038" y="3205772"/>
                </a:lnTo>
                <a:lnTo>
                  <a:pt x="3048038" y="3185541"/>
                </a:lnTo>
                <a:lnTo>
                  <a:pt x="3068269" y="3185541"/>
                </a:lnTo>
                <a:lnTo>
                  <a:pt x="3068269" y="3164967"/>
                </a:lnTo>
                <a:lnTo>
                  <a:pt x="3048038" y="3164967"/>
                </a:lnTo>
                <a:lnTo>
                  <a:pt x="3048038" y="3144736"/>
                </a:lnTo>
                <a:close/>
                <a:moveTo>
                  <a:pt x="2980830" y="3003118"/>
                </a:moveTo>
                <a:lnTo>
                  <a:pt x="2957513" y="3003118"/>
                </a:lnTo>
                <a:lnTo>
                  <a:pt x="2957513" y="3026435"/>
                </a:lnTo>
                <a:lnTo>
                  <a:pt x="2934196" y="3026435"/>
                </a:lnTo>
                <a:lnTo>
                  <a:pt x="2934196" y="3049753"/>
                </a:lnTo>
                <a:lnTo>
                  <a:pt x="2957513" y="3049753"/>
                </a:lnTo>
                <a:lnTo>
                  <a:pt x="2957513" y="3073070"/>
                </a:lnTo>
                <a:lnTo>
                  <a:pt x="2980830" y="3073070"/>
                </a:lnTo>
                <a:lnTo>
                  <a:pt x="2980830" y="3049753"/>
                </a:lnTo>
                <a:lnTo>
                  <a:pt x="3004147" y="3049753"/>
                </a:lnTo>
                <a:lnTo>
                  <a:pt x="3004147" y="3026435"/>
                </a:lnTo>
                <a:lnTo>
                  <a:pt x="2980830" y="3026435"/>
                </a:lnTo>
                <a:lnTo>
                  <a:pt x="2980830" y="3003118"/>
                </a:lnTo>
                <a:close/>
                <a:moveTo>
                  <a:pt x="3045295" y="3426943"/>
                </a:moveTo>
                <a:lnTo>
                  <a:pt x="3030208" y="3426943"/>
                </a:lnTo>
                <a:lnTo>
                  <a:pt x="3030208" y="3442030"/>
                </a:lnTo>
                <a:lnTo>
                  <a:pt x="3015120" y="3442030"/>
                </a:lnTo>
                <a:lnTo>
                  <a:pt x="3015120" y="3457118"/>
                </a:lnTo>
                <a:lnTo>
                  <a:pt x="3030208" y="3457118"/>
                </a:lnTo>
                <a:lnTo>
                  <a:pt x="3030208" y="3472205"/>
                </a:lnTo>
                <a:lnTo>
                  <a:pt x="3045295" y="3472205"/>
                </a:lnTo>
                <a:lnTo>
                  <a:pt x="3045295" y="3457118"/>
                </a:lnTo>
                <a:lnTo>
                  <a:pt x="3060383" y="3457118"/>
                </a:lnTo>
                <a:lnTo>
                  <a:pt x="3060383" y="3442030"/>
                </a:lnTo>
                <a:lnTo>
                  <a:pt x="3045295" y="3442030"/>
                </a:lnTo>
                <a:lnTo>
                  <a:pt x="3045295" y="3426943"/>
                </a:lnTo>
                <a:close/>
                <a:moveTo>
                  <a:pt x="2636215" y="3419399"/>
                </a:moveTo>
                <a:lnTo>
                  <a:pt x="2616327" y="3419399"/>
                </a:lnTo>
                <a:lnTo>
                  <a:pt x="2616327" y="3439630"/>
                </a:lnTo>
                <a:lnTo>
                  <a:pt x="2596096" y="3439630"/>
                </a:lnTo>
                <a:lnTo>
                  <a:pt x="2596096" y="3459518"/>
                </a:lnTo>
                <a:lnTo>
                  <a:pt x="2616327" y="3459518"/>
                </a:lnTo>
                <a:lnTo>
                  <a:pt x="2616327" y="3479749"/>
                </a:lnTo>
                <a:lnTo>
                  <a:pt x="2636215" y="3479749"/>
                </a:lnTo>
                <a:lnTo>
                  <a:pt x="2636215" y="3459518"/>
                </a:lnTo>
                <a:lnTo>
                  <a:pt x="2656447" y="3459518"/>
                </a:lnTo>
                <a:lnTo>
                  <a:pt x="2656447" y="3439630"/>
                </a:lnTo>
                <a:lnTo>
                  <a:pt x="2636215" y="3439630"/>
                </a:lnTo>
                <a:lnTo>
                  <a:pt x="2636215" y="3419399"/>
                </a:lnTo>
                <a:close/>
                <a:moveTo>
                  <a:pt x="3114561" y="3287382"/>
                </a:moveTo>
                <a:lnTo>
                  <a:pt x="3098102" y="3287382"/>
                </a:lnTo>
                <a:lnTo>
                  <a:pt x="3098102" y="3304184"/>
                </a:lnTo>
                <a:lnTo>
                  <a:pt x="3081299" y="3304184"/>
                </a:lnTo>
                <a:lnTo>
                  <a:pt x="3081299" y="3320644"/>
                </a:lnTo>
                <a:lnTo>
                  <a:pt x="3098102" y="3320644"/>
                </a:lnTo>
                <a:lnTo>
                  <a:pt x="3098102" y="3337446"/>
                </a:lnTo>
                <a:lnTo>
                  <a:pt x="3114561" y="3337446"/>
                </a:lnTo>
                <a:lnTo>
                  <a:pt x="3114561" y="3320644"/>
                </a:lnTo>
                <a:lnTo>
                  <a:pt x="3131363" y="3320644"/>
                </a:lnTo>
                <a:lnTo>
                  <a:pt x="3131363" y="3304184"/>
                </a:lnTo>
                <a:lnTo>
                  <a:pt x="3114561" y="3304184"/>
                </a:lnTo>
                <a:lnTo>
                  <a:pt x="3114561" y="3287382"/>
                </a:lnTo>
                <a:close/>
                <a:moveTo>
                  <a:pt x="2975686" y="3567189"/>
                </a:moveTo>
                <a:lnTo>
                  <a:pt x="2962656" y="3567189"/>
                </a:lnTo>
                <a:lnTo>
                  <a:pt x="2962656" y="3580219"/>
                </a:lnTo>
                <a:lnTo>
                  <a:pt x="2949626" y="3580219"/>
                </a:lnTo>
                <a:lnTo>
                  <a:pt x="2949626" y="3593249"/>
                </a:lnTo>
                <a:lnTo>
                  <a:pt x="2962656" y="3593249"/>
                </a:lnTo>
                <a:lnTo>
                  <a:pt x="2962656" y="3606279"/>
                </a:lnTo>
                <a:lnTo>
                  <a:pt x="2975686" y="3606279"/>
                </a:lnTo>
                <a:lnTo>
                  <a:pt x="2975686" y="3593249"/>
                </a:lnTo>
                <a:lnTo>
                  <a:pt x="2988716" y="3593249"/>
                </a:lnTo>
                <a:lnTo>
                  <a:pt x="2988716" y="3580219"/>
                </a:lnTo>
                <a:lnTo>
                  <a:pt x="2975686" y="3580219"/>
                </a:lnTo>
                <a:lnTo>
                  <a:pt x="2975686" y="3567189"/>
                </a:lnTo>
                <a:close/>
                <a:moveTo>
                  <a:pt x="3183827" y="3148508"/>
                </a:moveTo>
                <a:lnTo>
                  <a:pt x="3165996" y="3148508"/>
                </a:lnTo>
                <a:lnTo>
                  <a:pt x="3165996" y="3166339"/>
                </a:lnTo>
                <a:lnTo>
                  <a:pt x="3148165" y="3166339"/>
                </a:lnTo>
                <a:lnTo>
                  <a:pt x="3148165" y="3184169"/>
                </a:lnTo>
                <a:lnTo>
                  <a:pt x="3165996" y="3184169"/>
                </a:lnTo>
                <a:lnTo>
                  <a:pt x="3165996" y="3202000"/>
                </a:lnTo>
                <a:lnTo>
                  <a:pt x="3183827" y="3202000"/>
                </a:lnTo>
                <a:lnTo>
                  <a:pt x="3183827" y="3184169"/>
                </a:lnTo>
                <a:lnTo>
                  <a:pt x="3201658" y="3184169"/>
                </a:lnTo>
                <a:lnTo>
                  <a:pt x="3201658" y="3166339"/>
                </a:lnTo>
                <a:lnTo>
                  <a:pt x="3183827" y="3166339"/>
                </a:lnTo>
                <a:lnTo>
                  <a:pt x="3183827" y="3148508"/>
                </a:lnTo>
                <a:close/>
                <a:moveTo>
                  <a:pt x="3181426" y="3430029"/>
                </a:moveTo>
                <a:lnTo>
                  <a:pt x="3168396" y="3430029"/>
                </a:lnTo>
                <a:lnTo>
                  <a:pt x="3168396" y="3443059"/>
                </a:lnTo>
                <a:lnTo>
                  <a:pt x="3155366" y="3443059"/>
                </a:lnTo>
                <a:lnTo>
                  <a:pt x="3155366" y="3456089"/>
                </a:lnTo>
                <a:lnTo>
                  <a:pt x="3168396" y="3456089"/>
                </a:lnTo>
                <a:lnTo>
                  <a:pt x="3168396" y="3469119"/>
                </a:lnTo>
                <a:lnTo>
                  <a:pt x="3181426" y="3469119"/>
                </a:lnTo>
                <a:lnTo>
                  <a:pt x="3181426" y="3456089"/>
                </a:lnTo>
                <a:lnTo>
                  <a:pt x="3194456" y="3456089"/>
                </a:lnTo>
                <a:lnTo>
                  <a:pt x="3194456" y="3443059"/>
                </a:lnTo>
                <a:lnTo>
                  <a:pt x="3181426" y="3443059"/>
                </a:lnTo>
                <a:lnTo>
                  <a:pt x="3181426" y="3430029"/>
                </a:lnTo>
                <a:close/>
                <a:moveTo>
                  <a:pt x="3116961" y="3006204"/>
                </a:moveTo>
                <a:lnTo>
                  <a:pt x="3095701" y="3006204"/>
                </a:lnTo>
                <a:lnTo>
                  <a:pt x="3095701" y="3027464"/>
                </a:lnTo>
                <a:lnTo>
                  <a:pt x="3074441" y="3027464"/>
                </a:lnTo>
                <a:lnTo>
                  <a:pt x="3074441" y="3048724"/>
                </a:lnTo>
                <a:lnTo>
                  <a:pt x="3095701" y="3048724"/>
                </a:lnTo>
                <a:lnTo>
                  <a:pt x="3095701" y="3069984"/>
                </a:lnTo>
                <a:lnTo>
                  <a:pt x="3116961" y="3069984"/>
                </a:lnTo>
                <a:lnTo>
                  <a:pt x="3116961" y="3048724"/>
                </a:lnTo>
                <a:lnTo>
                  <a:pt x="3138221" y="3048724"/>
                </a:lnTo>
                <a:lnTo>
                  <a:pt x="3138221" y="3027464"/>
                </a:lnTo>
                <a:lnTo>
                  <a:pt x="3116961" y="3027464"/>
                </a:lnTo>
                <a:lnTo>
                  <a:pt x="3116961" y="3006204"/>
                </a:lnTo>
                <a:close/>
                <a:moveTo>
                  <a:pt x="2978429" y="3284296"/>
                </a:moveTo>
                <a:lnTo>
                  <a:pt x="2959913" y="3284296"/>
                </a:lnTo>
                <a:lnTo>
                  <a:pt x="2959913" y="3303156"/>
                </a:lnTo>
                <a:lnTo>
                  <a:pt x="2941054" y="3303156"/>
                </a:lnTo>
                <a:lnTo>
                  <a:pt x="2941054" y="3321672"/>
                </a:lnTo>
                <a:lnTo>
                  <a:pt x="2959913" y="3321672"/>
                </a:lnTo>
                <a:lnTo>
                  <a:pt x="2959913" y="3340532"/>
                </a:lnTo>
                <a:lnTo>
                  <a:pt x="2978429" y="3340532"/>
                </a:lnTo>
                <a:lnTo>
                  <a:pt x="2978429" y="3321672"/>
                </a:lnTo>
                <a:lnTo>
                  <a:pt x="2997289" y="3321672"/>
                </a:lnTo>
                <a:lnTo>
                  <a:pt x="2997289" y="3303156"/>
                </a:lnTo>
                <a:lnTo>
                  <a:pt x="2978429" y="3303156"/>
                </a:lnTo>
                <a:lnTo>
                  <a:pt x="2978429" y="3284296"/>
                </a:lnTo>
                <a:close/>
                <a:moveTo>
                  <a:pt x="2772689" y="3421799"/>
                </a:moveTo>
                <a:lnTo>
                  <a:pt x="2754173" y="3421799"/>
                </a:lnTo>
                <a:lnTo>
                  <a:pt x="2754173" y="3440316"/>
                </a:lnTo>
                <a:lnTo>
                  <a:pt x="2735656" y="3440316"/>
                </a:lnTo>
                <a:lnTo>
                  <a:pt x="2735656" y="3458832"/>
                </a:lnTo>
                <a:lnTo>
                  <a:pt x="2754173" y="3458832"/>
                </a:lnTo>
                <a:lnTo>
                  <a:pt x="2754173" y="3477349"/>
                </a:lnTo>
                <a:lnTo>
                  <a:pt x="2772689" y="3477349"/>
                </a:lnTo>
                <a:lnTo>
                  <a:pt x="2772689" y="3458832"/>
                </a:lnTo>
                <a:lnTo>
                  <a:pt x="2791206" y="3458832"/>
                </a:lnTo>
                <a:lnTo>
                  <a:pt x="2791206" y="3440316"/>
                </a:lnTo>
                <a:lnTo>
                  <a:pt x="2772689" y="3440316"/>
                </a:lnTo>
                <a:lnTo>
                  <a:pt x="2772689" y="3421799"/>
                </a:lnTo>
                <a:close/>
                <a:moveTo>
                  <a:pt x="2705824" y="3279153"/>
                </a:moveTo>
                <a:lnTo>
                  <a:pt x="2683879" y="3279153"/>
                </a:lnTo>
                <a:lnTo>
                  <a:pt x="2683879" y="3301441"/>
                </a:lnTo>
                <a:lnTo>
                  <a:pt x="2661590" y="3301441"/>
                </a:lnTo>
                <a:lnTo>
                  <a:pt x="2661590" y="3323387"/>
                </a:lnTo>
                <a:lnTo>
                  <a:pt x="2683879" y="3323387"/>
                </a:lnTo>
                <a:lnTo>
                  <a:pt x="2683879" y="3345675"/>
                </a:lnTo>
                <a:lnTo>
                  <a:pt x="2705824" y="3345675"/>
                </a:lnTo>
                <a:lnTo>
                  <a:pt x="2705824" y="3323387"/>
                </a:lnTo>
                <a:lnTo>
                  <a:pt x="2728112" y="3323387"/>
                </a:lnTo>
                <a:lnTo>
                  <a:pt x="2728112" y="3301441"/>
                </a:lnTo>
                <a:lnTo>
                  <a:pt x="2705824" y="3301441"/>
                </a:lnTo>
                <a:lnTo>
                  <a:pt x="2705824" y="3279153"/>
                </a:lnTo>
                <a:close/>
                <a:moveTo>
                  <a:pt x="2769604" y="3705035"/>
                </a:moveTo>
                <a:lnTo>
                  <a:pt x="2757259" y="3705035"/>
                </a:lnTo>
                <a:lnTo>
                  <a:pt x="2757259" y="3717722"/>
                </a:lnTo>
                <a:lnTo>
                  <a:pt x="2744572" y="3717722"/>
                </a:lnTo>
                <a:lnTo>
                  <a:pt x="2744572" y="3730066"/>
                </a:lnTo>
                <a:lnTo>
                  <a:pt x="2757259" y="3730066"/>
                </a:lnTo>
                <a:lnTo>
                  <a:pt x="2757259" y="3742754"/>
                </a:lnTo>
                <a:lnTo>
                  <a:pt x="2769604" y="3742754"/>
                </a:lnTo>
                <a:lnTo>
                  <a:pt x="2769604" y="3730066"/>
                </a:lnTo>
                <a:lnTo>
                  <a:pt x="2782291" y="3730066"/>
                </a:lnTo>
                <a:lnTo>
                  <a:pt x="2782291" y="3717722"/>
                </a:lnTo>
                <a:lnTo>
                  <a:pt x="2769604" y="3717722"/>
                </a:lnTo>
                <a:lnTo>
                  <a:pt x="2769604" y="3705035"/>
                </a:lnTo>
                <a:close/>
                <a:moveTo>
                  <a:pt x="2911564" y="3141993"/>
                </a:moveTo>
                <a:lnTo>
                  <a:pt x="2889619" y="3141993"/>
                </a:lnTo>
                <a:lnTo>
                  <a:pt x="2889619" y="3164281"/>
                </a:lnTo>
                <a:lnTo>
                  <a:pt x="2867330" y="3164281"/>
                </a:lnTo>
                <a:lnTo>
                  <a:pt x="2867330" y="3186227"/>
                </a:lnTo>
                <a:lnTo>
                  <a:pt x="2889619" y="3186227"/>
                </a:lnTo>
                <a:lnTo>
                  <a:pt x="2889619" y="3208515"/>
                </a:lnTo>
                <a:lnTo>
                  <a:pt x="2911564" y="3208515"/>
                </a:lnTo>
                <a:lnTo>
                  <a:pt x="2911564" y="3186227"/>
                </a:lnTo>
                <a:lnTo>
                  <a:pt x="2933852" y="3186227"/>
                </a:lnTo>
                <a:lnTo>
                  <a:pt x="2933852" y="3164281"/>
                </a:lnTo>
                <a:lnTo>
                  <a:pt x="2911564" y="3164281"/>
                </a:lnTo>
                <a:lnTo>
                  <a:pt x="2911564" y="3141993"/>
                </a:lnTo>
                <a:close/>
                <a:moveTo>
                  <a:pt x="2703081" y="3562045"/>
                </a:moveTo>
                <a:lnTo>
                  <a:pt x="2686622" y="3562045"/>
                </a:lnTo>
                <a:lnTo>
                  <a:pt x="2686622" y="3578504"/>
                </a:lnTo>
                <a:lnTo>
                  <a:pt x="2670163" y="3578504"/>
                </a:lnTo>
                <a:lnTo>
                  <a:pt x="2670163" y="3594964"/>
                </a:lnTo>
                <a:lnTo>
                  <a:pt x="2686622" y="3594964"/>
                </a:lnTo>
                <a:lnTo>
                  <a:pt x="2686622" y="3611423"/>
                </a:lnTo>
                <a:lnTo>
                  <a:pt x="2703081" y="3611423"/>
                </a:lnTo>
                <a:lnTo>
                  <a:pt x="2703081" y="3594964"/>
                </a:lnTo>
                <a:lnTo>
                  <a:pt x="2719540" y="3594964"/>
                </a:lnTo>
                <a:lnTo>
                  <a:pt x="2719540" y="3578504"/>
                </a:lnTo>
                <a:lnTo>
                  <a:pt x="2703081" y="3578504"/>
                </a:lnTo>
                <a:lnTo>
                  <a:pt x="2703081" y="3562045"/>
                </a:lnTo>
                <a:close/>
                <a:moveTo>
                  <a:pt x="2909164" y="3424199"/>
                </a:moveTo>
                <a:lnTo>
                  <a:pt x="2892019" y="3424199"/>
                </a:lnTo>
                <a:lnTo>
                  <a:pt x="2892019" y="3441002"/>
                </a:lnTo>
                <a:lnTo>
                  <a:pt x="2875217" y="3441002"/>
                </a:lnTo>
                <a:lnTo>
                  <a:pt x="2875217" y="3458147"/>
                </a:lnTo>
                <a:lnTo>
                  <a:pt x="2892019" y="3458147"/>
                </a:lnTo>
                <a:lnTo>
                  <a:pt x="2892019" y="3474949"/>
                </a:lnTo>
                <a:lnTo>
                  <a:pt x="2909164" y="3474949"/>
                </a:lnTo>
                <a:lnTo>
                  <a:pt x="2909164" y="3458147"/>
                </a:lnTo>
                <a:lnTo>
                  <a:pt x="2925966" y="3458147"/>
                </a:lnTo>
                <a:lnTo>
                  <a:pt x="2925966" y="3441002"/>
                </a:lnTo>
                <a:lnTo>
                  <a:pt x="2909164" y="3441002"/>
                </a:lnTo>
                <a:lnTo>
                  <a:pt x="2909164" y="3424199"/>
                </a:lnTo>
                <a:close/>
                <a:moveTo>
                  <a:pt x="2842298" y="3281553"/>
                </a:moveTo>
                <a:lnTo>
                  <a:pt x="2821724" y="3281553"/>
                </a:lnTo>
                <a:lnTo>
                  <a:pt x="2821724" y="3302127"/>
                </a:lnTo>
                <a:lnTo>
                  <a:pt x="2801150" y="3302127"/>
                </a:lnTo>
                <a:lnTo>
                  <a:pt x="2801150" y="3322701"/>
                </a:lnTo>
                <a:lnTo>
                  <a:pt x="2821724" y="3322701"/>
                </a:lnTo>
                <a:lnTo>
                  <a:pt x="2821724" y="3343275"/>
                </a:lnTo>
                <a:lnTo>
                  <a:pt x="2842298" y="3343275"/>
                </a:lnTo>
                <a:lnTo>
                  <a:pt x="2842298" y="3322701"/>
                </a:lnTo>
                <a:lnTo>
                  <a:pt x="2862872" y="3322701"/>
                </a:lnTo>
                <a:lnTo>
                  <a:pt x="2862872" y="3302127"/>
                </a:lnTo>
                <a:lnTo>
                  <a:pt x="2842298" y="3302127"/>
                </a:lnTo>
                <a:lnTo>
                  <a:pt x="2842298" y="3281553"/>
                </a:lnTo>
                <a:close/>
                <a:moveTo>
                  <a:pt x="2839555" y="3564446"/>
                </a:moveTo>
                <a:lnTo>
                  <a:pt x="2824468" y="3564446"/>
                </a:lnTo>
                <a:lnTo>
                  <a:pt x="2824468" y="3579190"/>
                </a:lnTo>
                <a:lnTo>
                  <a:pt x="2809723" y="3579190"/>
                </a:lnTo>
                <a:lnTo>
                  <a:pt x="2809723" y="3594278"/>
                </a:lnTo>
                <a:lnTo>
                  <a:pt x="2824468" y="3594278"/>
                </a:lnTo>
                <a:lnTo>
                  <a:pt x="2824468" y="3609023"/>
                </a:lnTo>
                <a:lnTo>
                  <a:pt x="2839555" y="3609023"/>
                </a:lnTo>
                <a:lnTo>
                  <a:pt x="2839555" y="3594278"/>
                </a:lnTo>
                <a:lnTo>
                  <a:pt x="2854300" y="3594278"/>
                </a:lnTo>
                <a:lnTo>
                  <a:pt x="2854300" y="3579190"/>
                </a:lnTo>
                <a:lnTo>
                  <a:pt x="2839555" y="3579190"/>
                </a:lnTo>
                <a:lnTo>
                  <a:pt x="2839555" y="3564446"/>
                </a:lnTo>
                <a:close/>
                <a:moveTo>
                  <a:pt x="2775433" y="3139592"/>
                </a:moveTo>
                <a:lnTo>
                  <a:pt x="2751430" y="3139592"/>
                </a:lnTo>
                <a:lnTo>
                  <a:pt x="2751430" y="3163253"/>
                </a:lnTo>
                <a:lnTo>
                  <a:pt x="2727770" y="3163253"/>
                </a:lnTo>
                <a:lnTo>
                  <a:pt x="2727770" y="3187256"/>
                </a:lnTo>
                <a:lnTo>
                  <a:pt x="2751430" y="3187256"/>
                </a:lnTo>
                <a:lnTo>
                  <a:pt x="2751430" y="3210916"/>
                </a:lnTo>
                <a:lnTo>
                  <a:pt x="2775433" y="3210916"/>
                </a:lnTo>
                <a:lnTo>
                  <a:pt x="2775433" y="3187256"/>
                </a:lnTo>
                <a:lnTo>
                  <a:pt x="2799093" y="3187256"/>
                </a:lnTo>
                <a:lnTo>
                  <a:pt x="2799093" y="3163253"/>
                </a:lnTo>
                <a:lnTo>
                  <a:pt x="2775433" y="3163253"/>
                </a:lnTo>
                <a:lnTo>
                  <a:pt x="2775433" y="3139592"/>
                </a:lnTo>
                <a:close/>
                <a:moveTo>
                  <a:pt x="1038644" y="600075"/>
                </a:moveTo>
                <a:lnTo>
                  <a:pt x="1059218" y="600075"/>
                </a:lnTo>
                <a:lnTo>
                  <a:pt x="1059218" y="579501"/>
                </a:lnTo>
                <a:lnTo>
                  <a:pt x="1079792" y="579501"/>
                </a:lnTo>
                <a:lnTo>
                  <a:pt x="1079792" y="558927"/>
                </a:lnTo>
                <a:lnTo>
                  <a:pt x="1059218" y="558927"/>
                </a:lnTo>
                <a:lnTo>
                  <a:pt x="1059218" y="538353"/>
                </a:lnTo>
                <a:lnTo>
                  <a:pt x="1038644" y="538353"/>
                </a:lnTo>
                <a:lnTo>
                  <a:pt x="1038644" y="558927"/>
                </a:lnTo>
                <a:lnTo>
                  <a:pt x="1018070" y="558927"/>
                </a:lnTo>
                <a:lnTo>
                  <a:pt x="1018070" y="579501"/>
                </a:lnTo>
                <a:lnTo>
                  <a:pt x="1038644" y="579501"/>
                </a:lnTo>
                <a:lnTo>
                  <a:pt x="1038644" y="600075"/>
                </a:lnTo>
                <a:close/>
                <a:moveTo>
                  <a:pt x="3236290" y="590817"/>
                </a:moveTo>
                <a:lnTo>
                  <a:pt x="3250692" y="590817"/>
                </a:lnTo>
                <a:lnTo>
                  <a:pt x="3250692" y="576415"/>
                </a:lnTo>
                <a:lnTo>
                  <a:pt x="3265094" y="576415"/>
                </a:lnTo>
                <a:lnTo>
                  <a:pt x="3265094" y="562013"/>
                </a:lnTo>
                <a:lnTo>
                  <a:pt x="3250692" y="562013"/>
                </a:lnTo>
                <a:lnTo>
                  <a:pt x="3250692" y="547611"/>
                </a:lnTo>
                <a:lnTo>
                  <a:pt x="3236290" y="547611"/>
                </a:lnTo>
                <a:lnTo>
                  <a:pt x="3236290" y="562013"/>
                </a:lnTo>
                <a:lnTo>
                  <a:pt x="3221888" y="562013"/>
                </a:lnTo>
                <a:lnTo>
                  <a:pt x="3221888" y="576415"/>
                </a:lnTo>
                <a:lnTo>
                  <a:pt x="3236290" y="576415"/>
                </a:lnTo>
                <a:lnTo>
                  <a:pt x="3236290" y="590817"/>
                </a:lnTo>
                <a:close/>
                <a:moveTo>
                  <a:pt x="3233890" y="871995"/>
                </a:moveTo>
                <a:lnTo>
                  <a:pt x="3253093" y="871995"/>
                </a:lnTo>
                <a:lnTo>
                  <a:pt x="3253093" y="853135"/>
                </a:lnTo>
                <a:lnTo>
                  <a:pt x="3271952" y="853135"/>
                </a:lnTo>
                <a:lnTo>
                  <a:pt x="3271952" y="833933"/>
                </a:lnTo>
                <a:lnTo>
                  <a:pt x="3253093" y="833933"/>
                </a:lnTo>
                <a:lnTo>
                  <a:pt x="3253093" y="815073"/>
                </a:lnTo>
                <a:lnTo>
                  <a:pt x="3233890" y="815073"/>
                </a:lnTo>
                <a:lnTo>
                  <a:pt x="3233890" y="833933"/>
                </a:lnTo>
                <a:lnTo>
                  <a:pt x="3215030" y="833933"/>
                </a:lnTo>
                <a:lnTo>
                  <a:pt x="3215030" y="853135"/>
                </a:lnTo>
                <a:lnTo>
                  <a:pt x="3233890" y="853135"/>
                </a:lnTo>
                <a:lnTo>
                  <a:pt x="3233890" y="871995"/>
                </a:lnTo>
                <a:close/>
                <a:moveTo>
                  <a:pt x="3300755" y="1288961"/>
                </a:moveTo>
                <a:lnTo>
                  <a:pt x="3323387" y="1288961"/>
                </a:lnTo>
                <a:lnTo>
                  <a:pt x="3323387" y="1266330"/>
                </a:lnTo>
                <a:lnTo>
                  <a:pt x="3346018" y="1266330"/>
                </a:lnTo>
                <a:lnTo>
                  <a:pt x="3346018" y="1243698"/>
                </a:lnTo>
                <a:lnTo>
                  <a:pt x="3323387" y="1243698"/>
                </a:lnTo>
                <a:lnTo>
                  <a:pt x="3323387" y="1221067"/>
                </a:lnTo>
                <a:lnTo>
                  <a:pt x="3300755" y="1221067"/>
                </a:lnTo>
                <a:lnTo>
                  <a:pt x="3300755" y="1243698"/>
                </a:lnTo>
                <a:lnTo>
                  <a:pt x="3278124" y="1243698"/>
                </a:lnTo>
                <a:lnTo>
                  <a:pt x="3278124" y="1266330"/>
                </a:lnTo>
                <a:lnTo>
                  <a:pt x="3300755" y="1266330"/>
                </a:lnTo>
                <a:lnTo>
                  <a:pt x="3300755" y="1288961"/>
                </a:lnTo>
                <a:close/>
                <a:moveTo>
                  <a:pt x="3304184" y="729691"/>
                </a:moveTo>
                <a:lnTo>
                  <a:pt x="3319958" y="729691"/>
                </a:lnTo>
                <a:lnTo>
                  <a:pt x="3319958" y="714261"/>
                </a:lnTo>
                <a:lnTo>
                  <a:pt x="3335389" y="714261"/>
                </a:lnTo>
                <a:lnTo>
                  <a:pt x="3335389" y="698487"/>
                </a:lnTo>
                <a:lnTo>
                  <a:pt x="3319958" y="698487"/>
                </a:lnTo>
                <a:lnTo>
                  <a:pt x="3319958" y="683057"/>
                </a:lnTo>
                <a:lnTo>
                  <a:pt x="3304184" y="683057"/>
                </a:lnTo>
                <a:lnTo>
                  <a:pt x="3304184" y="698487"/>
                </a:lnTo>
                <a:lnTo>
                  <a:pt x="3288754" y="698487"/>
                </a:lnTo>
                <a:lnTo>
                  <a:pt x="3288754" y="714261"/>
                </a:lnTo>
                <a:lnTo>
                  <a:pt x="3304184" y="714261"/>
                </a:lnTo>
                <a:lnTo>
                  <a:pt x="3304184" y="729691"/>
                </a:lnTo>
                <a:close/>
                <a:moveTo>
                  <a:pt x="3232175" y="1151801"/>
                </a:moveTo>
                <a:lnTo>
                  <a:pt x="3254807" y="1151801"/>
                </a:lnTo>
                <a:lnTo>
                  <a:pt x="3254807" y="1129170"/>
                </a:lnTo>
                <a:lnTo>
                  <a:pt x="3277438" y="1129170"/>
                </a:lnTo>
                <a:lnTo>
                  <a:pt x="3277438" y="1106538"/>
                </a:lnTo>
                <a:lnTo>
                  <a:pt x="3254807" y="1106538"/>
                </a:lnTo>
                <a:lnTo>
                  <a:pt x="3254807" y="1083907"/>
                </a:lnTo>
                <a:lnTo>
                  <a:pt x="3232175" y="1083907"/>
                </a:lnTo>
                <a:lnTo>
                  <a:pt x="3232175" y="1106538"/>
                </a:lnTo>
                <a:lnTo>
                  <a:pt x="3209544" y="1106538"/>
                </a:lnTo>
                <a:lnTo>
                  <a:pt x="3209544" y="1129170"/>
                </a:lnTo>
                <a:lnTo>
                  <a:pt x="3232175" y="1129170"/>
                </a:lnTo>
                <a:lnTo>
                  <a:pt x="3232175" y="1151801"/>
                </a:lnTo>
                <a:close/>
                <a:moveTo>
                  <a:pt x="3302127" y="1010183"/>
                </a:moveTo>
                <a:lnTo>
                  <a:pt x="3322015" y="1010183"/>
                </a:lnTo>
                <a:lnTo>
                  <a:pt x="3322015" y="990638"/>
                </a:lnTo>
                <a:lnTo>
                  <a:pt x="3341561" y="990638"/>
                </a:lnTo>
                <a:lnTo>
                  <a:pt x="3341561" y="970750"/>
                </a:lnTo>
                <a:lnTo>
                  <a:pt x="3322015" y="970750"/>
                </a:lnTo>
                <a:lnTo>
                  <a:pt x="3322015" y="951205"/>
                </a:lnTo>
                <a:lnTo>
                  <a:pt x="3302127" y="951205"/>
                </a:lnTo>
                <a:lnTo>
                  <a:pt x="3302127" y="970750"/>
                </a:lnTo>
                <a:lnTo>
                  <a:pt x="3282582" y="970750"/>
                </a:lnTo>
                <a:lnTo>
                  <a:pt x="3282582" y="990638"/>
                </a:lnTo>
                <a:lnTo>
                  <a:pt x="3302127" y="990638"/>
                </a:lnTo>
                <a:lnTo>
                  <a:pt x="3302127" y="1010183"/>
                </a:lnTo>
                <a:close/>
                <a:moveTo>
                  <a:pt x="3098102" y="594246"/>
                </a:moveTo>
                <a:lnTo>
                  <a:pt x="3114561" y="594246"/>
                </a:lnTo>
                <a:lnTo>
                  <a:pt x="3114561" y="577444"/>
                </a:lnTo>
                <a:lnTo>
                  <a:pt x="3131363" y="577444"/>
                </a:lnTo>
                <a:lnTo>
                  <a:pt x="3131363" y="560984"/>
                </a:lnTo>
                <a:lnTo>
                  <a:pt x="3114561" y="560984"/>
                </a:lnTo>
                <a:lnTo>
                  <a:pt x="3114561" y="544182"/>
                </a:lnTo>
                <a:lnTo>
                  <a:pt x="3098102" y="544182"/>
                </a:lnTo>
                <a:lnTo>
                  <a:pt x="3098102" y="560984"/>
                </a:lnTo>
                <a:lnTo>
                  <a:pt x="3081299" y="560984"/>
                </a:lnTo>
                <a:lnTo>
                  <a:pt x="3081299" y="577444"/>
                </a:lnTo>
                <a:lnTo>
                  <a:pt x="3098102" y="577444"/>
                </a:lnTo>
                <a:lnTo>
                  <a:pt x="3098102" y="594246"/>
                </a:lnTo>
                <a:close/>
                <a:moveTo>
                  <a:pt x="3163939" y="1013955"/>
                </a:moveTo>
                <a:lnTo>
                  <a:pt x="3185884" y="1013955"/>
                </a:lnTo>
                <a:lnTo>
                  <a:pt x="3185884" y="991667"/>
                </a:lnTo>
                <a:lnTo>
                  <a:pt x="3208172" y="991667"/>
                </a:lnTo>
                <a:lnTo>
                  <a:pt x="3208172" y="969721"/>
                </a:lnTo>
                <a:lnTo>
                  <a:pt x="3185884" y="969721"/>
                </a:lnTo>
                <a:lnTo>
                  <a:pt x="3185884" y="947433"/>
                </a:lnTo>
                <a:lnTo>
                  <a:pt x="3163939" y="947433"/>
                </a:lnTo>
                <a:lnTo>
                  <a:pt x="3163939" y="969721"/>
                </a:lnTo>
                <a:lnTo>
                  <a:pt x="3141650" y="969721"/>
                </a:lnTo>
                <a:lnTo>
                  <a:pt x="3141650" y="991667"/>
                </a:lnTo>
                <a:lnTo>
                  <a:pt x="3163939" y="991667"/>
                </a:lnTo>
                <a:lnTo>
                  <a:pt x="3163939" y="1013955"/>
                </a:lnTo>
                <a:close/>
                <a:moveTo>
                  <a:pt x="3165996" y="733463"/>
                </a:moveTo>
                <a:lnTo>
                  <a:pt x="3183827" y="733463"/>
                </a:lnTo>
                <a:lnTo>
                  <a:pt x="3183827" y="715289"/>
                </a:lnTo>
                <a:lnTo>
                  <a:pt x="3202000" y="715289"/>
                </a:lnTo>
                <a:lnTo>
                  <a:pt x="3202000" y="697459"/>
                </a:lnTo>
                <a:lnTo>
                  <a:pt x="3183827" y="697459"/>
                </a:lnTo>
                <a:lnTo>
                  <a:pt x="3183827" y="679285"/>
                </a:lnTo>
                <a:lnTo>
                  <a:pt x="3165996" y="679285"/>
                </a:lnTo>
                <a:lnTo>
                  <a:pt x="3165996" y="697459"/>
                </a:lnTo>
                <a:lnTo>
                  <a:pt x="3147822" y="697459"/>
                </a:lnTo>
                <a:lnTo>
                  <a:pt x="3147822" y="715289"/>
                </a:lnTo>
                <a:lnTo>
                  <a:pt x="3165996" y="715289"/>
                </a:lnTo>
                <a:lnTo>
                  <a:pt x="3165996" y="733463"/>
                </a:lnTo>
                <a:close/>
                <a:moveTo>
                  <a:pt x="3168396" y="451599"/>
                </a:moveTo>
                <a:lnTo>
                  <a:pt x="3181426" y="451599"/>
                </a:lnTo>
                <a:lnTo>
                  <a:pt x="3181426" y="438569"/>
                </a:lnTo>
                <a:lnTo>
                  <a:pt x="3194456" y="438569"/>
                </a:lnTo>
                <a:lnTo>
                  <a:pt x="3194456" y="425539"/>
                </a:lnTo>
                <a:lnTo>
                  <a:pt x="3181426" y="425539"/>
                </a:lnTo>
                <a:lnTo>
                  <a:pt x="3181426" y="412509"/>
                </a:lnTo>
                <a:lnTo>
                  <a:pt x="3168396" y="412509"/>
                </a:lnTo>
                <a:lnTo>
                  <a:pt x="3168396" y="425539"/>
                </a:lnTo>
                <a:lnTo>
                  <a:pt x="3155366" y="425539"/>
                </a:lnTo>
                <a:lnTo>
                  <a:pt x="3155366" y="438569"/>
                </a:lnTo>
                <a:lnTo>
                  <a:pt x="3168396" y="438569"/>
                </a:lnTo>
                <a:lnTo>
                  <a:pt x="3168396" y="451599"/>
                </a:lnTo>
                <a:close/>
                <a:moveTo>
                  <a:pt x="3374822" y="587045"/>
                </a:moveTo>
                <a:lnTo>
                  <a:pt x="3386480" y="587045"/>
                </a:lnTo>
                <a:lnTo>
                  <a:pt x="3386480" y="575043"/>
                </a:lnTo>
                <a:lnTo>
                  <a:pt x="3398482" y="575043"/>
                </a:lnTo>
                <a:lnTo>
                  <a:pt x="3398482" y="563385"/>
                </a:lnTo>
                <a:lnTo>
                  <a:pt x="3386480" y="563385"/>
                </a:lnTo>
                <a:lnTo>
                  <a:pt x="3386480" y="551383"/>
                </a:lnTo>
                <a:lnTo>
                  <a:pt x="3374822" y="551383"/>
                </a:lnTo>
                <a:lnTo>
                  <a:pt x="3374822" y="563385"/>
                </a:lnTo>
                <a:lnTo>
                  <a:pt x="3362821" y="563385"/>
                </a:lnTo>
                <a:lnTo>
                  <a:pt x="3362821" y="575043"/>
                </a:lnTo>
                <a:lnTo>
                  <a:pt x="3374822" y="575043"/>
                </a:lnTo>
                <a:lnTo>
                  <a:pt x="3374822" y="587045"/>
                </a:lnTo>
                <a:close/>
                <a:moveTo>
                  <a:pt x="1065047" y="1989163"/>
                </a:moveTo>
                <a:lnTo>
                  <a:pt x="1065047" y="1956930"/>
                </a:lnTo>
                <a:lnTo>
                  <a:pt x="1097280" y="1956930"/>
                </a:lnTo>
                <a:lnTo>
                  <a:pt x="1097280" y="1924698"/>
                </a:lnTo>
                <a:lnTo>
                  <a:pt x="1065047" y="1924698"/>
                </a:lnTo>
                <a:lnTo>
                  <a:pt x="1065047" y="1892465"/>
                </a:lnTo>
                <a:lnTo>
                  <a:pt x="1032815" y="1892465"/>
                </a:lnTo>
                <a:lnTo>
                  <a:pt x="1032815" y="1924698"/>
                </a:lnTo>
                <a:lnTo>
                  <a:pt x="1000582" y="1924698"/>
                </a:lnTo>
                <a:lnTo>
                  <a:pt x="1000582" y="1956930"/>
                </a:lnTo>
                <a:lnTo>
                  <a:pt x="1032815" y="1956930"/>
                </a:lnTo>
                <a:lnTo>
                  <a:pt x="1032815" y="1989163"/>
                </a:lnTo>
                <a:lnTo>
                  <a:pt x="1065047" y="1989163"/>
                </a:lnTo>
                <a:close/>
                <a:moveTo>
                  <a:pt x="2610155" y="1755305"/>
                </a:moveTo>
                <a:lnTo>
                  <a:pt x="2610155" y="1787538"/>
                </a:lnTo>
                <a:lnTo>
                  <a:pt x="2577922" y="1787538"/>
                </a:lnTo>
                <a:lnTo>
                  <a:pt x="2577922" y="1819770"/>
                </a:lnTo>
                <a:lnTo>
                  <a:pt x="2610155" y="1819770"/>
                </a:lnTo>
                <a:lnTo>
                  <a:pt x="2610155" y="1852003"/>
                </a:lnTo>
                <a:lnTo>
                  <a:pt x="2642387" y="1852003"/>
                </a:lnTo>
                <a:lnTo>
                  <a:pt x="2642387" y="1819770"/>
                </a:lnTo>
                <a:lnTo>
                  <a:pt x="2674620" y="1819770"/>
                </a:lnTo>
                <a:lnTo>
                  <a:pt x="2674620" y="1787538"/>
                </a:lnTo>
                <a:lnTo>
                  <a:pt x="2642387" y="1787538"/>
                </a:lnTo>
                <a:lnTo>
                  <a:pt x="2642387" y="1755305"/>
                </a:lnTo>
                <a:lnTo>
                  <a:pt x="2610155" y="1755305"/>
                </a:lnTo>
                <a:close/>
                <a:moveTo>
                  <a:pt x="1613687" y="1989163"/>
                </a:moveTo>
                <a:lnTo>
                  <a:pt x="1613687" y="1956930"/>
                </a:lnTo>
                <a:lnTo>
                  <a:pt x="1645920" y="1956930"/>
                </a:lnTo>
                <a:lnTo>
                  <a:pt x="1645920" y="1924698"/>
                </a:lnTo>
                <a:lnTo>
                  <a:pt x="1613687" y="1924698"/>
                </a:lnTo>
                <a:lnTo>
                  <a:pt x="1613687" y="1892465"/>
                </a:lnTo>
                <a:lnTo>
                  <a:pt x="1581455" y="1892465"/>
                </a:lnTo>
                <a:lnTo>
                  <a:pt x="1581455" y="1924698"/>
                </a:lnTo>
                <a:lnTo>
                  <a:pt x="1549222" y="1924698"/>
                </a:lnTo>
                <a:lnTo>
                  <a:pt x="1549222" y="1956930"/>
                </a:lnTo>
                <a:lnTo>
                  <a:pt x="1581455" y="1956930"/>
                </a:lnTo>
                <a:lnTo>
                  <a:pt x="1581455" y="1989163"/>
                </a:lnTo>
                <a:lnTo>
                  <a:pt x="1613687" y="1989163"/>
                </a:lnTo>
                <a:close/>
                <a:moveTo>
                  <a:pt x="1750847" y="1989163"/>
                </a:moveTo>
                <a:lnTo>
                  <a:pt x="1750847" y="1956930"/>
                </a:lnTo>
                <a:lnTo>
                  <a:pt x="1783080" y="1956930"/>
                </a:lnTo>
                <a:lnTo>
                  <a:pt x="1783080" y="1924698"/>
                </a:lnTo>
                <a:lnTo>
                  <a:pt x="1750847" y="1924698"/>
                </a:lnTo>
                <a:lnTo>
                  <a:pt x="1750847" y="1892465"/>
                </a:lnTo>
                <a:lnTo>
                  <a:pt x="1718615" y="1892465"/>
                </a:lnTo>
                <a:lnTo>
                  <a:pt x="1718615" y="1924698"/>
                </a:lnTo>
                <a:lnTo>
                  <a:pt x="1686382" y="1924698"/>
                </a:lnTo>
                <a:lnTo>
                  <a:pt x="1686382" y="1956930"/>
                </a:lnTo>
                <a:lnTo>
                  <a:pt x="1718615" y="1956930"/>
                </a:lnTo>
                <a:lnTo>
                  <a:pt x="1718615" y="1989163"/>
                </a:lnTo>
                <a:lnTo>
                  <a:pt x="1750847" y="1989163"/>
                </a:lnTo>
                <a:close/>
                <a:moveTo>
                  <a:pt x="3372422" y="868223"/>
                </a:moveTo>
                <a:lnTo>
                  <a:pt x="3388881" y="868223"/>
                </a:lnTo>
                <a:lnTo>
                  <a:pt x="3388881" y="851764"/>
                </a:lnTo>
                <a:lnTo>
                  <a:pt x="3405340" y="851764"/>
                </a:lnTo>
                <a:lnTo>
                  <a:pt x="3405340" y="835304"/>
                </a:lnTo>
                <a:lnTo>
                  <a:pt x="3388881" y="835304"/>
                </a:lnTo>
                <a:lnTo>
                  <a:pt x="3388881" y="818845"/>
                </a:lnTo>
                <a:lnTo>
                  <a:pt x="3372422" y="818845"/>
                </a:lnTo>
                <a:lnTo>
                  <a:pt x="3372422" y="835304"/>
                </a:lnTo>
                <a:lnTo>
                  <a:pt x="3355963" y="835304"/>
                </a:lnTo>
                <a:lnTo>
                  <a:pt x="3355963" y="851764"/>
                </a:lnTo>
                <a:lnTo>
                  <a:pt x="3372422" y="851764"/>
                </a:lnTo>
                <a:lnTo>
                  <a:pt x="3372422" y="868223"/>
                </a:lnTo>
                <a:close/>
                <a:moveTo>
                  <a:pt x="3369335" y="1426121"/>
                </a:moveTo>
                <a:lnTo>
                  <a:pt x="3391967" y="1426121"/>
                </a:lnTo>
                <a:lnTo>
                  <a:pt x="3391967" y="1403490"/>
                </a:lnTo>
                <a:lnTo>
                  <a:pt x="3414598" y="1403490"/>
                </a:lnTo>
                <a:lnTo>
                  <a:pt x="3414598" y="1380858"/>
                </a:lnTo>
                <a:lnTo>
                  <a:pt x="3391967" y="1380858"/>
                </a:lnTo>
                <a:lnTo>
                  <a:pt x="3391967" y="1358227"/>
                </a:lnTo>
                <a:lnTo>
                  <a:pt x="3369335" y="1358227"/>
                </a:lnTo>
                <a:lnTo>
                  <a:pt x="3369335" y="1380858"/>
                </a:lnTo>
                <a:lnTo>
                  <a:pt x="3346704" y="1380858"/>
                </a:lnTo>
                <a:lnTo>
                  <a:pt x="3346704" y="1403490"/>
                </a:lnTo>
                <a:lnTo>
                  <a:pt x="3369335" y="1403490"/>
                </a:lnTo>
                <a:lnTo>
                  <a:pt x="3369335" y="1426121"/>
                </a:lnTo>
                <a:close/>
                <a:moveTo>
                  <a:pt x="3370707" y="1148029"/>
                </a:moveTo>
                <a:lnTo>
                  <a:pt x="3390595" y="1148029"/>
                </a:lnTo>
                <a:lnTo>
                  <a:pt x="3390595" y="1127798"/>
                </a:lnTo>
                <a:lnTo>
                  <a:pt x="3410827" y="1127798"/>
                </a:lnTo>
                <a:lnTo>
                  <a:pt x="3410827" y="1107910"/>
                </a:lnTo>
                <a:lnTo>
                  <a:pt x="3390595" y="1107910"/>
                </a:lnTo>
                <a:lnTo>
                  <a:pt x="3390595" y="1087679"/>
                </a:lnTo>
                <a:lnTo>
                  <a:pt x="3370707" y="1087679"/>
                </a:lnTo>
                <a:lnTo>
                  <a:pt x="3370707" y="1107910"/>
                </a:lnTo>
                <a:lnTo>
                  <a:pt x="3350476" y="1107910"/>
                </a:lnTo>
                <a:lnTo>
                  <a:pt x="3350476" y="1127798"/>
                </a:lnTo>
                <a:lnTo>
                  <a:pt x="3370707" y="1127798"/>
                </a:lnTo>
                <a:lnTo>
                  <a:pt x="3370707" y="1148029"/>
                </a:lnTo>
                <a:close/>
                <a:moveTo>
                  <a:pt x="3095701" y="875424"/>
                </a:moveTo>
                <a:lnTo>
                  <a:pt x="3116961" y="875424"/>
                </a:lnTo>
                <a:lnTo>
                  <a:pt x="3116961" y="854164"/>
                </a:lnTo>
                <a:lnTo>
                  <a:pt x="3138221" y="854164"/>
                </a:lnTo>
                <a:lnTo>
                  <a:pt x="3138221" y="832904"/>
                </a:lnTo>
                <a:lnTo>
                  <a:pt x="3116961" y="832904"/>
                </a:lnTo>
                <a:lnTo>
                  <a:pt x="3116961" y="811644"/>
                </a:lnTo>
                <a:lnTo>
                  <a:pt x="3095701" y="811644"/>
                </a:lnTo>
                <a:lnTo>
                  <a:pt x="3095701" y="832904"/>
                </a:lnTo>
                <a:lnTo>
                  <a:pt x="3074441" y="832904"/>
                </a:lnTo>
                <a:lnTo>
                  <a:pt x="3074441" y="854164"/>
                </a:lnTo>
                <a:lnTo>
                  <a:pt x="3095701" y="854164"/>
                </a:lnTo>
                <a:lnTo>
                  <a:pt x="3095701" y="875424"/>
                </a:lnTo>
                <a:close/>
                <a:moveTo>
                  <a:pt x="3416999" y="1654493"/>
                </a:moveTo>
                <a:lnTo>
                  <a:pt x="3392653" y="1654493"/>
                </a:lnTo>
                <a:lnTo>
                  <a:pt x="3392653" y="1630147"/>
                </a:lnTo>
                <a:lnTo>
                  <a:pt x="3368650" y="1630147"/>
                </a:lnTo>
                <a:lnTo>
                  <a:pt x="3368650" y="1654493"/>
                </a:lnTo>
                <a:lnTo>
                  <a:pt x="3344304" y="1654493"/>
                </a:lnTo>
                <a:lnTo>
                  <a:pt x="3344304" y="1678496"/>
                </a:lnTo>
                <a:lnTo>
                  <a:pt x="3368650" y="1678496"/>
                </a:lnTo>
                <a:lnTo>
                  <a:pt x="3368650" y="1702841"/>
                </a:lnTo>
                <a:lnTo>
                  <a:pt x="3392653" y="1702841"/>
                </a:lnTo>
                <a:lnTo>
                  <a:pt x="3392653" y="1678496"/>
                </a:lnTo>
                <a:lnTo>
                  <a:pt x="3416999" y="1678496"/>
                </a:lnTo>
                <a:lnTo>
                  <a:pt x="3416999" y="1654493"/>
                </a:lnTo>
                <a:close/>
                <a:moveTo>
                  <a:pt x="1888007" y="1989163"/>
                </a:moveTo>
                <a:lnTo>
                  <a:pt x="1888007" y="1956930"/>
                </a:lnTo>
                <a:lnTo>
                  <a:pt x="1920240" y="1956930"/>
                </a:lnTo>
                <a:lnTo>
                  <a:pt x="1920240" y="1924698"/>
                </a:lnTo>
                <a:lnTo>
                  <a:pt x="1888007" y="1924698"/>
                </a:lnTo>
                <a:lnTo>
                  <a:pt x="1888007" y="1892465"/>
                </a:lnTo>
                <a:lnTo>
                  <a:pt x="1855775" y="1892465"/>
                </a:lnTo>
                <a:lnTo>
                  <a:pt x="1855775" y="1924698"/>
                </a:lnTo>
                <a:lnTo>
                  <a:pt x="1823542" y="1924698"/>
                </a:lnTo>
                <a:lnTo>
                  <a:pt x="1823542" y="1956930"/>
                </a:lnTo>
                <a:lnTo>
                  <a:pt x="1855775" y="1956930"/>
                </a:lnTo>
                <a:lnTo>
                  <a:pt x="1855775" y="1989163"/>
                </a:lnTo>
                <a:lnTo>
                  <a:pt x="1888007" y="1989163"/>
                </a:lnTo>
                <a:close/>
                <a:moveTo>
                  <a:pt x="2686622" y="319583"/>
                </a:moveTo>
                <a:lnTo>
                  <a:pt x="2703081" y="319583"/>
                </a:lnTo>
                <a:lnTo>
                  <a:pt x="2703081" y="303124"/>
                </a:lnTo>
                <a:lnTo>
                  <a:pt x="2719540" y="303124"/>
                </a:lnTo>
                <a:lnTo>
                  <a:pt x="2719540" y="286664"/>
                </a:lnTo>
                <a:lnTo>
                  <a:pt x="2703081" y="286664"/>
                </a:lnTo>
                <a:lnTo>
                  <a:pt x="2703081" y="270205"/>
                </a:lnTo>
                <a:lnTo>
                  <a:pt x="2686622" y="270205"/>
                </a:lnTo>
                <a:lnTo>
                  <a:pt x="2686622" y="286664"/>
                </a:lnTo>
                <a:lnTo>
                  <a:pt x="2670163" y="286664"/>
                </a:lnTo>
                <a:lnTo>
                  <a:pt x="2670163" y="303124"/>
                </a:lnTo>
                <a:lnTo>
                  <a:pt x="2686622" y="303124"/>
                </a:lnTo>
                <a:lnTo>
                  <a:pt x="2686622" y="319583"/>
                </a:lnTo>
                <a:close/>
                <a:moveTo>
                  <a:pt x="2683879" y="602132"/>
                </a:moveTo>
                <a:lnTo>
                  <a:pt x="2705824" y="602132"/>
                </a:lnTo>
                <a:lnTo>
                  <a:pt x="2705824" y="580187"/>
                </a:lnTo>
                <a:lnTo>
                  <a:pt x="2727770" y="580187"/>
                </a:lnTo>
                <a:lnTo>
                  <a:pt x="2727770" y="558241"/>
                </a:lnTo>
                <a:lnTo>
                  <a:pt x="2705824" y="558241"/>
                </a:lnTo>
                <a:lnTo>
                  <a:pt x="2705824" y="536296"/>
                </a:lnTo>
                <a:lnTo>
                  <a:pt x="2683879" y="536296"/>
                </a:lnTo>
                <a:lnTo>
                  <a:pt x="2683879" y="558241"/>
                </a:lnTo>
                <a:lnTo>
                  <a:pt x="2661933" y="558241"/>
                </a:lnTo>
                <a:lnTo>
                  <a:pt x="2661933" y="580187"/>
                </a:lnTo>
                <a:lnTo>
                  <a:pt x="2683879" y="580187"/>
                </a:lnTo>
                <a:lnTo>
                  <a:pt x="2683879" y="602132"/>
                </a:lnTo>
                <a:close/>
                <a:moveTo>
                  <a:pt x="2619413" y="178651"/>
                </a:moveTo>
                <a:lnTo>
                  <a:pt x="2633129" y="178651"/>
                </a:lnTo>
                <a:lnTo>
                  <a:pt x="2633129" y="164592"/>
                </a:lnTo>
                <a:lnTo>
                  <a:pt x="2647188" y="164592"/>
                </a:lnTo>
                <a:lnTo>
                  <a:pt x="2647188" y="150876"/>
                </a:lnTo>
                <a:lnTo>
                  <a:pt x="2633129" y="150876"/>
                </a:lnTo>
                <a:lnTo>
                  <a:pt x="2633129" y="136817"/>
                </a:lnTo>
                <a:lnTo>
                  <a:pt x="2619413" y="136817"/>
                </a:lnTo>
                <a:lnTo>
                  <a:pt x="2619413" y="150876"/>
                </a:lnTo>
                <a:lnTo>
                  <a:pt x="2605354" y="150876"/>
                </a:lnTo>
                <a:lnTo>
                  <a:pt x="2605354" y="164592"/>
                </a:lnTo>
                <a:lnTo>
                  <a:pt x="2619413" y="164592"/>
                </a:lnTo>
                <a:lnTo>
                  <a:pt x="2619413" y="178651"/>
                </a:lnTo>
                <a:close/>
                <a:moveTo>
                  <a:pt x="2754173" y="459829"/>
                </a:moveTo>
                <a:lnTo>
                  <a:pt x="2772689" y="459829"/>
                </a:lnTo>
                <a:lnTo>
                  <a:pt x="2772689" y="441312"/>
                </a:lnTo>
                <a:lnTo>
                  <a:pt x="2791206" y="441312"/>
                </a:lnTo>
                <a:lnTo>
                  <a:pt x="2791206" y="422796"/>
                </a:lnTo>
                <a:lnTo>
                  <a:pt x="2772689" y="422796"/>
                </a:lnTo>
                <a:lnTo>
                  <a:pt x="2772689" y="404279"/>
                </a:lnTo>
                <a:lnTo>
                  <a:pt x="2754173" y="404279"/>
                </a:lnTo>
                <a:lnTo>
                  <a:pt x="2754173" y="422796"/>
                </a:lnTo>
                <a:lnTo>
                  <a:pt x="2735656" y="422796"/>
                </a:lnTo>
                <a:lnTo>
                  <a:pt x="2735656" y="441312"/>
                </a:lnTo>
                <a:lnTo>
                  <a:pt x="2754173" y="441312"/>
                </a:lnTo>
                <a:lnTo>
                  <a:pt x="2754173" y="459829"/>
                </a:lnTo>
                <a:close/>
                <a:moveTo>
                  <a:pt x="3049753" y="944347"/>
                </a:moveTo>
                <a:lnTo>
                  <a:pt x="3025750" y="944347"/>
                </a:lnTo>
                <a:lnTo>
                  <a:pt x="3025750" y="968693"/>
                </a:lnTo>
                <a:lnTo>
                  <a:pt x="3001404" y="968693"/>
                </a:lnTo>
                <a:lnTo>
                  <a:pt x="3001404" y="992696"/>
                </a:lnTo>
                <a:lnTo>
                  <a:pt x="3025750" y="992696"/>
                </a:lnTo>
                <a:lnTo>
                  <a:pt x="3025750" y="1017041"/>
                </a:lnTo>
                <a:lnTo>
                  <a:pt x="3049753" y="1017041"/>
                </a:lnTo>
                <a:lnTo>
                  <a:pt x="3049753" y="992696"/>
                </a:lnTo>
                <a:lnTo>
                  <a:pt x="3074099" y="992696"/>
                </a:lnTo>
                <a:lnTo>
                  <a:pt x="3074099" y="968693"/>
                </a:lnTo>
                <a:lnTo>
                  <a:pt x="3049753" y="968693"/>
                </a:lnTo>
                <a:lnTo>
                  <a:pt x="3049753" y="944347"/>
                </a:lnTo>
                <a:close/>
                <a:moveTo>
                  <a:pt x="2616327" y="462229"/>
                </a:moveTo>
                <a:lnTo>
                  <a:pt x="2636215" y="462229"/>
                </a:lnTo>
                <a:lnTo>
                  <a:pt x="2636215" y="441998"/>
                </a:lnTo>
                <a:lnTo>
                  <a:pt x="2656447" y="441998"/>
                </a:lnTo>
                <a:lnTo>
                  <a:pt x="2656447" y="422110"/>
                </a:lnTo>
                <a:lnTo>
                  <a:pt x="2636215" y="422110"/>
                </a:lnTo>
                <a:lnTo>
                  <a:pt x="2636215" y="401879"/>
                </a:lnTo>
                <a:lnTo>
                  <a:pt x="2616327" y="401879"/>
                </a:lnTo>
                <a:lnTo>
                  <a:pt x="2616327" y="422110"/>
                </a:lnTo>
                <a:lnTo>
                  <a:pt x="2596096" y="422110"/>
                </a:lnTo>
                <a:lnTo>
                  <a:pt x="2596096" y="441998"/>
                </a:lnTo>
                <a:lnTo>
                  <a:pt x="2616327" y="441998"/>
                </a:lnTo>
                <a:lnTo>
                  <a:pt x="2616327" y="462229"/>
                </a:lnTo>
                <a:close/>
                <a:moveTo>
                  <a:pt x="2546033" y="604190"/>
                </a:moveTo>
                <a:lnTo>
                  <a:pt x="2569350" y="604190"/>
                </a:lnTo>
                <a:lnTo>
                  <a:pt x="2569350" y="580873"/>
                </a:lnTo>
                <a:lnTo>
                  <a:pt x="2592667" y="580873"/>
                </a:lnTo>
                <a:lnTo>
                  <a:pt x="2592667" y="557555"/>
                </a:lnTo>
                <a:lnTo>
                  <a:pt x="2569350" y="557555"/>
                </a:lnTo>
                <a:lnTo>
                  <a:pt x="2569350" y="534238"/>
                </a:lnTo>
                <a:lnTo>
                  <a:pt x="2546033" y="534238"/>
                </a:lnTo>
                <a:lnTo>
                  <a:pt x="2546033" y="557555"/>
                </a:lnTo>
                <a:lnTo>
                  <a:pt x="2522716" y="557555"/>
                </a:lnTo>
                <a:lnTo>
                  <a:pt x="2522716" y="580873"/>
                </a:lnTo>
                <a:lnTo>
                  <a:pt x="2546033" y="580873"/>
                </a:lnTo>
                <a:lnTo>
                  <a:pt x="2546033" y="604190"/>
                </a:lnTo>
                <a:close/>
                <a:moveTo>
                  <a:pt x="2775433" y="670712"/>
                </a:moveTo>
                <a:lnTo>
                  <a:pt x="2751430" y="670712"/>
                </a:lnTo>
                <a:lnTo>
                  <a:pt x="2751430" y="694373"/>
                </a:lnTo>
                <a:lnTo>
                  <a:pt x="2727770" y="694373"/>
                </a:lnTo>
                <a:lnTo>
                  <a:pt x="2727770" y="718376"/>
                </a:lnTo>
                <a:lnTo>
                  <a:pt x="2751430" y="718376"/>
                </a:lnTo>
                <a:lnTo>
                  <a:pt x="2751430" y="742036"/>
                </a:lnTo>
                <a:lnTo>
                  <a:pt x="2775433" y="742036"/>
                </a:lnTo>
                <a:lnTo>
                  <a:pt x="2775433" y="718376"/>
                </a:lnTo>
                <a:lnTo>
                  <a:pt x="2799093" y="718376"/>
                </a:lnTo>
                <a:lnTo>
                  <a:pt x="2799093" y="694373"/>
                </a:lnTo>
                <a:lnTo>
                  <a:pt x="2775433" y="694373"/>
                </a:lnTo>
                <a:lnTo>
                  <a:pt x="2775433" y="670712"/>
                </a:lnTo>
                <a:close/>
                <a:moveTo>
                  <a:pt x="2481568" y="180365"/>
                </a:moveTo>
                <a:lnTo>
                  <a:pt x="2496655" y="180365"/>
                </a:lnTo>
                <a:lnTo>
                  <a:pt x="2496655" y="165278"/>
                </a:lnTo>
                <a:lnTo>
                  <a:pt x="2511743" y="165278"/>
                </a:lnTo>
                <a:lnTo>
                  <a:pt x="2511743" y="150190"/>
                </a:lnTo>
                <a:lnTo>
                  <a:pt x="2496655" y="150190"/>
                </a:lnTo>
                <a:lnTo>
                  <a:pt x="2496655" y="135103"/>
                </a:lnTo>
                <a:lnTo>
                  <a:pt x="2481568" y="135103"/>
                </a:lnTo>
                <a:lnTo>
                  <a:pt x="2481568" y="150190"/>
                </a:lnTo>
                <a:lnTo>
                  <a:pt x="2466480" y="150190"/>
                </a:lnTo>
                <a:lnTo>
                  <a:pt x="2466480" y="165278"/>
                </a:lnTo>
                <a:lnTo>
                  <a:pt x="2481568" y="165278"/>
                </a:lnTo>
                <a:lnTo>
                  <a:pt x="2481568" y="180365"/>
                </a:lnTo>
                <a:close/>
                <a:moveTo>
                  <a:pt x="2548776" y="321297"/>
                </a:moveTo>
                <a:lnTo>
                  <a:pt x="2566607" y="321297"/>
                </a:lnTo>
                <a:lnTo>
                  <a:pt x="2566607" y="303809"/>
                </a:lnTo>
                <a:lnTo>
                  <a:pt x="2584094" y="303809"/>
                </a:lnTo>
                <a:lnTo>
                  <a:pt x="2584094" y="285979"/>
                </a:lnTo>
                <a:lnTo>
                  <a:pt x="2566607" y="285979"/>
                </a:lnTo>
                <a:lnTo>
                  <a:pt x="2566607" y="268491"/>
                </a:lnTo>
                <a:lnTo>
                  <a:pt x="2548776" y="268491"/>
                </a:lnTo>
                <a:lnTo>
                  <a:pt x="2548776" y="285979"/>
                </a:lnTo>
                <a:lnTo>
                  <a:pt x="2531288" y="285979"/>
                </a:lnTo>
                <a:lnTo>
                  <a:pt x="2531288" y="303809"/>
                </a:lnTo>
                <a:lnTo>
                  <a:pt x="2548776" y="303809"/>
                </a:lnTo>
                <a:lnTo>
                  <a:pt x="2548776" y="321297"/>
                </a:lnTo>
                <a:close/>
                <a:moveTo>
                  <a:pt x="2757259" y="176594"/>
                </a:moveTo>
                <a:lnTo>
                  <a:pt x="2769604" y="176594"/>
                </a:lnTo>
                <a:lnTo>
                  <a:pt x="2769604" y="163906"/>
                </a:lnTo>
                <a:lnTo>
                  <a:pt x="2782291" y="163906"/>
                </a:lnTo>
                <a:lnTo>
                  <a:pt x="2782291" y="151562"/>
                </a:lnTo>
                <a:lnTo>
                  <a:pt x="2769604" y="151562"/>
                </a:lnTo>
                <a:lnTo>
                  <a:pt x="2769604" y="138875"/>
                </a:lnTo>
                <a:lnTo>
                  <a:pt x="2757259" y="138875"/>
                </a:lnTo>
                <a:lnTo>
                  <a:pt x="2757259" y="151562"/>
                </a:lnTo>
                <a:lnTo>
                  <a:pt x="2744572" y="151562"/>
                </a:lnTo>
                <a:lnTo>
                  <a:pt x="2744572" y="163906"/>
                </a:lnTo>
                <a:lnTo>
                  <a:pt x="2757259" y="163906"/>
                </a:lnTo>
                <a:lnTo>
                  <a:pt x="2757259" y="176594"/>
                </a:lnTo>
                <a:close/>
                <a:moveTo>
                  <a:pt x="2821724" y="600075"/>
                </a:moveTo>
                <a:lnTo>
                  <a:pt x="2842298" y="600075"/>
                </a:lnTo>
                <a:lnTo>
                  <a:pt x="2842298" y="579501"/>
                </a:lnTo>
                <a:lnTo>
                  <a:pt x="2862872" y="579501"/>
                </a:lnTo>
                <a:lnTo>
                  <a:pt x="2862872" y="558927"/>
                </a:lnTo>
                <a:lnTo>
                  <a:pt x="2842298" y="558927"/>
                </a:lnTo>
                <a:lnTo>
                  <a:pt x="2842298" y="538353"/>
                </a:lnTo>
                <a:lnTo>
                  <a:pt x="2821724" y="538353"/>
                </a:lnTo>
                <a:lnTo>
                  <a:pt x="2821724" y="558927"/>
                </a:lnTo>
                <a:lnTo>
                  <a:pt x="2801150" y="558927"/>
                </a:lnTo>
                <a:lnTo>
                  <a:pt x="2801150" y="579501"/>
                </a:lnTo>
                <a:lnTo>
                  <a:pt x="2821724" y="579501"/>
                </a:lnTo>
                <a:lnTo>
                  <a:pt x="2821724" y="600075"/>
                </a:lnTo>
                <a:close/>
                <a:moveTo>
                  <a:pt x="2980830" y="808215"/>
                </a:moveTo>
                <a:lnTo>
                  <a:pt x="2957513" y="808215"/>
                </a:lnTo>
                <a:lnTo>
                  <a:pt x="2957513" y="831875"/>
                </a:lnTo>
                <a:lnTo>
                  <a:pt x="2933852" y="831875"/>
                </a:lnTo>
                <a:lnTo>
                  <a:pt x="2933852" y="855193"/>
                </a:lnTo>
                <a:lnTo>
                  <a:pt x="2957513" y="855193"/>
                </a:lnTo>
                <a:lnTo>
                  <a:pt x="2957513" y="878853"/>
                </a:lnTo>
                <a:lnTo>
                  <a:pt x="2980830" y="878853"/>
                </a:lnTo>
                <a:lnTo>
                  <a:pt x="2980830" y="855193"/>
                </a:lnTo>
                <a:lnTo>
                  <a:pt x="3004490" y="855193"/>
                </a:lnTo>
                <a:lnTo>
                  <a:pt x="3004490" y="831875"/>
                </a:lnTo>
                <a:lnTo>
                  <a:pt x="2980830" y="831875"/>
                </a:lnTo>
                <a:lnTo>
                  <a:pt x="2980830" y="808215"/>
                </a:lnTo>
                <a:close/>
                <a:moveTo>
                  <a:pt x="2962656" y="314439"/>
                </a:moveTo>
                <a:lnTo>
                  <a:pt x="2975686" y="314439"/>
                </a:lnTo>
                <a:lnTo>
                  <a:pt x="2975686" y="301409"/>
                </a:lnTo>
                <a:lnTo>
                  <a:pt x="2988716" y="301409"/>
                </a:lnTo>
                <a:lnTo>
                  <a:pt x="2988716" y="288379"/>
                </a:lnTo>
                <a:lnTo>
                  <a:pt x="2975686" y="288379"/>
                </a:lnTo>
                <a:lnTo>
                  <a:pt x="2975686" y="275349"/>
                </a:lnTo>
                <a:lnTo>
                  <a:pt x="2962656" y="275349"/>
                </a:lnTo>
                <a:lnTo>
                  <a:pt x="2962656" y="288379"/>
                </a:lnTo>
                <a:lnTo>
                  <a:pt x="2949626" y="288379"/>
                </a:lnTo>
                <a:lnTo>
                  <a:pt x="2949626" y="301409"/>
                </a:lnTo>
                <a:lnTo>
                  <a:pt x="2962656" y="301409"/>
                </a:lnTo>
                <a:lnTo>
                  <a:pt x="2962656" y="314439"/>
                </a:lnTo>
                <a:close/>
                <a:moveTo>
                  <a:pt x="3030208" y="454685"/>
                </a:moveTo>
                <a:lnTo>
                  <a:pt x="3045295" y="454685"/>
                </a:lnTo>
                <a:lnTo>
                  <a:pt x="3045295" y="439598"/>
                </a:lnTo>
                <a:lnTo>
                  <a:pt x="3060383" y="439598"/>
                </a:lnTo>
                <a:lnTo>
                  <a:pt x="3060383" y="424510"/>
                </a:lnTo>
                <a:lnTo>
                  <a:pt x="3045295" y="424510"/>
                </a:lnTo>
                <a:lnTo>
                  <a:pt x="3045295" y="409423"/>
                </a:lnTo>
                <a:lnTo>
                  <a:pt x="3030208" y="409423"/>
                </a:lnTo>
                <a:lnTo>
                  <a:pt x="3030208" y="424510"/>
                </a:lnTo>
                <a:lnTo>
                  <a:pt x="3015120" y="424510"/>
                </a:lnTo>
                <a:lnTo>
                  <a:pt x="3015120" y="439598"/>
                </a:lnTo>
                <a:lnTo>
                  <a:pt x="3030208" y="439598"/>
                </a:lnTo>
                <a:lnTo>
                  <a:pt x="3030208" y="454685"/>
                </a:lnTo>
                <a:close/>
                <a:moveTo>
                  <a:pt x="3027807" y="736549"/>
                </a:moveTo>
                <a:lnTo>
                  <a:pt x="3047695" y="736549"/>
                </a:lnTo>
                <a:lnTo>
                  <a:pt x="3047695" y="716318"/>
                </a:lnTo>
                <a:lnTo>
                  <a:pt x="3067927" y="716318"/>
                </a:lnTo>
                <a:lnTo>
                  <a:pt x="3067927" y="696430"/>
                </a:lnTo>
                <a:lnTo>
                  <a:pt x="3047695" y="696430"/>
                </a:lnTo>
                <a:lnTo>
                  <a:pt x="3047695" y="676199"/>
                </a:lnTo>
                <a:lnTo>
                  <a:pt x="3027807" y="676199"/>
                </a:lnTo>
                <a:lnTo>
                  <a:pt x="3027807" y="696430"/>
                </a:lnTo>
                <a:lnTo>
                  <a:pt x="3007576" y="696430"/>
                </a:lnTo>
                <a:lnTo>
                  <a:pt x="3007576" y="716318"/>
                </a:lnTo>
                <a:lnTo>
                  <a:pt x="3027807" y="716318"/>
                </a:lnTo>
                <a:lnTo>
                  <a:pt x="3027807" y="736549"/>
                </a:lnTo>
                <a:close/>
                <a:moveTo>
                  <a:pt x="2889619" y="739635"/>
                </a:moveTo>
                <a:lnTo>
                  <a:pt x="2911564" y="739635"/>
                </a:lnTo>
                <a:lnTo>
                  <a:pt x="2911564" y="717347"/>
                </a:lnTo>
                <a:lnTo>
                  <a:pt x="2933852" y="717347"/>
                </a:lnTo>
                <a:lnTo>
                  <a:pt x="2933852" y="695401"/>
                </a:lnTo>
                <a:lnTo>
                  <a:pt x="2911564" y="695401"/>
                </a:lnTo>
                <a:lnTo>
                  <a:pt x="2911564" y="673113"/>
                </a:lnTo>
                <a:lnTo>
                  <a:pt x="2889619" y="673113"/>
                </a:lnTo>
                <a:lnTo>
                  <a:pt x="2889619" y="695401"/>
                </a:lnTo>
                <a:lnTo>
                  <a:pt x="2867330" y="695401"/>
                </a:lnTo>
                <a:lnTo>
                  <a:pt x="2867330" y="717347"/>
                </a:lnTo>
                <a:lnTo>
                  <a:pt x="2889619" y="717347"/>
                </a:lnTo>
                <a:lnTo>
                  <a:pt x="2889619" y="739635"/>
                </a:lnTo>
                <a:close/>
                <a:moveTo>
                  <a:pt x="2824468" y="317183"/>
                </a:moveTo>
                <a:lnTo>
                  <a:pt x="2839555" y="317183"/>
                </a:lnTo>
                <a:lnTo>
                  <a:pt x="2839555" y="302438"/>
                </a:lnTo>
                <a:lnTo>
                  <a:pt x="2854300" y="302438"/>
                </a:lnTo>
                <a:lnTo>
                  <a:pt x="2854300" y="287350"/>
                </a:lnTo>
                <a:lnTo>
                  <a:pt x="2839555" y="287350"/>
                </a:lnTo>
                <a:lnTo>
                  <a:pt x="2839555" y="272606"/>
                </a:lnTo>
                <a:lnTo>
                  <a:pt x="2824468" y="272606"/>
                </a:lnTo>
                <a:lnTo>
                  <a:pt x="2824468" y="287350"/>
                </a:lnTo>
                <a:lnTo>
                  <a:pt x="2809723" y="287350"/>
                </a:lnTo>
                <a:lnTo>
                  <a:pt x="2809723" y="302438"/>
                </a:lnTo>
                <a:lnTo>
                  <a:pt x="2824468" y="302438"/>
                </a:lnTo>
                <a:lnTo>
                  <a:pt x="2824468" y="317183"/>
                </a:lnTo>
                <a:close/>
                <a:moveTo>
                  <a:pt x="2892019" y="457429"/>
                </a:moveTo>
                <a:lnTo>
                  <a:pt x="2909164" y="457429"/>
                </a:lnTo>
                <a:lnTo>
                  <a:pt x="2909164" y="440627"/>
                </a:lnTo>
                <a:lnTo>
                  <a:pt x="2925966" y="440627"/>
                </a:lnTo>
                <a:lnTo>
                  <a:pt x="2925966" y="423482"/>
                </a:lnTo>
                <a:lnTo>
                  <a:pt x="2909164" y="423482"/>
                </a:lnTo>
                <a:lnTo>
                  <a:pt x="2909164" y="406679"/>
                </a:lnTo>
                <a:lnTo>
                  <a:pt x="2892019" y="406679"/>
                </a:lnTo>
                <a:lnTo>
                  <a:pt x="2892019" y="423482"/>
                </a:lnTo>
                <a:lnTo>
                  <a:pt x="2875217" y="423482"/>
                </a:lnTo>
                <a:lnTo>
                  <a:pt x="2875217" y="440627"/>
                </a:lnTo>
                <a:lnTo>
                  <a:pt x="2892019" y="440627"/>
                </a:lnTo>
                <a:lnTo>
                  <a:pt x="2892019" y="457429"/>
                </a:lnTo>
                <a:close/>
                <a:moveTo>
                  <a:pt x="2959913" y="597332"/>
                </a:moveTo>
                <a:lnTo>
                  <a:pt x="2978429" y="597332"/>
                </a:lnTo>
                <a:lnTo>
                  <a:pt x="2978429" y="578472"/>
                </a:lnTo>
                <a:lnTo>
                  <a:pt x="2997289" y="578472"/>
                </a:lnTo>
                <a:lnTo>
                  <a:pt x="2997289" y="559956"/>
                </a:lnTo>
                <a:lnTo>
                  <a:pt x="2978429" y="559956"/>
                </a:lnTo>
                <a:lnTo>
                  <a:pt x="2978429" y="541096"/>
                </a:lnTo>
                <a:lnTo>
                  <a:pt x="2959913" y="541096"/>
                </a:lnTo>
                <a:lnTo>
                  <a:pt x="2959913" y="559956"/>
                </a:lnTo>
                <a:lnTo>
                  <a:pt x="2941054" y="559956"/>
                </a:lnTo>
                <a:lnTo>
                  <a:pt x="2941054" y="578472"/>
                </a:lnTo>
                <a:lnTo>
                  <a:pt x="2959913" y="578472"/>
                </a:lnTo>
                <a:lnTo>
                  <a:pt x="2959913" y="597332"/>
                </a:lnTo>
                <a:close/>
                <a:moveTo>
                  <a:pt x="2230907" y="2126323"/>
                </a:moveTo>
                <a:lnTo>
                  <a:pt x="2230907" y="2094090"/>
                </a:lnTo>
                <a:lnTo>
                  <a:pt x="2263140" y="2094090"/>
                </a:lnTo>
                <a:lnTo>
                  <a:pt x="2263140" y="2061858"/>
                </a:lnTo>
                <a:lnTo>
                  <a:pt x="2230907" y="2061858"/>
                </a:lnTo>
                <a:lnTo>
                  <a:pt x="2230907" y="2029625"/>
                </a:lnTo>
                <a:lnTo>
                  <a:pt x="2198675" y="2029625"/>
                </a:lnTo>
                <a:lnTo>
                  <a:pt x="2198675" y="2061858"/>
                </a:lnTo>
                <a:lnTo>
                  <a:pt x="2166442" y="2061858"/>
                </a:lnTo>
                <a:lnTo>
                  <a:pt x="2166442" y="2094090"/>
                </a:lnTo>
                <a:lnTo>
                  <a:pt x="2198675" y="2094090"/>
                </a:lnTo>
                <a:lnTo>
                  <a:pt x="2198675" y="2126323"/>
                </a:lnTo>
                <a:lnTo>
                  <a:pt x="2230907" y="2126323"/>
                </a:lnTo>
                <a:close/>
                <a:moveTo>
                  <a:pt x="1476527" y="1989163"/>
                </a:moveTo>
                <a:lnTo>
                  <a:pt x="1476527" y="1956930"/>
                </a:lnTo>
                <a:lnTo>
                  <a:pt x="1508760" y="1956930"/>
                </a:lnTo>
                <a:lnTo>
                  <a:pt x="1508760" y="1924698"/>
                </a:lnTo>
                <a:lnTo>
                  <a:pt x="1476527" y="1924698"/>
                </a:lnTo>
                <a:lnTo>
                  <a:pt x="1476527" y="1892465"/>
                </a:lnTo>
                <a:lnTo>
                  <a:pt x="1444295" y="1892465"/>
                </a:lnTo>
                <a:lnTo>
                  <a:pt x="1444295" y="1924698"/>
                </a:lnTo>
                <a:lnTo>
                  <a:pt x="1412062" y="1924698"/>
                </a:lnTo>
                <a:lnTo>
                  <a:pt x="1412062" y="1956930"/>
                </a:lnTo>
                <a:lnTo>
                  <a:pt x="1444295" y="1956930"/>
                </a:lnTo>
                <a:lnTo>
                  <a:pt x="1444295" y="1989163"/>
                </a:lnTo>
                <a:lnTo>
                  <a:pt x="1476527" y="1989163"/>
                </a:lnTo>
                <a:close/>
                <a:moveTo>
                  <a:pt x="1545107" y="2126323"/>
                </a:moveTo>
                <a:lnTo>
                  <a:pt x="1545107" y="2094090"/>
                </a:lnTo>
                <a:lnTo>
                  <a:pt x="1577340" y="2094090"/>
                </a:lnTo>
                <a:lnTo>
                  <a:pt x="1577340" y="2061858"/>
                </a:lnTo>
                <a:lnTo>
                  <a:pt x="1545107" y="2061858"/>
                </a:lnTo>
                <a:lnTo>
                  <a:pt x="1545107" y="2029625"/>
                </a:lnTo>
                <a:lnTo>
                  <a:pt x="1512875" y="2029625"/>
                </a:lnTo>
                <a:lnTo>
                  <a:pt x="1512875" y="2061858"/>
                </a:lnTo>
                <a:lnTo>
                  <a:pt x="1480642" y="2061858"/>
                </a:lnTo>
                <a:lnTo>
                  <a:pt x="1480642" y="2094090"/>
                </a:lnTo>
                <a:lnTo>
                  <a:pt x="1512875" y="2094090"/>
                </a:lnTo>
                <a:lnTo>
                  <a:pt x="1512875" y="2126323"/>
                </a:lnTo>
                <a:lnTo>
                  <a:pt x="1545107" y="2126323"/>
                </a:lnTo>
                <a:close/>
                <a:moveTo>
                  <a:pt x="1613687" y="2263483"/>
                </a:moveTo>
                <a:lnTo>
                  <a:pt x="1613687" y="2231250"/>
                </a:lnTo>
                <a:lnTo>
                  <a:pt x="1645920" y="2231250"/>
                </a:lnTo>
                <a:lnTo>
                  <a:pt x="1645920" y="2199018"/>
                </a:lnTo>
                <a:lnTo>
                  <a:pt x="1613687" y="2199018"/>
                </a:lnTo>
                <a:lnTo>
                  <a:pt x="1613687" y="2166785"/>
                </a:lnTo>
                <a:lnTo>
                  <a:pt x="1581455" y="2166785"/>
                </a:lnTo>
                <a:lnTo>
                  <a:pt x="1581455" y="2199018"/>
                </a:lnTo>
                <a:lnTo>
                  <a:pt x="1549222" y="2199018"/>
                </a:lnTo>
                <a:lnTo>
                  <a:pt x="1549222" y="2231250"/>
                </a:lnTo>
                <a:lnTo>
                  <a:pt x="1581455" y="2231250"/>
                </a:lnTo>
                <a:lnTo>
                  <a:pt x="1581455" y="2263483"/>
                </a:lnTo>
                <a:lnTo>
                  <a:pt x="1613687" y="2263483"/>
                </a:lnTo>
                <a:close/>
                <a:moveTo>
                  <a:pt x="1819427" y="2126323"/>
                </a:moveTo>
                <a:lnTo>
                  <a:pt x="1819427" y="2094090"/>
                </a:lnTo>
                <a:lnTo>
                  <a:pt x="1851660" y="2094090"/>
                </a:lnTo>
                <a:lnTo>
                  <a:pt x="1851660" y="2061858"/>
                </a:lnTo>
                <a:lnTo>
                  <a:pt x="1819427" y="2061858"/>
                </a:lnTo>
                <a:lnTo>
                  <a:pt x="1819427" y="2029625"/>
                </a:lnTo>
                <a:lnTo>
                  <a:pt x="1787195" y="2029625"/>
                </a:lnTo>
                <a:lnTo>
                  <a:pt x="1787195" y="2061858"/>
                </a:lnTo>
                <a:lnTo>
                  <a:pt x="1754962" y="2061858"/>
                </a:lnTo>
                <a:lnTo>
                  <a:pt x="1754962" y="2094090"/>
                </a:lnTo>
                <a:lnTo>
                  <a:pt x="1787195" y="2094090"/>
                </a:lnTo>
                <a:lnTo>
                  <a:pt x="1787195" y="2126323"/>
                </a:lnTo>
                <a:lnTo>
                  <a:pt x="1819427" y="2126323"/>
                </a:lnTo>
                <a:close/>
                <a:moveTo>
                  <a:pt x="1682267" y="2126323"/>
                </a:moveTo>
                <a:lnTo>
                  <a:pt x="1682267" y="2094090"/>
                </a:lnTo>
                <a:lnTo>
                  <a:pt x="1714500" y="2094090"/>
                </a:lnTo>
                <a:lnTo>
                  <a:pt x="1714500" y="2061858"/>
                </a:lnTo>
                <a:lnTo>
                  <a:pt x="1682267" y="2061858"/>
                </a:lnTo>
                <a:lnTo>
                  <a:pt x="1682267" y="2029625"/>
                </a:lnTo>
                <a:lnTo>
                  <a:pt x="1650035" y="2029625"/>
                </a:lnTo>
                <a:lnTo>
                  <a:pt x="1650035" y="2061858"/>
                </a:lnTo>
                <a:lnTo>
                  <a:pt x="1617802" y="2061858"/>
                </a:lnTo>
                <a:lnTo>
                  <a:pt x="1617802" y="2094090"/>
                </a:lnTo>
                <a:lnTo>
                  <a:pt x="1650035" y="2094090"/>
                </a:lnTo>
                <a:lnTo>
                  <a:pt x="1650035" y="2126323"/>
                </a:lnTo>
                <a:lnTo>
                  <a:pt x="1682267" y="2126323"/>
                </a:lnTo>
                <a:close/>
                <a:moveTo>
                  <a:pt x="1750847" y="2263483"/>
                </a:moveTo>
                <a:lnTo>
                  <a:pt x="1750847" y="2231250"/>
                </a:lnTo>
                <a:lnTo>
                  <a:pt x="1783080" y="2231250"/>
                </a:lnTo>
                <a:lnTo>
                  <a:pt x="1783080" y="2199018"/>
                </a:lnTo>
                <a:lnTo>
                  <a:pt x="1750847" y="2199018"/>
                </a:lnTo>
                <a:lnTo>
                  <a:pt x="1750847" y="2166785"/>
                </a:lnTo>
                <a:lnTo>
                  <a:pt x="1718615" y="2166785"/>
                </a:lnTo>
                <a:lnTo>
                  <a:pt x="1718615" y="2199018"/>
                </a:lnTo>
                <a:lnTo>
                  <a:pt x="1686382" y="2199018"/>
                </a:lnTo>
                <a:lnTo>
                  <a:pt x="1686382" y="2231250"/>
                </a:lnTo>
                <a:lnTo>
                  <a:pt x="1718615" y="2231250"/>
                </a:lnTo>
                <a:lnTo>
                  <a:pt x="1718615" y="2263483"/>
                </a:lnTo>
                <a:lnTo>
                  <a:pt x="1750847" y="2263483"/>
                </a:lnTo>
                <a:close/>
                <a:moveTo>
                  <a:pt x="1407947" y="2126323"/>
                </a:moveTo>
                <a:lnTo>
                  <a:pt x="1407947" y="2094090"/>
                </a:lnTo>
                <a:lnTo>
                  <a:pt x="1440180" y="2094090"/>
                </a:lnTo>
                <a:lnTo>
                  <a:pt x="1440180" y="2061858"/>
                </a:lnTo>
                <a:lnTo>
                  <a:pt x="1407947" y="2061858"/>
                </a:lnTo>
                <a:lnTo>
                  <a:pt x="1407947" y="2029625"/>
                </a:lnTo>
                <a:lnTo>
                  <a:pt x="1375715" y="2029625"/>
                </a:lnTo>
                <a:lnTo>
                  <a:pt x="1375715" y="2061858"/>
                </a:lnTo>
                <a:lnTo>
                  <a:pt x="1343482" y="2061858"/>
                </a:lnTo>
                <a:lnTo>
                  <a:pt x="1343482" y="2094090"/>
                </a:lnTo>
                <a:lnTo>
                  <a:pt x="1375715" y="2094090"/>
                </a:lnTo>
                <a:lnTo>
                  <a:pt x="1375715" y="2126323"/>
                </a:lnTo>
                <a:lnTo>
                  <a:pt x="1407947" y="2126323"/>
                </a:lnTo>
                <a:close/>
                <a:moveTo>
                  <a:pt x="1202207" y="1989163"/>
                </a:moveTo>
                <a:lnTo>
                  <a:pt x="1202207" y="1956930"/>
                </a:lnTo>
                <a:lnTo>
                  <a:pt x="1234440" y="1956930"/>
                </a:lnTo>
                <a:lnTo>
                  <a:pt x="1234440" y="1924698"/>
                </a:lnTo>
                <a:lnTo>
                  <a:pt x="1202207" y="1924698"/>
                </a:lnTo>
                <a:lnTo>
                  <a:pt x="1202207" y="1892465"/>
                </a:lnTo>
                <a:lnTo>
                  <a:pt x="1169975" y="1892465"/>
                </a:lnTo>
                <a:lnTo>
                  <a:pt x="1169975" y="1924698"/>
                </a:lnTo>
                <a:lnTo>
                  <a:pt x="1137742" y="1924698"/>
                </a:lnTo>
                <a:lnTo>
                  <a:pt x="1137742" y="1956930"/>
                </a:lnTo>
                <a:lnTo>
                  <a:pt x="1169975" y="1956930"/>
                </a:lnTo>
                <a:lnTo>
                  <a:pt x="1169975" y="1989163"/>
                </a:lnTo>
                <a:lnTo>
                  <a:pt x="1202207" y="1989163"/>
                </a:lnTo>
                <a:close/>
                <a:moveTo>
                  <a:pt x="1270787" y="2126323"/>
                </a:moveTo>
                <a:lnTo>
                  <a:pt x="1270787" y="2094090"/>
                </a:lnTo>
                <a:lnTo>
                  <a:pt x="1303020" y="2094090"/>
                </a:lnTo>
                <a:lnTo>
                  <a:pt x="1303020" y="2061858"/>
                </a:lnTo>
                <a:lnTo>
                  <a:pt x="1270787" y="2061858"/>
                </a:lnTo>
                <a:lnTo>
                  <a:pt x="1270787" y="2029625"/>
                </a:lnTo>
                <a:lnTo>
                  <a:pt x="1238555" y="2029625"/>
                </a:lnTo>
                <a:lnTo>
                  <a:pt x="1238555" y="2061858"/>
                </a:lnTo>
                <a:lnTo>
                  <a:pt x="1206322" y="2061858"/>
                </a:lnTo>
                <a:lnTo>
                  <a:pt x="1206322" y="2094090"/>
                </a:lnTo>
                <a:lnTo>
                  <a:pt x="1238555" y="2094090"/>
                </a:lnTo>
                <a:lnTo>
                  <a:pt x="1238555" y="2126323"/>
                </a:lnTo>
                <a:lnTo>
                  <a:pt x="1270787" y="2126323"/>
                </a:lnTo>
                <a:close/>
                <a:moveTo>
                  <a:pt x="1339367" y="1989163"/>
                </a:moveTo>
                <a:lnTo>
                  <a:pt x="1339367" y="1956930"/>
                </a:lnTo>
                <a:lnTo>
                  <a:pt x="1371600" y="1956930"/>
                </a:lnTo>
                <a:lnTo>
                  <a:pt x="1371600" y="1924698"/>
                </a:lnTo>
                <a:lnTo>
                  <a:pt x="1339367" y="1924698"/>
                </a:lnTo>
                <a:lnTo>
                  <a:pt x="1339367" y="1892465"/>
                </a:lnTo>
                <a:lnTo>
                  <a:pt x="1307135" y="1892465"/>
                </a:lnTo>
                <a:lnTo>
                  <a:pt x="1307135" y="1924698"/>
                </a:lnTo>
                <a:lnTo>
                  <a:pt x="1274902" y="1924698"/>
                </a:lnTo>
                <a:lnTo>
                  <a:pt x="1274902" y="1956930"/>
                </a:lnTo>
                <a:lnTo>
                  <a:pt x="1307135" y="1956930"/>
                </a:lnTo>
                <a:lnTo>
                  <a:pt x="1307135" y="1989163"/>
                </a:lnTo>
                <a:lnTo>
                  <a:pt x="1339367" y="1989163"/>
                </a:lnTo>
                <a:close/>
                <a:moveTo>
                  <a:pt x="2299487" y="2263483"/>
                </a:moveTo>
                <a:lnTo>
                  <a:pt x="2299487" y="2231250"/>
                </a:lnTo>
                <a:lnTo>
                  <a:pt x="2331720" y="2231250"/>
                </a:lnTo>
                <a:lnTo>
                  <a:pt x="2331720" y="2199018"/>
                </a:lnTo>
                <a:lnTo>
                  <a:pt x="2299487" y="2199018"/>
                </a:lnTo>
                <a:lnTo>
                  <a:pt x="2299487" y="2166785"/>
                </a:lnTo>
                <a:lnTo>
                  <a:pt x="2267255" y="2166785"/>
                </a:lnTo>
                <a:lnTo>
                  <a:pt x="2267255" y="2199018"/>
                </a:lnTo>
                <a:lnTo>
                  <a:pt x="2235022" y="2199018"/>
                </a:lnTo>
                <a:lnTo>
                  <a:pt x="2235022" y="2231250"/>
                </a:lnTo>
                <a:lnTo>
                  <a:pt x="2267255" y="2231250"/>
                </a:lnTo>
                <a:lnTo>
                  <a:pt x="2267255" y="2263483"/>
                </a:lnTo>
                <a:lnTo>
                  <a:pt x="2299487" y="2263483"/>
                </a:lnTo>
                <a:close/>
                <a:moveTo>
                  <a:pt x="2368067" y="2126323"/>
                </a:moveTo>
                <a:lnTo>
                  <a:pt x="2368067" y="2094090"/>
                </a:lnTo>
                <a:lnTo>
                  <a:pt x="2400300" y="2094090"/>
                </a:lnTo>
                <a:lnTo>
                  <a:pt x="2400300" y="2061858"/>
                </a:lnTo>
                <a:lnTo>
                  <a:pt x="2368067" y="2061858"/>
                </a:lnTo>
                <a:lnTo>
                  <a:pt x="2368067" y="2029625"/>
                </a:lnTo>
                <a:lnTo>
                  <a:pt x="2335835" y="2029625"/>
                </a:lnTo>
                <a:lnTo>
                  <a:pt x="2335835" y="2061858"/>
                </a:lnTo>
                <a:lnTo>
                  <a:pt x="2303602" y="2061858"/>
                </a:lnTo>
                <a:lnTo>
                  <a:pt x="2303602" y="2094090"/>
                </a:lnTo>
                <a:lnTo>
                  <a:pt x="2335835" y="2094090"/>
                </a:lnTo>
                <a:lnTo>
                  <a:pt x="2335835" y="2126323"/>
                </a:lnTo>
                <a:lnTo>
                  <a:pt x="2368067" y="2126323"/>
                </a:lnTo>
                <a:close/>
                <a:moveTo>
                  <a:pt x="1888007" y="2263483"/>
                </a:moveTo>
                <a:lnTo>
                  <a:pt x="1888007" y="2231250"/>
                </a:lnTo>
                <a:lnTo>
                  <a:pt x="1920240" y="2231250"/>
                </a:lnTo>
                <a:lnTo>
                  <a:pt x="1920240" y="2199018"/>
                </a:lnTo>
                <a:lnTo>
                  <a:pt x="1888007" y="2199018"/>
                </a:lnTo>
                <a:lnTo>
                  <a:pt x="1888007" y="2166785"/>
                </a:lnTo>
                <a:lnTo>
                  <a:pt x="1855775" y="2166785"/>
                </a:lnTo>
                <a:lnTo>
                  <a:pt x="1855775" y="2199018"/>
                </a:lnTo>
                <a:lnTo>
                  <a:pt x="1823542" y="2199018"/>
                </a:lnTo>
                <a:lnTo>
                  <a:pt x="1823542" y="2231250"/>
                </a:lnTo>
                <a:lnTo>
                  <a:pt x="1855775" y="2231250"/>
                </a:lnTo>
                <a:lnTo>
                  <a:pt x="1855775" y="2263483"/>
                </a:lnTo>
                <a:lnTo>
                  <a:pt x="1888007" y="2263483"/>
                </a:lnTo>
                <a:close/>
                <a:moveTo>
                  <a:pt x="2436647" y="2263483"/>
                </a:moveTo>
                <a:lnTo>
                  <a:pt x="2436647" y="2231250"/>
                </a:lnTo>
                <a:lnTo>
                  <a:pt x="2468880" y="2231250"/>
                </a:lnTo>
                <a:lnTo>
                  <a:pt x="2468880" y="2199018"/>
                </a:lnTo>
                <a:lnTo>
                  <a:pt x="2436647" y="2199018"/>
                </a:lnTo>
                <a:lnTo>
                  <a:pt x="2436647" y="2166785"/>
                </a:lnTo>
                <a:lnTo>
                  <a:pt x="2404415" y="2166785"/>
                </a:lnTo>
                <a:lnTo>
                  <a:pt x="2404415" y="2199018"/>
                </a:lnTo>
                <a:lnTo>
                  <a:pt x="2372182" y="2199018"/>
                </a:lnTo>
                <a:lnTo>
                  <a:pt x="2372182" y="2231250"/>
                </a:lnTo>
                <a:lnTo>
                  <a:pt x="2404415" y="2231250"/>
                </a:lnTo>
                <a:lnTo>
                  <a:pt x="2404415" y="2263483"/>
                </a:lnTo>
                <a:lnTo>
                  <a:pt x="2436647" y="2263483"/>
                </a:lnTo>
                <a:close/>
                <a:moveTo>
                  <a:pt x="2478481" y="463944"/>
                </a:moveTo>
                <a:lnTo>
                  <a:pt x="2499741" y="463944"/>
                </a:lnTo>
                <a:lnTo>
                  <a:pt x="2499741" y="442684"/>
                </a:lnTo>
                <a:lnTo>
                  <a:pt x="2521001" y="442684"/>
                </a:lnTo>
                <a:lnTo>
                  <a:pt x="2521001" y="421424"/>
                </a:lnTo>
                <a:lnTo>
                  <a:pt x="2499741" y="421424"/>
                </a:lnTo>
                <a:lnTo>
                  <a:pt x="2499741" y="400164"/>
                </a:lnTo>
                <a:lnTo>
                  <a:pt x="2478481" y="400164"/>
                </a:lnTo>
                <a:lnTo>
                  <a:pt x="2478481" y="421424"/>
                </a:lnTo>
                <a:lnTo>
                  <a:pt x="2457221" y="421424"/>
                </a:lnTo>
                <a:lnTo>
                  <a:pt x="2457221" y="442684"/>
                </a:lnTo>
                <a:lnTo>
                  <a:pt x="2478481" y="442684"/>
                </a:lnTo>
                <a:lnTo>
                  <a:pt x="2478481" y="463944"/>
                </a:lnTo>
                <a:close/>
                <a:moveTo>
                  <a:pt x="1238555" y="1755305"/>
                </a:moveTo>
                <a:lnTo>
                  <a:pt x="1238555" y="1787538"/>
                </a:lnTo>
                <a:lnTo>
                  <a:pt x="1206322" y="1787538"/>
                </a:lnTo>
                <a:lnTo>
                  <a:pt x="1206322" y="1819770"/>
                </a:lnTo>
                <a:lnTo>
                  <a:pt x="1238555" y="1819770"/>
                </a:lnTo>
                <a:lnTo>
                  <a:pt x="1238555" y="1852003"/>
                </a:lnTo>
                <a:lnTo>
                  <a:pt x="1270787" y="1852003"/>
                </a:lnTo>
                <a:lnTo>
                  <a:pt x="1270787" y="1819770"/>
                </a:lnTo>
                <a:lnTo>
                  <a:pt x="1303020" y="1819770"/>
                </a:lnTo>
                <a:lnTo>
                  <a:pt x="1303020" y="1787538"/>
                </a:lnTo>
                <a:lnTo>
                  <a:pt x="1270787" y="1787538"/>
                </a:lnTo>
                <a:lnTo>
                  <a:pt x="1270787" y="1755305"/>
                </a:lnTo>
                <a:lnTo>
                  <a:pt x="1238555" y="1755305"/>
                </a:lnTo>
                <a:close/>
                <a:moveTo>
                  <a:pt x="2025167" y="2263483"/>
                </a:moveTo>
                <a:lnTo>
                  <a:pt x="2025167" y="2231250"/>
                </a:lnTo>
                <a:lnTo>
                  <a:pt x="2057400" y="2231250"/>
                </a:lnTo>
                <a:lnTo>
                  <a:pt x="2057400" y="2199018"/>
                </a:lnTo>
                <a:lnTo>
                  <a:pt x="2025167" y="2199018"/>
                </a:lnTo>
                <a:lnTo>
                  <a:pt x="2025167" y="2166785"/>
                </a:lnTo>
                <a:lnTo>
                  <a:pt x="1992935" y="2166785"/>
                </a:lnTo>
                <a:lnTo>
                  <a:pt x="1992935" y="2199018"/>
                </a:lnTo>
                <a:lnTo>
                  <a:pt x="1960702" y="2199018"/>
                </a:lnTo>
                <a:lnTo>
                  <a:pt x="1960702" y="2231250"/>
                </a:lnTo>
                <a:lnTo>
                  <a:pt x="1992935" y="2231250"/>
                </a:lnTo>
                <a:lnTo>
                  <a:pt x="1992935" y="2263483"/>
                </a:lnTo>
                <a:lnTo>
                  <a:pt x="2025167" y="2263483"/>
                </a:lnTo>
                <a:close/>
                <a:moveTo>
                  <a:pt x="1956587" y="2126323"/>
                </a:moveTo>
                <a:lnTo>
                  <a:pt x="1956587" y="2094090"/>
                </a:lnTo>
                <a:lnTo>
                  <a:pt x="1988820" y="2094090"/>
                </a:lnTo>
                <a:lnTo>
                  <a:pt x="1988820" y="2061858"/>
                </a:lnTo>
                <a:lnTo>
                  <a:pt x="1956587" y="2061858"/>
                </a:lnTo>
                <a:lnTo>
                  <a:pt x="1956587" y="2029625"/>
                </a:lnTo>
                <a:lnTo>
                  <a:pt x="1924355" y="2029625"/>
                </a:lnTo>
                <a:lnTo>
                  <a:pt x="1924355" y="2061858"/>
                </a:lnTo>
                <a:lnTo>
                  <a:pt x="1892122" y="2061858"/>
                </a:lnTo>
                <a:lnTo>
                  <a:pt x="1892122" y="2094090"/>
                </a:lnTo>
                <a:lnTo>
                  <a:pt x="1924355" y="2094090"/>
                </a:lnTo>
                <a:lnTo>
                  <a:pt x="1924355" y="2126323"/>
                </a:lnTo>
                <a:lnTo>
                  <a:pt x="1956587" y="2126323"/>
                </a:lnTo>
                <a:close/>
                <a:moveTo>
                  <a:pt x="2093747" y="2126323"/>
                </a:moveTo>
                <a:lnTo>
                  <a:pt x="2093747" y="2094090"/>
                </a:lnTo>
                <a:lnTo>
                  <a:pt x="2125980" y="2094090"/>
                </a:lnTo>
                <a:lnTo>
                  <a:pt x="2125980" y="2061858"/>
                </a:lnTo>
                <a:lnTo>
                  <a:pt x="2093747" y="2061858"/>
                </a:lnTo>
                <a:lnTo>
                  <a:pt x="2093747" y="2029625"/>
                </a:lnTo>
                <a:lnTo>
                  <a:pt x="2061515" y="2029625"/>
                </a:lnTo>
                <a:lnTo>
                  <a:pt x="2061515" y="2061858"/>
                </a:lnTo>
                <a:lnTo>
                  <a:pt x="2029282" y="2061858"/>
                </a:lnTo>
                <a:lnTo>
                  <a:pt x="2029282" y="2094090"/>
                </a:lnTo>
                <a:lnTo>
                  <a:pt x="2061515" y="2094090"/>
                </a:lnTo>
                <a:lnTo>
                  <a:pt x="2061515" y="2126323"/>
                </a:lnTo>
                <a:lnTo>
                  <a:pt x="2093747" y="2126323"/>
                </a:lnTo>
                <a:close/>
                <a:moveTo>
                  <a:pt x="2162327" y="2263483"/>
                </a:moveTo>
                <a:lnTo>
                  <a:pt x="2162327" y="2231250"/>
                </a:lnTo>
                <a:lnTo>
                  <a:pt x="2194560" y="2231250"/>
                </a:lnTo>
                <a:lnTo>
                  <a:pt x="2194560" y="2199018"/>
                </a:lnTo>
                <a:lnTo>
                  <a:pt x="2162327" y="2199018"/>
                </a:lnTo>
                <a:lnTo>
                  <a:pt x="2162327" y="2166785"/>
                </a:lnTo>
                <a:lnTo>
                  <a:pt x="2130095" y="2166785"/>
                </a:lnTo>
                <a:lnTo>
                  <a:pt x="2130095" y="2199018"/>
                </a:lnTo>
                <a:lnTo>
                  <a:pt x="2097862" y="2199018"/>
                </a:lnTo>
                <a:lnTo>
                  <a:pt x="2097862" y="2231250"/>
                </a:lnTo>
                <a:lnTo>
                  <a:pt x="2130095" y="2231250"/>
                </a:lnTo>
                <a:lnTo>
                  <a:pt x="2130095" y="2263483"/>
                </a:lnTo>
                <a:lnTo>
                  <a:pt x="2162327" y="2263483"/>
                </a:lnTo>
                <a:close/>
                <a:moveTo>
                  <a:pt x="1581455" y="1618145"/>
                </a:moveTo>
                <a:lnTo>
                  <a:pt x="1581455" y="1650378"/>
                </a:lnTo>
                <a:lnTo>
                  <a:pt x="1549222" y="1650378"/>
                </a:lnTo>
                <a:lnTo>
                  <a:pt x="1549222" y="1682610"/>
                </a:lnTo>
                <a:lnTo>
                  <a:pt x="1581455" y="1682610"/>
                </a:lnTo>
                <a:lnTo>
                  <a:pt x="1581455" y="1714843"/>
                </a:lnTo>
                <a:lnTo>
                  <a:pt x="1613687" y="1714843"/>
                </a:lnTo>
                <a:lnTo>
                  <a:pt x="1613687" y="1682610"/>
                </a:lnTo>
                <a:lnTo>
                  <a:pt x="1645920" y="1682610"/>
                </a:lnTo>
                <a:lnTo>
                  <a:pt x="1645920" y="1650378"/>
                </a:lnTo>
                <a:lnTo>
                  <a:pt x="1613687" y="1650378"/>
                </a:lnTo>
                <a:lnTo>
                  <a:pt x="1613687" y="1618145"/>
                </a:lnTo>
                <a:lnTo>
                  <a:pt x="1581455" y="1618145"/>
                </a:lnTo>
                <a:close/>
                <a:moveTo>
                  <a:pt x="2198675" y="1755305"/>
                </a:moveTo>
                <a:lnTo>
                  <a:pt x="2198675" y="1787538"/>
                </a:lnTo>
                <a:lnTo>
                  <a:pt x="2166442" y="1787538"/>
                </a:lnTo>
                <a:lnTo>
                  <a:pt x="2166442" y="1819770"/>
                </a:lnTo>
                <a:lnTo>
                  <a:pt x="2198675" y="1819770"/>
                </a:lnTo>
                <a:lnTo>
                  <a:pt x="2198675" y="1852003"/>
                </a:lnTo>
                <a:lnTo>
                  <a:pt x="2230907" y="1852003"/>
                </a:lnTo>
                <a:lnTo>
                  <a:pt x="2230907" y="1819770"/>
                </a:lnTo>
                <a:lnTo>
                  <a:pt x="2263140" y="1819770"/>
                </a:lnTo>
                <a:lnTo>
                  <a:pt x="2263140" y="1787538"/>
                </a:lnTo>
                <a:lnTo>
                  <a:pt x="2230907" y="1787538"/>
                </a:lnTo>
                <a:lnTo>
                  <a:pt x="2230907" y="1755305"/>
                </a:lnTo>
                <a:lnTo>
                  <a:pt x="2198675" y="1755305"/>
                </a:lnTo>
                <a:close/>
                <a:moveTo>
                  <a:pt x="2267255" y="1618145"/>
                </a:moveTo>
                <a:lnTo>
                  <a:pt x="2267255" y="1650378"/>
                </a:lnTo>
                <a:lnTo>
                  <a:pt x="2235022" y="1650378"/>
                </a:lnTo>
                <a:lnTo>
                  <a:pt x="2235022" y="1682610"/>
                </a:lnTo>
                <a:lnTo>
                  <a:pt x="2267255" y="1682610"/>
                </a:lnTo>
                <a:lnTo>
                  <a:pt x="2267255" y="1714843"/>
                </a:lnTo>
                <a:lnTo>
                  <a:pt x="2299487" y="1714843"/>
                </a:lnTo>
                <a:lnTo>
                  <a:pt x="2299487" y="1682610"/>
                </a:lnTo>
                <a:lnTo>
                  <a:pt x="2331720" y="1682610"/>
                </a:lnTo>
                <a:lnTo>
                  <a:pt x="2331720" y="1650378"/>
                </a:lnTo>
                <a:lnTo>
                  <a:pt x="2299487" y="1650378"/>
                </a:lnTo>
                <a:lnTo>
                  <a:pt x="2299487" y="1618145"/>
                </a:lnTo>
                <a:lnTo>
                  <a:pt x="2267255" y="1618145"/>
                </a:lnTo>
                <a:close/>
                <a:moveTo>
                  <a:pt x="2061515" y="1755305"/>
                </a:moveTo>
                <a:lnTo>
                  <a:pt x="2061515" y="1787538"/>
                </a:lnTo>
                <a:lnTo>
                  <a:pt x="2029282" y="1787538"/>
                </a:lnTo>
                <a:lnTo>
                  <a:pt x="2029282" y="1819770"/>
                </a:lnTo>
                <a:lnTo>
                  <a:pt x="2061515" y="1819770"/>
                </a:lnTo>
                <a:lnTo>
                  <a:pt x="2061515" y="1852003"/>
                </a:lnTo>
                <a:lnTo>
                  <a:pt x="2093747" y="1852003"/>
                </a:lnTo>
                <a:lnTo>
                  <a:pt x="2093747" y="1819770"/>
                </a:lnTo>
                <a:lnTo>
                  <a:pt x="2125980" y="1819770"/>
                </a:lnTo>
                <a:lnTo>
                  <a:pt x="2125980" y="1787538"/>
                </a:lnTo>
                <a:lnTo>
                  <a:pt x="2093747" y="1787538"/>
                </a:lnTo>
                <a:lnTo>
                  <a:pt x="2093747" y="1755305"/>
                </a:lnTo>
                <a:lnTo>
                  <a:pt x="2061515" y="1755305"/>
                </a:lnTo>
                <a:close/>
                <a:moveTo>
                  <a:pt x="2335835" y="1755305"/>
                </a:moveTo>
                <a:lnTo>
                  <a:pt x="2335835" y="1787538"/>
                </a:lnTo>
                <a:lnTo>
                  <a:pt x="2303602" y="1787538"/>
                </a:lnTo>
                <a:lnTo>
                  <a:pt x="2303602" y="1819770"/>
                </a:lnTo>
                <a:lnTo>
                  <a:pt x="2335835" y="1819770"/>
                </a:lnTo>
                <a:lnTo>
                  <a:pt x="2335835" y="1852003"/>
                </a:lnTo>
                <a:lnTo>
                  <a:pt x="2368067" y="1852003"/>
                </a:lnTo>
                <a:lnTo>
                  <a:pt x="2368067" y="1819770"/>
                </a:lnTo>
                <a:lnTo>
                  <a:pt x="2400300" y="1819770"/>
                </a:lnTo>
                <a:lnTo>
                  <a:pt x="2400300" y="1787538"/>
                </a:lnTo>
                <a:lnTo>
                  <a:pt x="2368067" y="1787538"/>
                </a:lnTo>
                <a:lnTo>
                  <a:pt x="2368067" y="1755305"/>
                </a:lnTo>
                <a:lnTo>
                  <a:pt x="2335835" y="1755305"/>
                </a:lnTo>
                <a:close/>
                <a:moveTo>
                  <a:pt x="2130095" y="1618145"/>
                </a:moveTo>
                <a:lnTo>
                  <a:pt x="2130095" y="1650378"/>
                </a:lnTo>
                <a:lnTo>
                  <a:pt x="2097862" y="1650378"/>
                </a:lnTo>
                <a:lnTo>
                  <a:pt x="2097862" y="1682610"/>
                </a:lnTo>
                <a:lnTo>
                  <a:pt x="2130095" y="1682610"/>
                </a:lnTo>
                <a:lnTo>
                  <a:pt x="2130095" y="1714843"/>
                </a:lnTo>
                <a:lnTo>
                  <a:pt x="2162327" y="1714843"/>
                </a:lnTo>
                <a:lnTo>
                  <a:pt x="2162327" y="1682610"/>
                </a:lnTo>
                <a:lnTo>
                  <a:pt x="2194560" y="1682610"/>
                </a:lnTo>
                <a:lnTo>
                  <a:pt x="2194560" y="1650378"/>
                </a:lnTo>
                <a:lnTo>
                  <a:pt x="2162327" y="1650378"/>
                </a:lnTo>
                <a:lnTo>
                  <a:pt x="2162327" y="1618145"/>
                </a:lnTo>
                <a:lnTo>
                  <a:pt x="2130095" y="1618145"/>
                </a:lnTo>
                <a:close/>
                <a:moveTo>
                  <a:pt x="2299487" y="1989163"/>
                </a:moveTo>
                <a:lnTo>
                  <a:pt x="2299487" y="1956930"/>
                </a:lnTo>
                <a:lnTo>
                  <a:pt x="2331720" y="1956930"/>
                </a:lnTo>
                <a:lnTo>
                  <a:pt x="2331720" y="1924698"/>
                </a:lnTo>
                <a:lnTo>
                  <a:pt x="2299487" y="1924698"/>
                </a:lnTo>
                <a:lnTo>
                  <a:pt x="2299487" y="1892465"/>
                </a:lnTo>
                <a:lnTo>
                  <a:pt x="2267255" y="1892465"/>
                </a:lnTo>
                <a:lnTo>
                  <a:pt x="2267255" y="1924698"/>
                </a:lnTo>
                <a:lnTo>
                  <a:pt x="2235022" y="1924698"/>
                </a:lnTo>
                <a:lnTo>
                  <a:pt x="2235022" y="1956930"/>
                </a:lnTo>
                <a:lnTo>
                  <a:pt x="2267255" y="1956930"/>
                </a:lnTo>
                <a:lnTo>
                  <a:pt x="2267255" y="1989163"/>
                </a:lnTo>
                <a:lnTo>
                  <a:pt x="2299487" y="1989163"/>
                </a:lnTo>
                <a:close/>
                <a:moveTo>
                  <a:pt x="2404415" y="1892465"/>
                </a:moveTo>
                <a:lnTo>
                  <a:pt x="2404415" y="1924698"/>
                </a:lnTo>
                <a:lnTo>
                  <a:pt x="2372182" y="1924698"/>
                </a:lnTo>
                <a:lnTo>
                  <a:pt x="2372182" y="1956930"/>
                </a:lnTo>
                <a:lnTo>
                  <a:pt x="2404415" y="1956930"/>
                </a:lnTo>
                <a:lnTo>
                  <a:pt x="2404415" y="1989163"/>
                </a:lnTo>
                <a:lnTo>
                  <a:pt x="2436647" y="1989163"/>
                </a:lnTo>
                <a:lnTo>
                  <a:pt x="2436647" y="1956930"/>
                </a:lnTo>
                <a:lnTo>
                  <a:pt x="2468880" y="1956930"/>
                </a:lnTo>
                <a:lnTo>
                  <a:pt x="2468880" y="1924698"/>
                </a:lnTo>
                <a:lnTo>
                  <a:pt x="2436647" y="1924698"/>
                </a:lnTo>
                <a:lnTo>
                  <a:pt x="2436647" y="1892465"/>
                </a:lnTo>
                <a:lnTo>
                  <a:pt x="2404415" y="1892465"/>
                </a:lnTo>
                <a:close/>
                <a:moveTo>
                  <a:pt x="2162327" y="1989163"/>
                </a:moveTo>
                <a:lnTo>
                  <a:pt x="2162327" y="1956930"/>
                </a:lnTo>
                <a:lnTo>
                  <a:pt x="2194560" y="1956930"/>
                </a:lnTo>
                <a:lnTo>
                  <a:pt x="2194560" y="1924698"/>
                </a:lnTo>
                <a:lnTo>
                  <a:pt x="2162327" y="1924698"/>
                </a:lnTo>
                <a:lnTo>
                  <a:pt x="2162327" y="1892465"/>
                </a:lnTo>
                <a:lnTo>
                  <a:pt x="2130095" y="1892465"/>
                </a:lnTo>
                <a:lnTo>
                  <a:pt x="2130095" y="1924698"/>
                </a:lnTo>
                <a:lnTo>
                  <a:pt x="2097862" y="1924698"/>
                </a:lnTo>
                <a:lnTo>
                  <a:pt x="2097862" y="1956930"/>
                </a:lnTo>
                <a:lnTo>
                  <a:pt x="2130095" y="1956930"/>
                </a:lnTo>
                <a:lnTo>
                  <a:pt x="2130095" y="1989163"/>
                </a:lnTo>
                <a:lnTo>
                  <a:pt x="2162327" y="1989163"/>
                </a:lnTo>
                <a:close/>
                <a:moveTo>
                  <a:pt x="2472995" y="1755305"/>
                </a:moveTo>
                <a:lnTo>
                  <a:pt x="2472995" y="1787538"/>
                </a:lnTo>
                <a:lnTo>
                  <a:pt x="2440762" y="1787538"/>
                </a:lnTo>
                <a:lnTo>
                  <a:pt x="2440762" y="1819770"/>
                </a:lnTo>
                <a:lnTo>
                  <a:pt x="2472995" y="1819770"/>
                </a:lnTo>
                <a:lnTo>
                  <a:pt x="2472995" y="1852003"/>
                </a:lnTo>
                <a:lnTo>
                  <a:pt x="2505227" y="1852003"/>
                </a:lnTo>
                <a:lnTo>
                  <a:pt x="2505227" y="1819770"/>
                </a:lnTo>
                <a:lnTo>
                  <a:pt x="2537460" y="1819770"/>
                </a:lnTo>
                <a:lnTo>
                  <a:pt x="2537460" y="1787538"/>
                </a:lnTo>
                <a:lnTo>
                  <a:pt x="2505227" y="1787538"/>
                </a:lnTo>
                <a:lnTo>
                  <a:pt x="2505227" y="1755305"/>
                </a:lnTo>
                <a:lnTo>
                  <a:pt x="2472995" y="1755305"/>
                </a:lnTo>
                <a:close/>
                <a:moveTo>
                  <a:pt x="1924355" y="1755305"/>
                </a:moveTo>
                <a:lnTo>
                  <a:pt x="1924355" y="1787538"/>
                </a:lnTo>
                <a:lnTo>
                  <a:pt x="1892122" y="1787538"/>
                </a:lnTo>
                <a:lnTo>
                  <a:pt x="1892122" y="1819770"/>
                </a:lnTo>
                <a:lnTo>
                  <a:pt x="1924355" y="1819770"/>
                </a:lnTo>
                <a:lnTo>
                  <a:pt x="1924355" y="1852003"/>
                </a:lnTo>
                <a:lnTo>
                  <a:pt x="1956587" y="1852003"/>
                </a:lnTo>
                <a:lnTo>
                  <a:pt x="1956587" y="1819770"/>
                </a:lnTo>
                <a:lnTo>
                  <a:pt x="1988820" y="1819770"/>
                </a:lnTo>
                <a:lnTo>
                  <a:pt x="1988820" y="1787538"/>
                </a:lnTo>
                <a:lnTo>
                  <a:pt x="1956587" y="1787538"/>
                </a:lnTo>
                <a:lnTo>
                  <a:pt x="1956587" y="1755305"/>
                </a:lnTo>
                <a:lnTo>
                  <a:pt x="1924355" y="1755305"/>
                </a:lnTo>
                <a:close/>
                <a:moveTo>
                  <a:pt x="1650035" y="1755305"/>
                </a:moveTo>
                <a:lnTo>
                  <a:pt x="1650035" y="1787538"/>
                </a:lnTo>
                <a:lnTo>
                  <a:pt x="1617802" y="1787538"/>
                </a:lnTo>
                <a:lnTo>
                  <a:pt x="1617802" y="1819770"/>
                </a:lnTo>
                <a:lnTo>
                  <a:pt x="1650035" y="1819770"/>
                </a:lnTo>
                <a:lnTo>
                  <a:pt x="1650035" y="1852003"/>
                </a:lnTo>
                <a:lnTo>
                  <a:pt x="1682267" y="1852003"/>
                </a:lnTo>
                <a:lnTo>
                  <a:pt x="1682267" y="1819770"/>
                </a:lnTo>
                <a:lnTo>
                  <a:pt x="1714500" y="1819770"/>
                </a:lnTo>
                <a:lnTo>
                  <a:pt x="1714500" y="1787538"/>
                </a:lnTo>
                <a:lnTo>
                  <a:pt x="1682267" y="1787538"/>
                </a:lnTo>
                <a:lnTo>
                  <a:pt x="1682267" y="1755305"/>
                </a:lnTo>
                <a:lnTo>
                  <a:pt x="1650035" y="1755305"/>
                </a:lnTo>
                <a:close/>
                <a:moveTo>
                  <a:pt x="2025167" y="1989163"/>
                </a:moveTo>
                <a:lnTo>
                  <a:pt x="2025167" y="1956930"/>
                </a:lnTo>
                <a:lnTo>
                  <a:pt x="2057400" y="1956930"/>
                </a:lnTo>
                <a:lnTo>
                  <a:pt x="2057400" y="1924698"/>
                </a:lnTo>
                <a:lnTo>
                  <a:pt x="2025167" y="1924698"/>
                </a:lnTo>
                <a:lnTo>
                  <a:pt x="2025167" y="1892465"/>
                </a:lnTo>
                <a:lnTo>
                  <a:pt x="1992935" y="1892465"/>
                </a:lnTo>
                <a:lnTo>
                  <a:pt x="1992935" y="1924698"/>
                </a:lnTo>
                <a:lnTo>
                  <a:pt x="1960702" y="1924698"/>
                </a:lnTo>
                <a:lnTo>
                  <a:pt x="1960702" y="1956930"/>
                </a:lnTo>
                <a:lnTo>
                  <a:pt x="1992935" y="1956930"/>
                </a:lnTo>
                <a:lnTo>
                  <a:pt x="1992935" y="1989163"/>
                </a:lnTo>
                <a:lnTo>
                  <a:pt x="2025167" y="1989163"/>
                </a:lnTo>
                <a:close/>
                <a:moveTo>
                  <a:pt x="1992935" y="1618145"/>
                </a:moveTo>
                <a:lnTo>
                  <a:pt x="1992935" y="1650378"/>
                </a:lnTo>
                <a:lnTo>
                  <a:pt x="1960702" y="1650378"/>
                </a:lnTo>
                <a:lnTo>
                  <a:pt x="1960702" y="1682610"/>
                </a:lnTo>
                <a:lnTo>
                  <a:pt x="1992935" y="1682610"/>
                </a:lnTo>
                <a:lnTo>
                  <a:pt x="1992935" y="1714843"/>
                </a:lnTo>
                <a:lnTo>
                  <a:pt x="2025167" y="1714843"/>
                </a:lnTo>
                <a:lnTo>
                  <a:pt x="2025167" y="1682610"/>
                </a:lnTo>
                <a:lnTo>
                  <a:pt x="2057400" y="1682610"/>
                </a:lnTo>
                <a:lnTo>
                  <a:pt x="2057400" y="1650378"/>
                </a:lnTo>
                <a:lnTo>
                  <a:pt x="2025167" y="1650378"/>
                </a:lnTo>
                <a:lnTo>
                  <a:pt x="2025167" y="1618145"/>
                </a:lnTo>
                <a:lnTo>
                  <a:pt x="1992935" y="1618145"/>
                </a:lnTo>
                <a:close/>
                <a:moveTo>
                  <a:pt x="1444295" y="1618145"/>
                </a:moveTo>
                <a:lnTo>
                  <a:pt x="1444295" y="1650378"/>
                </a:lnTo>
                <a:lnTo>
                  <a:pt x="1412062" y="1650378"/>
                </a:lnTo>
                <a:lnTo>
                  <a:pt x="1412062" y="1682610"/>
                </a:lnTo>
                <a:lnTo>
                  <a:pt x="1444295" y="1682610"/>
                </a:lnTo>
                <a:lnTo>
                  <a:pt x="1444295" y="1714843"/>
                </a:lnTo>
                <a:lnTo>
                  <a:pt x="1476527" y="1714843"/>
                </a:lnTo>
                <a:lnTo>
                  <a:pt x="1476527" y="1682610"/>
                </a:lnTo>
                <a:lnTo>
                  <a:pt x="1508760" y="1682610"/>
                </a:lnTo>
                <a:lnTo>
                  <a:pt x="1508760" y="1650378"/>
                </a:lnTo>
                <a:lnTo>
                  <a:pt x="1476527" y="1650378"/>
                </a:lnTo>
                <a:lnTo>
                  <a:pt x="1476527" y="1618145"/>
                </a:lnTo>
                <a:lnTo>
                  <a:pt x="1444295" y="1618145"/>
                </a:lnTo>
                <a:close/>
                <a:moveTo>
                  <a:pt x="1512875" y="1755305"/>
                </a:moveTo>
                <a:lnTo>
                  <a:pt x="1512875" y="1787538"/>
                </a:lnTo>
                <a:lnTo>
                  <a:pt x="1480642" y="1787538"/>
                </a:lnTo>
                <a:lnTo>
                  <a:pt x="1480642" y="1819770"/>
                </a:lnTo>
                <a:lnTo>
                  <a:pt x="1512875" y="1819770"/>
                </a:lnTo>
                <a:lnTo>
                  <a:pt x="1512875" y="1852003"/>
                </a:lnTo>
                <a:lnTo>
                  <a:pt x="1545107" y="1852003"/>
                </a:lnTo>
                <a:lnTo>
                  <a:pt x="1545107" y="1819770"/>
                </a:lnTo>
                <a:lnTo>
                  <a:pt x="1577340" y="1819770"/>
                </a:lnTo>
                <a:lnTo>
                  <a:pt x="1577340" y="1787538"/>
                </a:lnTo>
                <a:lnTo>
                  <a:pt x="1545107" y="1787538"/>
                </a:lnTo>
                <a:lnTo>
                  <a:pt x="1545107" y="1755305"/>
                </a:lnTo>
                <a:lnTo>
                  <a:pt x="1512875" y="1755305"/>
                </a:lnTo>
                <a:close/>
                <a:moveTo>
                  <a:pt x="1855775" y="1618145"/>
                </a:moveTo>
                <a:lnTo>
                  <a:pt x="1855775" y="1650378"/>
                </a:lnTo>
                <a:lnTo>
                  <a:pt x="1823542" y="1650378"/>
                </a:lnTo>
                <a:lnTo>
                  <a:pt x="1823542" y="1682610"/>
                </a:lnTo>
                <a:lnTo>
                  <a:pt x="1855775" y="1682610"/>
                </a:lnTo>
                <a:lnTo>
                  <a:pt x="1855775" y="1714843"/>
                </a:lnTo>
                <a:lnTo>
                  <a:pt x="1888007" y="1714843"/>
                </a:lnTo>
                <a:lnTo>
                  <a:pt x="1888007" y="1682610"/>
                </a:lnTo>
                <a:lnTo>
                  <a:pt x="1920240" y="1682610"/>
                </a:lnTo>
                <a:lnTo>
                  <a:pt x="1920240" y="1650378"/>
                </a:lnTo>
                <a:lnTo>
                  <a:pt x="1888007" y="1650378"/>
                </a:lnTo>
                <a:lnTo>
                  <a:pt x="1888007" y="1618145"/>
                </a:lnTo>
                <a:lnTo>
                  <a:pt x="1855775" y="1618145"/>
                </a:lnTo>
                <a:close/>
                <a:moveTo>
                  <a:pt x="1375715" y="1755305"/>
                </a:moveTo>
                <a:lnTo>
                  <a:pt x="1375715" y="1787538"/>
                </a:lnTo>
                <a:lnTo>
                  <a:pt x="1343482" y="1787538"/>
                </a:lnTo>
                <a:lnTo>
                  <a:pt x="1343482" y="1819770"/>
                </a:lnTo>
                <a:lnTo>
                  <a:pt x="1375715" y="1819770"/>
                </a:lnTo>
                <a:lnTo>
                  <a:pt x="1375715" y="1852003"/>
                </a:lnTo>
                <a:lnTo>
                  <a:pt x="1407947" y="1852003"/>
                </a:lnTo>
                <a:lnTo>
                  <a:pt x="1407947" y="1819770"/>
                </a:lnTo>
                <a:lnTo>
                  <a:pt x="1440180" y="1819770"/>
                </a:lnTo>
                <a:lnTo>
                  <a:pt x="1440180" y="1787538"/>
                </a:lnTo>
                <a:lnTo>
                  <a:pt x="1407947" y="1787538"/>
                </a:lnTo>
                <a:lnTo>
                  <a:pt x="1407947" y="1755305"/>
                </a:lnTo>
                <a:lnTo>
                  <a:pt x="1375715" y="1755305"/>
                </a:lnTo>
                <a:close/>
                <a:moveTo>
                  <a:pt x="1718615" y="1618145"/>
                </a:moveTo>
                <a:lnTo>
                  <a:pt x="1718615" y="1650378"/>
                </a:lnTo>
                <a:lnTo>
                  <a:pt x="1686382" y="1650378"/>
                </a:lnTo>
                <a:lnTo>
                  <a:pt x="1686382" y="1682610"/>
                </a:lnTo>
                <a:lnTo>
                  <a:pt x="1718615" y="1682610"/>
                </a:lnTo>
                <a:lnTo>
                  <a:pt x="1718615" y="1714843"/>
                </a:lnTo>
                <a:lnTo>
                  <a:pt x="1750847" y="1714843"/>
                </a:lnTo>
                <a:lnTo>
                  <a:pt x="1750847" y="1682610"/>
                </a:lnTo>
                <a:lnTo>
                  <a:pt x="1783080" y="1682610"/>
                </a:lnTo>
                <a:lnTo>
                  <a:pt x="1783080" y="1650378"/>
                </a:lnTo>
                <a:lnTo>
                  <a:pt x="1750847" y="1650378"/>
                </a:lnTo>
                <a:lnTo>
                  <a:pt x="1750847" y="1618145"/>
                </a:lnTo>
                <a:lnTo>
                  <a:pt x="1718615" y="1618145"/>
                </a:lnTo>
                <a:close/>
                <a:moveTo>
                  <a:pt x="1787195" y="1755305"/>
                </a:moveTo>
                <a:lnTo>
                  <a:pt x="1787195" y="1787538"/>
                </a:lnTo>
                <a:lnTo>
                  <a:pt x="1754962" y="1787538"/>
                </a:lnTo>
                <a:lnTo>
                  <a:pt x="1754962" y="1819770"/>
                </a:lnTo>
                <a:lnTo>
                  <a:pt x="1787195" y="1819770"/>
                </a:lnTo>
                <a:lnTo>
                  <a:pt x="1787195" y="1852003"/>
                </a:lnTo>
                <a:lnTo>
                  <a:pt x="1819427" y="1852003"/>
                </a:lnTo>
                <a:lnTo>
                  <a:pt x="1819427" y="1819770"/>
                </a:lnTo>
                <a:lnTo>
                  <a:pt x="1851660" y="1819770"/>
                </a:lnTo>
                <a:lnTo>
                  <a:pt x="1851660" y="1787538"/>
                </a:lnTo>
                <a:lnTo>
                  <a:pt x="1819427" y="1787538"/>
                </a:lnTo>
                <a:lnTo>
                  <a:pt x="1819427" y="1755305"/>
                </a:lnTo>
                <a:lnTo>
                  <a:pt x="1787195" y="1755305"/>
                </a:lnTo>
                <a:close/>
                <a:moveTo>
                  <a:pt x="626135" y="1151801"/>
                </a:moveTo>
                <a:lnTo>
                  <a:pt x="648767" y="1151801"/>
                </a:lnTo>
                <a:lnTo>
                  <a:pt x="648767" y="1129170"/>
                </a:lnTo>
                <a:lnTo>
                  <a:pt x="671398" y="1129170"/>
                </a:lnTo>
                <a:lnTo>
                  <a:pt x="671398" y="1106538"/>
                </a:lnTo>
                <a:lnTo>
                  <a:pt x="648767" y="1106538"/>
                </a:lnTo>
                <a:lnTo>
                  <a:pt x="648767" y="1083907"/>
                </a:lnTo>
                <a:lnTo>
                  <a:pt x="626135" y="1083907"/>
                </a:lnTo>
                <a:lnTo>
                  <a:pt x="626135" y="1106538"/>
                </a:lnTo>
                <a:lnTo>
                  <a:pt x="603504" y="1106538"/>
                </a:lnTo>
                <a:lnTo>
                  <a:pt x="603504" y="1129170"/>
                </a:lnTo>
                <a:lnTo>
                  <a:pt x="626135" y="1129170"/>
                </a:lnTo>
                <a:lnTo>
                  <a:pt x="626135" y="1151801"/>
                </a:lnTo>
                <a:close/>
                <a:moveTo>
                  <a:pt x="697116" y="733463"/>
                </a:moveTo>
                <a:lnTo>
                  <a:pt x="714946" y="733463"/>
                </a:lnTo>
                <a:lnTo>
                  <a:pt x="714946" y="715289"/>
                </a:lnTo>
                <a:lnTo>
                  <a:pt x="733120" y="715289"/>
                </a:lnTo>
                <a:lnTo>
                  <a:pt x="733120" y="697459"/>
                </a:lnTo>
                <a:lnTo>
                  <a:pt x="714946" y="697459"/>
                </a:lnTo>
                <a:lnTo>
                  <a:pt x="714946" y="679285"/>
                </a:lnTo>
                <a:lnTo>
                  <a:pt x="697116" y="679285"/>
                </a:lnTo>
                <a:lnTo>
                  <a:pt x="697116" y="697459"/>
                </a:lnTo>
                <a:lnTo>
                  <a:pt x="678942" y="697459"/>
                </a:lnTo>
                <a:lnTo>
                  <a:pt x="678942" y="715289"/>
                </a:lnTo>
                <a:lnTo>
                  <a:pt x="697116" y="715289"/>
                </a:lnTo>
                <a:lnTo>
                  <a:pt x="697116" y="733463"/>
                </a:lnTo>
                <a:close/>
                <a:moveTo>
                  <a:pt x="695058" y="1013955"/>
                </a:moveTo>
                <a:lnTo>
                  <a:pt x="717004" y="1013955"/>
                </a:lnTo>
                <a:lnTo>
                  <a:pt x="717004" y="991667"/>
                </a:lnTo>
                <a:lnTo>
                  <a:pt x="739292" y="991667"/>
                </a:lnTo>
                <a:lnTo>
                  <a:pt x="739292" y="969721"/>
                </a:lnTo>
                <a:lnTo>
                  <a:pt x="717004" y="969721"/>
                </a:lnTo>
                <a:lnTo>
                  <a:pt x="717004" y="947433"/>
                </a:lnTo>
                <a:lnTo>
                  <a:pt x="695058" y="947433"/>
                </a:lnTo>
                <a:lnTo>
                  <a:pt x="695058" y="969721"/>
                </a:lnTo>
                <a:lnTo>
                  <a:pt x="672770" y="969721"/>
                </a:lnTo>
                <a:lnTo>
                  <a:pt x="672770" y="991667"/>
                </a:lnTo>
                <a:lnTo>
                  <a:pt x="695058" y="991667"/>
                </a:lnTo>
                <a:lnTo>
                  <a:pt x="695058" y="1013955"/>
                </a:lnTo>
                <a:close/>
                <a:moveTo>
                  <a:pt x="766381" y="594246"/>
                </a:moveTo>
                <a:lnTo>
                  <a:pt x="782841" y="594246"/>
                </a:lnTo>
                <a:lnTo>
                  <a:pt x="782841" y="577444"/>
                </a:lnTo>
                <a:lnTo>
                  <a:pt x="799643" y="577444"/>
                </a:lnTo>
                <a:lnTo>
                  <a:pt x="799643" y="560984"/>
                </a:lnTo>
                <a:lnTo>
                  <a:pt x="782841" y="560984"/>
                </a:lnTo>
                <a:lnTo>
                  <a:pt x="782841" y="544182"/>
                </a:lnTo>
                <a:lnTo>
                  <a:pt x="766381" y="544182"/>
                </a:lnTo>
                <a:lnTo>
                  <a:pt x="766381" y="560984"/>
                </a:lnTo>
                <a:lnTo>
                  <a:pt x="749579" y="560984"/>
                </a:lnTo>
                <a:lnTo>
                  <a:pt x="749579" y="577444"/>
                </a:lnTo>
                <a:lnTo>
                  <a:pt x="766381" y="577444"/>
                </a:lnTo>
                <a:lnTo>
                  <a:pt x="766381" y="594246"/>
                </a:lnTo>
                <a:close/>
                <a:moveTo>
                  <a:pt x="763981" y="875424"/>
                </a:moveTo>
                <a:lnTo>
                  <a:pt x="785241" y="875424"/>
                </a:lnTo>
                <a:lnTo>
                  <a:pt x="785241" y="854164"/>
                </a:lnTo>
                <a:lnTo>
                  <a:pt x="806501" y="854164"/>
                </a:lnTo>
                <a:lnTo>
                  <a:pt x="806501" y="832904"/>
                </a:lnTo>
                <a:lnTo>
                  <a:pt x="785241" y="832904"/>
                </a:lnTo>
                <a:lnTo>
                  <a:pt x="785241" y="811644"/>
                </a:lnTo>
                <a:lnTo>
                  <a:pt x="763981" y="811644"/>
                </a:lnTo>
                <a:lnTo>
                  <a:pt x="763981" y="832904"/>
                </a:lnTo>
                <a:lnTo>
                  <a:pt x="742721" y="832904"/>
                </a:lnTo>
                <a:lnTo>
                  <a:pt x="742721" y="854164"/>
                </a:lnTo>
                <a:lnTo>
                  <a:pt x="763981" y="854164"/>
                </a:lnTo>
                <a:lnTo>
                  <a:pt x="763981" y="875424"/>
                </a:lnTo>
                <a:close/>
                <a:moveTo>
                  <a:pt x="630250" y="590817"/>
                </a:moveTo>
                <a:lnTo>
                  <a:pt x="644652" y="590817"/>
                </a:lnTo>
                <a:lnTo>
                  <a:pt x="644652" y="576415"/>
                </a:lnTo>
                <a:lnTo>
                  <a:pt x="659054" y="576415"/>
                </a:lnTo>
                <a:lnTo>
                  <a:pt x="659054" y="562013"/>
                </a:lnTo>
                <a:lnTo>
                  <a:pt x="644652" y="562013"/>
                </a:lnTo>
                <a:lnTo>
                  <a:pt x="644652" y="547611"/>
                </a:lnTo>
                <a:lnTo>
                  <a:pt x="630250" y="547611"/>
                </a:lnTo>
                <a:lnTo>
                  <a:pt x="630250" y="562013"/>
                </a:lnTo>
                <a:lnTo>
                  <a:pt x="615848" y="562013"/>
                </a:lnTo>
                <a:lnTo>
                  <a:pt x="615848" y="576415"/>
                </a:lnTo>
                <a:lnTo>
                  <a:pt x="630250" y="576415"/>
                </a:lnTo>
                <a:lnTo>
                  <a:pt x="630250" y="590817"/>
                </a:lnTo>
                <a:close/>
                <a:moveTo>
                  <a:pt x="699516" y="451256"/>
                </a:moveTo>
                <a:lnTo>
                  <a:pt x="712546" y="451256"/>
                </a:lnTo>
                <a:lnTo>
                  <a:pt x="712546" y="438569"/>
                </a:lnTo>
                <a:lnTo>
                  <a:pt x="725233" y="438569"/>
                </a:lnTo>
                <a:lnTo>
                  <a:pt x="725233" y="425539"/>
                </a:lnTo>
                <a:lnTo>
                  <a:pt x="712546" y="425539"/>
                </a:lnTo>
                <a:lnTo>
                  <a:pt x="712546" y="412852"/>
                </a:lnTo>
                <a:lnTo>
                  <a:pt x="699516" y="412852"/>
                </a:lnTo>
                <a:lnTo>
                  <a:pt x="699516" y="425539"/>
                </a:lnTo>
                <a:lnTo>
                  <a:pt x="686829" y="425539"/>
                </a:lnTo>
                <a:lnTo>
                  <a:pt x="686829" y="438569"/>
                </a:lnTo>
                <a:lnTo>
                  <a:pt x="699516" y="438569"/>
                </a:lnTo>
                <a:lnTo>
                  <a:pt x="699516" y="451256"/>
                </a:lnTo>
                <a:close/>
                <a:moveTo>
                  <a:pt x="627850" y="871995"/>
                </a:moveTo>
                <a:lnTo>
                  <a:pt x="647052" y="871995"/>
                </a:lnTo>
                <a:lnTo>
                  <a:pt x="647052" y="853135"/>
                </a:lnTo>
                <a:lnTo>
                  <a:pt x="665912" y="853135"/>
                </a:lnTo>
                <a:lnTo>
                  <a:pt x="665912" y="833933"/>
                </a:lnTo>
                <a:lnTo>
                  <a:pt x="647052" y="833933"/>
                </a:lnTo>
                <a:lnTo>
                  <a:pt x="647052" y="815073"/>
                </a:lnTo>
                <a:lnTo>
                  <a:pt x="627850" y="815073"/>
                </a:lnTo>
                <a:lnTo>
                  <a:pt x="627850" y="833933"/>
                </a:lnTo>
                <a:lnTo>
                  <a:pt x="608990" y="833933"/>
                </a:lnTo>
                <a:lnTo>
                  <a:pt x="608990" y="853135"/>
                </a:lnTo>
                <a:lnTo>
                  <a:pt x="627850" y="853135"/>
                </a:lnTo>
                <a:lnTo>
                  <a:pt x="627850" y="871995"/>
                </a:lnTo>
                <a:close/>
                <a:moveTo>
                  <a:pt x="557555" y="1289304"/>
                </a:moveTo>
                <a:lnTo>
                  <a:pt x="580187" y="1289304"/>
                </a:lnTo>
                <a:lnTo>
                  <a:pt x="580187" y="1266330"/>
                </a:lnTo>
                <a:lnTo>
                  <a:pt x="603161" y="1266330"/>
                </a:lnTo>
                <a:lnTo>
                  <a:pt x="603161" y="1243698"/>
                </a:lnTo>
                <a:lnTo>
                  <a:pt x="580187" y="1243698"/>
                </a:lnTo>
                <a:lnTo>
                  <a:pt x="580187" y="1220724"/>
                </a:lnTo>
                <a:lnTo>
                  <a:pt x="557555" y="1220724"/>
                </a:lnTo>
                <a:lnTo>
                  <a:pt x="557555" y="1243698"/>
                </a:lnTo>
                <a:lnTo>
                  <a:pt x="534581" y="1243698"/>
                </a:lnTo>
                <a:lnTo>
                  <a:pt x="534581" y="1266330"/>
                </a:lnTo>
                <a:lnTo>
                  <a:pt x="557555" y="1266330"/>
                </a:lnTo>
                <a:lnTo>
                  <a:pt x="557555" y="1289304"/>
                </a:lnTo>
                <a:close/>
                <a:moveTo>
                  <a:pt x="560984" y="729691"/>
                </a:moveTo>
                <a:lnTo>
                  <a:pt x="576758" y="729691"/>
                </a:lnTo>
                <a:lnTo>
                  <a:pt x="576758" y="714261"/>
                </a:lnTo>
                <a:lnTo>
                  <a:pt x="592188" y="714261"/>
                </a:lnTo>
                <a:lnTo>
                  <a:pt x="592188" y="698487"/>
                </a:lnTo>
                <a:lnTo>
                  <a:pt x="576758" y="698487"/>
                </a:lnTo>
                <a:lnTo>
                  <a:pt x="576758" y="683057"/>
                </a:lnTo>
                <a:lnTo>
                  <a:pt x="560984" y="683057"/>
                </a:lnTo>
                <a:lnTo>
                  <a:pt x="560984" y="698487"/>
                </a:lnTo>
                <a:lnTo>
                  <a:pt x="545554" y="698487"/>
                </a:lnTo>
                <a:lnTo>
                  <a:pt x="545554" y="714261"/>
                </a:lnTo>
                <a:lnTo>
                  <a:pt x="560984" y="714261"/>
                </a:lnTo>
                <a:lnTo>
                  <a:pt x="560984" y="729691"/>
                </a:lnTo>
                <a:close/>
                <a:moveTo>
                  <a:pt x="149504" y="1552994"/>
                </a:moveTo>
                <a:lnTo>
                  <a:pt x="165278" y="1552994"/>
                </a:lnTo>
                <a:lnTo>
                  <a:pt x="165278" y="1537221"/>
                </a:lnTo>
                <a:lnTo>
                  <a:pt x="181051" y="1537221"/>
                </a:lnTo>
                <a:lnTo>
                  <a:pt x="181051" y="1521447"/>
                </a:lnTo>
                <a:lnTo>
                  <a:pt x="165278" y="1521447"/>
                </a:lnTo>
                <a:lnTo>
                  <a:pt x="165278" y="1505674"/>
                </a:lnTo>
                <a:lnTo>
                  <a:pt x="149504" y="1505674"/>
                </a:lnTo>
                <a:lnTo>
                  <a:pt x="149504" y="1521447"/>
                </a:lnTo>
                <a:lnTo>
                  <a:pt x="133731" y="1521447"/>
                </a:lnTo>
                <a:lnTo>
                  <a:pt x="133731" y="1537221"/>
                </a:lnTo>
                <a:lnTo>
                  <a:pt x="149504" y="1537221"/>
                </a:lnTo>
                <a:lnTo>
                  <a:pt x="149504" y="1552994"/>
                </a:lnTo>
                <a:close/>
                <a:moveTo>
                  <a:pt x="558927" y="1010183"/>
                </a:moveTo>
                <a:lnTo>
                  <a:pt x="578815" y="1010183"/>
                </a:lnTo>
                <a:lnTo>
                  <a:pt x="578815" y="990638"/>
                </a:lnTo>
                <a:lnTo>
                  <a:pt x="598360" y="990638"/>
                </a:lnTo>
                <a:lnTo>
                  <a:pt x="598360" y="970750"/>
                </a:lnTo>
                <a:lnTo>
                  <a:pt x="578815" y="970750"/>
                </a:lnTo>
                <a:lnTo>
                  <a:pt x="578815" y="951205"/>
                </a:lnTo>
                <a:lnTo>
                  <a:pt x="558927" y="951205"/>
                </a:lnTo>
                <a:lnTo>
                  <a:pt x="558927" y="970750"/>
                </a:lnTo>
                <a:lnTo>
                  <a:pt x="539382" y="970750"/>
                </a:lnTo>
                <a:lnTo>
                  <a:pt x="539382" y="990638"/>
                </a:lnTo>
                <a:lnTo>
                  <a:pt x="558927" y="990638"/>
                </a:lnTo>
                <a:lnTo>
                  <a:pt x="558927" y="1010183"/>
                </a:lnTo>
                <a:close/>
                <a:moveTo>
                  <a:pt x="969378" y="739635"/>
                </a:moveTo>
                <a:lnTo>
                  <a:pt x="991324" y="739635"/>
                </a:lnTo>
                <a:lnTo>
                  <a:pt x="991324" y="717347"/>
                </a:lnTo>
                <a:lnTo>
                  <a:pt x="1013612" y="717347"/>
                </a:lnTo>
                <a:lnTo>
                  <a:pt x="1013612" y="695401"/>
                </a:lnTo>
                <a:lnTo>
                  <a:pt x="991324" y="695401"/>
                </a:lnTo>
                <a:lnTo>
                  <a:pt x="991324" y="673113"/>
                </a:lnTo>
                <a:lnTo>
                  <a:pt x="969378" y="673113"/>
                </a:lnTo>
                <a:lnTo>
                  <a:pt x="969378" y="695401"/>
                </a:lnTo>
                <a:lnTo>
                  <a:pt x="947090" y="695401"/>
                </a:lnTo>
                <a:lnTo>
                  <a:pt x="947090" y="717347"/>
                </a:lnTo>
                <a:lnTo>
                  <a:pt x="969378" y="717347"/>
                </a:lnTo>
                <a:lnTo>
                  <a:pt x="969378" y="739635"/>
                </a:lnTo>
                <a:close/>
                <a:moveTo>
                  <a:pt x="2505227" y="2126323"/>
                </a:moveTo>
                <a:lnTo>
                  <a:pt x="2505227" y="2094090"/>
                </a:lnTo>
                <a:lnTo>
                  <a:pt x="2537460" y="2094090"/>
                </a:lnTo>
                <a:lnTo>
                  <a:pt x="2537460" y="2061858"/>
                </a:lnTo>
                <a:lnTo>
                  <a:pt x="2505227" y="2061858"/>
                </a:lnTo>
                <a:lnTo>
                  <a:pt x="2505227" y="2029625"/>
                </a:lnTo>
                <a:lnTo>
                  <a:pt x="2472995" y="2029625"/>
                </a:lnTo>
                <a:lnTo>
                  <a:pt x="2472995" y="2061858"/>
                </a:lnTo>
                <a:lnTo>
                  <a:pt x="2440762" y="2061858"/>
                </a:lnTo>
                <a:lnTo>
                  <a:pt x="2440762" y="2094090"/>
                </a:lnTo>
                <a:lnTo>
                  <a:pt x="2472995" y="2094090"/>
                </a:lnTo>
                <a:lnTo>
                  <a:pt x="2472995" y="2126323"/>
                </a:lnTo>
                <a:lnTo>
                  <a:pt x="2505227" y="2126323"/>
                </a:lnTo>
                <a:close/>
                <a:moveTo>
                  <a:pt x="971779" y="457429"/>
                </a:moveTo>
                <a:lnTo>
                  <a:pt x="988924" y="457429"/>
                </a:lnTo>
                <a:lnTo>
                  <a:pt x="988924" y="440627"/>
                </a:lnTo>
                <a:lnTo>
                  <a:pt x="1005726" y="440627"/>
                </a:lnTo>
                <a:lnTo>
                  <a:pt x="1005726" y="423482"/>
                </a:lnTo>
                <a:lnTo>
                  <a:pt x="988924" y="423482"/>
                </a:lnTo>
                <a:lnTo>
                  <a:pt x="988924" y="406679"/>
                </a:lnTo>
                <a:lnTo>
                  <a:pt x="971779" y="406679"/>
                </a:lnTo>
                <a:lnTo>
                  <a:pt x="971779" y="423482"/>
                </a:lnTo>
                <a:lnTo>
                  <a:pt x="954976" y="423482"/>
                </a:lnTo>
                <a:lnTo>
                  <a:pt x="954976" y="440627"/>
                </a:lnTo>
                <a:lnTo>
                  <a:pt x="971779" y="440627"/>
                </a:lnTo>
                <a:lnTo>
                  <a:pt x="971779" y="457429"/>
                </a:lnTo>
                <a:close/>
                <a:moveTo>
                  <a:pt x="1041387" y="317183"/>
                </a:moveTo>
                <a:lnTo>
                  <a:pt x="1056475" y="317183"/>
                </a:lnTo>
                <a:lnTo>
                  <a:pt x="1056475" y="302438"/>
                </a:lnTo>
                <a:lnTo>
                  <a:pt x="1071220" y="302438"/>
                </a:lnTo>
                <a:lnTo>
                  <a:pt x="1071220" y="287350"/>
                </a:lnTo>
                <a:lnTo>
                  <a:pt x="1056475" y="287350"/>
                </a:lnTo>
                <a:lnTo>
                  <a:pt x="1056475" y="272606"/>
                </a:lnTo>
                <a:lnTo>
                  <a:pt x="1041387" y="272606"/>
                </a:lnTo>
                <a:lnTo>
                  <a:pt x="1041387" y="287350"/>
                </a:lnTo>
                <a:lnTo>
                  <a:pt x="1026643" y="287350"/>
                </a:lnTo>
                <a:lnTo>
                  <a:pt x="1026643" y="302438"/>
                </a:lnTo>
                <a:lnTo>
                  <a:pt x="1041387" y="302438"/>
                </a:lnTo>
                <a:lnTo>
                  <a:pt x="1041387" y="317183"/>
                </a:lnTo>
                <a:close/>
                <a:moveTo>
                  <a:pt x="835647" y="454685"/>
                </a:moveTo>
                <a:lnTo>
                  <a:pt x="850735" y="454685"/>
                </a:lnTo>
                <a:lnTo>
                  <a:pt x="850735" y="439598"/>
                </a:lnTo>
                <a:lnTo>
                  <a:pt x="865822" y="439598"/>
                </a:lnTo>
                <a:lnTo>
                  <a:pt x="865822" y="424510"/>
                </a:lnTo>
                <a:lnTo>
                  <a:pt x="850735" y="424510"/>
                </a:lnTo>
                <a:lnTo>
                  <a:pt x="850735" y="409423"/>
                </a:lnTo>
                <a:lnTo>
                  <a:pt x="835647" y="409423"/>
                </a:lnTo>
                <a:lnTo>
                  <a:pt x="835647" y="424510"/>
                </a:lnTo>
                <a:lnTo>
                  <a:pt x="820560" y="424510"/>
                </a:lnTo>
                <a:lnTo>
                  <a:pt x="820560" y="439598"/>
                </a:lnTo>
                <a:lnTo>
                  <a:pt x="835647" y="439598"/>
                </a:lnTo>
                <a:lnTo>
                  <a:pt x="835647" y="454685"/>
                </a:lnTo>
                <a:close/>
                <a:moveTo>
                  <a:pt x="900112" y="878510"/>
                </a:moveTo>
                <a:lnTo>
                  <a:pt x="923430" y="878510"/>
                </a:lnTo>
                <a:lnTo>
                  <a:pt x="923430" y="855193"/>
                </a:lnTo>
                <a:lnTo>
                  <a:pt x="946747" y="855193"/>
                </a:lnTo>
                <a:lnTo>
                  <a:pt x="946747" y="831875"/>
                </a:lnTo>
                <a:lnTo>
                  <a:pt x="923430" y="831875"/>
                </a:lnTo>
                <a:lnTo>
                  <a:pt x="923430" y="808558"/>
                </a:lnTo>
                <a:lnTo>
                  <a:pt x="900112" y="808558"/>
                </a:lnTo>
                <a:lnTo>
                  <a:pt x="900112" y="831875"/>
                </a:lnTo>
                <a:lnTo>
                  <a:pt x="876795" y="831875"/>
                </a:lnTo>
                <a:lnTo>
                  <a:pt x="876795" y="855193"/>
                </a:lnTo>
                <a:lnTo>
                  <a:pt x="900112" y="855193"/>
                </a:lnTo>
                <a:lnTo>
                  <a:pt x="900112" y="878510"/>
                </a:lnTo>
                <a:close/>
                <a:moveTo>
                  <a:pt x="905256" y="314439"/>
                </a:moveTo>
                <a:lnTo>
                  <a:pt x="918286" y="314439"/>
                </a:lnTo>
                <a:lnTo>
                  <a:pt x="918286" y="301409"/>
                </a:lnTo>
                <a:lnTo>
                  <a:pt x="931316" y="301409"/>
                </a:lnTo>
                <a:lnTo>
                  <a:pt x="931316" y="288379"/>
                </a:lnTo>
                <a:lnTo>
                  <a:pt x="918286" y="288379"/>
                </a:lnTo>
                <a:lnTo>
                  <a:pt x="918286" y="275349"/>
                </a:lnTo>
                <a:lnTo>
                  <a:pt x="905256" y="275349"/>
                </a:lnTo>
                <a:lnTo>
                  <a:pt x="905256" y="288379"/>
                </a:lnTo>
                <a:lnTo>
                  <a:pt x="892226" y="288379"/>
                </a:lnTo>
                <a:lnTo>
                  <a:pt x="892226" y="301409"/>
                </a:lnTo>
                <a:lnTo>
                  <a:pt x="905256" y="301409"/>
                </a:lnTo>
                <a:lnTo>
                  <a:pt x="905256" y="314439"/>
                </a:lnTo>
                <a:close/>
                <a:moveTo>
                  <a:pt x="833247" y="736549"/>
                </a:moveTo>
                <a:lnTo>
                  <a:pt x="853135" y="736549"/>
                </a:lnTo>
                <a:lnTo>
                  <a:pt x="853135" y="716318"/>
                </a:lnTo>
                <a:lnTo>
                  <a:pt x="873366" y="716318"/>
                </a:lnTo>
                <a:lnTo>
                  <a:pt x="873366" y="696430"/>
                </a:lnTo>
                <a:lnTo>
                  <a:pt x="853135" y="696430"/>
                </a:lnTo>
                <a:lnTo>
                  <a:pt x="853135" y="676199"/>
                </a:lnTo>
                <a:lnTo>
                  <a:pt x="833247" y="676199"/>
                </a:lnTo>
                <a:lnTo>
                  <a:pt x="833247" y="696430"/>
                </a:lnTo>
                <a:lnTo>
                  <a:pt x="813016" y="696430"/>
                </a:lnTo>
                <a:lnTo>
                  <a:pt x="813016" y="716318"/>
                </a:lnTo>
                <a:lnTo>
                  <a:pt x="833247" y="716318"/>
                </a:lnTo>
                <a:lnTo>
                  <a:pt x="833247" y="736549"/>
                </a:lnTo>
                <a:close/>
                <a:moveTo>
                  <a:pt x="902513" y="597332"/>
                </a:moveTo>
                <a:lnTo>
                  <a:pt x="921029" y="597332"/>
                </a:lnTo>
                <a:lnTo>
                  <a:pt x="921029" y="578472"/>
                </a:lnTo>
                <a:lnTo>
                  <a:pt x="939889" y="578472"/>
                </a:lnTo>
                <a:lnTo>
                  <a:pt x="939889" y="559956"/>
                </a:lnTo>
                <a:lnTo>
                  <a:pt x="921029" y="559956"/>
                </a:lnTo>
                <a:lnTo>
                  <a:pt x="921029" y="541096"/>
                </a:lnTo>
                <a:lnTo>
                  <a:pt x="902513" y="541096"/>
                </a:lnTo>
                <a:lnTo>
                  <a:pt x="902513" y="559956"/>
                </a:lnTo>
                <a:lnTo>
                  <a:pt x="883653" y="559956"/>
                </a:lnTo>
                <a:lnTo>
                  <a:pt x="883653" y="578472"/>
                </a:lnTo>
                <a:lnTo>
                  <a:pt x="902513" y="578472"/>
                </a:lnTo>
                <a:lnTo>
                  <a:pt x="902513" y="597332"/>
                </a:lnTo>
                <a:close/>
                <a:moveTo>
                  <a:pt x="490347" y="1147686"/>
                </a:moveTo>
                <a:lnTo>
                  <a:pt x="510235" y="1147686"/>
                </a:lnTo>
                <a:lnTo>
                  <a:pt x="510235" y="1127798"/>
                </a:lnTo>
                <a:lnTo>
                  <a:pt x="530123" y="1127798"/>
                </a:lnTo>
                <a:lnTo>
                  <a:pt x="530123" y="1107910"/>
                </a:lnTo>
                <a:lnTo>
                  <a:pt x="510235" y="1107910"/>
                </a:lnTo>
                <a:lnTo>
                  <a:pt x="510235" y="1088022"/>
                </a:lnTo>
                <a:lnTo>
                  <a:pt x="490347" y="1088022"/>
                </a:lnTo>
                <a:lnTo>
                  <a:pt x="490347" y="1107910"/>
                </a:lnTo>
                <a:lnTo>
                  <a:pt x="470459" y="1107910"/>
                </a:lnTo>
                <a:lnTo>
                  <a:pt x="470459" y="1127798"/>
                </a:lnTo>
                <a:lnTo>
                  <a:pt x="490347" y="1127798"/>
                </a:lnTo>
                <a:lnTo>
                  <a:pt x="490347" y="1147686"/>
                </a:lnTo>
                <a:close/>
                <a:moveTo>
                  <a:pt x="494462" y="587045"/>
                </a:moveTo>
                <a:lnTo>
                  <a:pt x="506120" y="587045"/>
                </a:lnTo>
                <a:lnTo>
                  <a:pt x="506120" y="575043"/>
                </a:lnTo>
                <a:lnTo>
                  <a:pt x="518122" y="575043"/>
                </a:lnTo>
                <a:lnTo>
                  <a:pt x="518122" y="563385"/>
                </a:lnTo>
                <a:lnTo>
                  <a:pt x="506120" y="563385"/>
                </a:lnTo>
                <a:lnTo>
                  <a:pt x="506120" y="551383"/>
                </a:lnTo>
                <a:lnTo>
                  <a:pt x="494462" y="551383"/>
                </a:lnTo>
                <a:lnTo>
                  <a:pt x="494462" y="563385"/>
                </a:lnTo>
                <a:lnTo>
                  <a:pt x="482460" y="563385"/>
                </a:lnTo>
                <a:lnTo>
                  <a:pt x="482460" y="575043"/>
                </a:lnTo>
                <a:lnTo>
                  <a:pt x="494462" y="575043"/>
                </a:lnTo>
                <a:lnTo>
                  <a:pt x="494462" y="587045"/>
                </a:lnTo>
                <a:close/>
                <a:moveTo>
                  <a:pt x="287693" y="1001611"/>
                </a:moveTo>
                <a:lnTo>
                  <a:pt x="301409" y="1001611"/>
                </a:lnTo>
                <a:lnTo>
                  <a:pt x="301409" y="987552"/>
                </a:lnTo>
                <a:lnTo>
                  <a:pt x="315468" y="987552"/>
                </a:lnTo>
                <a:lnTo>
                  <a:pt x="315468" y="973836"/>
                </a:lnTo>
                <a:lnTo>
                  <a:pt x="301409" y="973836"/>
                </a:lnTo>
                <a:lnTo>
                  <a:pt x="301409" y="959777"/>
                </a:lnTo>
                <a:lnTo>
                  <a:pt x="287693" y="959777"/>
                </a:lnTo>
                <a:lnTo>
                  <a:pt x="287693" y="973836"/>
                </a:lnTo>
                <a:lnTo>
                  <a:pt x="273634" y="973836"/>
                </a:lnTo>
                <a:lnTo>
                  <a:pt x="273634" y="987552"/>
                </a:lnTo>
                <a:lnTo>
                  <a:pt x="287693" y="987552"/>
                </a:lnTo>
                <a:lnTo>
                  <a:pt x="287693" y="1001611"/>
                </a:lnTo>
                <a:close/>
                <a:moveTo>
                  <a:pt x="285979" y="1280732"/>
                </a:moveTo>
                <a:lnTo>
                  <a:pt x="303124" y="1280732"/>
                </a:lnTo>
                <a:lnTo>
                  <a:pt x="303124" y="1263587"/>
                </a:lnTo>
                <a:lnTo>
                  <a:pt x="320269" y="1263587"/>
                </a:lnTo>
                <a:lnTo>
                  <a:pt x="320269" y="1246442"/>
                </a:lnTo>
                <a:lnTo>
                  <a:pt x="303124" y="1246442"/>
                </a:lnTo>
                <a:lnTo>
                  <a:pt x="303124" y="1229297"/>
                </a:lnTo>
                <a:lnTo>
                  <a:pt x="285979" y="1229297"/>
                </a:lnTo>
                <a:lnTo>
                  <a:pt x="285979" y="1246442"/>
                </a:lnTo>
                <a:lnTo>
                  <a:pt x="268834" y="1246442"/>
                </a:lnTo>
                <a:lnTo>
                  <a:pt x="268834" y="1263587"/>
                </a:lnTo>
                <a:lnTo>
                  <a:pt x="285979" y="1263587"/>
                </a:lnTo>
                <a:lnTo>
                  <a:pt x="285979" y="1280732"/>
                </a:lnTo>
                <a:close/>
                <a:moveTo>
                  <a:pt x="352501" y="1698384"/>
                </a:moveTo>
                <a:lnTo>
                  <a:pt x="373761" y="1698384"/>
                </a:lnTo>
                <a:lnTo>
                  <a:pt x="373761" y="1677124"/>
                </a:lnTo>
                <a:lnTo>
                  <a:pt x="395021" y="1677124"/>
                </a:lnTo>
                <a:lnTo>
                  <a:pt x="395021" y="1655864"/>
                </a:lnTo>
                <a:lnTo>
                  <a:pt x="373761" y="1655864"/>
                </a:lnTo>
                <a:lnTo>
                  <a:pt x="373761" y="1634604"/>
                </a:lnTo>
                <a:lnTo>
                  <a:pt x="352501" y="1634604"/>
                </a:lnTo>
                <a:lnTo>
                  <a:pt x="352501" y="1655864"/>
                </a:lnTo>
                <a:lnTo>
                  <a:pt x="331241" y="1655864"/>
                </a:lnTo>
                <a:lnTo>
                  <a:pt x="331241" y="1677124"/>
                </a:lnTo>
                <a:lnTo>
                  <a:pt x="352501" y="1677124"/>
                </a:lnTo>
                <a:lnTo>
                  <a:pt x="352501" y="1698384"/>
                </a:lnTo>
                <a:close/>
                <a:moveTo>
                  <a:pt x="353187" y="1421663"/>
                </a:moveTo>
                <a:lnTo>
                  <a:pt x="373075" y="1421663"/>
                </a:lnTo>
                <a:lnTo>
                  <a:pt x="373075" y="1402118"/>
                </a:lnTo>
                <a:lnTo>
                  <a:pt x="392620" y="1402118"/>
                </a:lnTo>
                <a:lnTo>
                  <a:pt x="392620" y="1382230"/>
                </a:lnTo>
                <a:lnTo>
                  <a:pt x="373075" y="1382230"/>
                </a:lnTo>
                <a:lnTo>
                  <a:pt x="373075" y="1362685"/>
                </a:lnTo>
                <a:lnTo>
                  <a:pt x="353187" y="1362685"/>
                </a:lnTo>
                <a:lnTo>
                  <a:pt x="353187" y="1382230"/>
                </a:lnTo>
                <a:lnTo>
                  <a:pt x="333642" y="1382230"/>
                </a:lnTo>
                <a:lnTo>
                  <a:pt x="333642" y="1402118"/>
                </a:lnTo>
                <a:lnTo>
                  <a:pt x="353187" y="1402118"/>
                </a:lnTo>
                <a:lnTo>
                  <a:pt x="353187" y="1421663"/>
                </a:lnTo>
                <a:close/>
                <a:moveTo>
                  <a:pt x="150533" y="1275931"/>
                </a:moveTo>
                <a:lnTo>
                  <a:pt x="164249" y="1275931"/>
                </a:lnTo>
                <a:lnTo>
                  <a:pt x="164249" y="1261872"/>
                </a:lnTo>
                <a:lnTo>
                  <a:pt x="178308" y="1261872"/>
                </a:lnTo>
                <a:lnTo>
                  <a:pt x="178308" y="1248156"/>
                </a:lnTo>
                <a:lnTo>
                  <a:pt x="164249" y="1248156"/>
                </a:lnTo>
                <a:lnTo>
                  <a:pt x="164249" y="1234097"/>
                </a:lnTo>
                <a:lnTo>
                  <a:pt x="150533" y="1234097"/>
                </a:lnTo>
                <a:lnTo>
                  <a:pt x="150533" y="1248156"/>
                </a:lnTo>
                <a:lnTo>
                  <a:pt x="136474" y="1248156"/>
                </a:lnTo>
                <a:lnTo>
                  <a:pt x="136474" y="1261872"/>
                </a:lnTo>
                <a:lnTo>
                  <a:pt x="150533" y="1261872"/>
                </a:lnTo>
                <a:lnTo>
                  <a:pt x="150533" y="1275931"/>
                </a:lnTo>
                <a:close/>
                <a:moveTo>
                  <a:pt x="219113" y="1138771"/>
                </a:moveTo>
                <a:lnTo>
                  <a:pt x="232829" y="1138771"/>
                </a:lnTo>
                <a:lnTo>
                  <a:pt x="232829" y="1124712"/>
                </a:lnTo>
                <a:lnTo>
                  <a:pt x="246888" y="1124712"/>
                </a:lnTo>
                <a:lnTo>
                  <a:pt x="246888" y="1110996"/>
                </a:lnTo>
                <a:lnTo>
                  <a:pt x="232829" y="1110996"/>
                </a:lnTo>
                <a:lnTo>
                  <a:pt x="232829" y="1096937"/>
                </a:lnTo>
                <a:lnTo>
                  <a:pt x="219113" y="1096937"/>
                </a:lnTo>
                <a:lnTo>
                  <a:pt x="219113" y="1110996"/>
                </a:lnTo>
                <a:lnTo>
                  <a:pt x="205054" y="1110996"/>
                </a:lnTo>
                <a:lnTo>
                  <a:pt x="205054" y="1124712"/>
                </a:lnTo>
                <a:lnTo>
                  <a:pt x="219113" y="1124712"/>
                </a:lnTo>
                <a:lnTo>
                  <a:pt x="219113" y="1138771"/>
                </a:lnTo>
                <a:close/>
                <a:moveTo>
                  <a:pt x="216713" y="1693926"/>
                </a:moveTo>
                <a:lnTo>
                  <a:pt x="235229" y="1693926"/>
                </a:lnTo>
                <a:lnTo>
                  <a:pt x="235229" y="1675752"/>
                </a:lnTo>
                <a:lnTo>
                  <a:pt x="253403" y="1675752"/>
                </a:lnTo>
                <a:lnTo>
                  <a:pt x="253403" y="1657236"/>
                </a:lnTo>
                <a:lnTo>
                  <a:pt x="235229" y="1657236"/>
                </a:lnTo>
                <a:lnTo>
                  <a:pt x="235229" y="1639062"/>
                </a:lnTo>
                <a:lnTo>
                  <a:pt x="216713" y="1639062"/>
                </a:lnTo>
                <a:lnTo>
                  <a:pt x="216713" y="1657236"/>
                </a:lnTo>
                <a:lnTo>
                  <a:pt x="198539" y="1657236"/>
                </a:lnTo>
                <a:lnTo>
                  <a:pt x="198539" y="1675752"/>
                </a:lnTo>
                <a:lnTo>
                  <a:pt x="216713" y="1675752"/>
                </a:lnTo>
                <a:lnTo>
                  <a:pt x="216713" y="1693926"/>
                </a:lnTo>
                <a:close/>
                <a:moveTo>
                  <a:pt x="354559" y="1143572"/>
                </a:moveTo>
                <a:lnTo>
                  <a:pt x="371704" y="1143572"/>
                </a:lnTo>
                <a:lnTo>
                  <a:pt x="371704" y="1126427"/>
                </a:lnTo>
                <a:lnTo>
                  <a:pt x="388849" y="1126427"/>
                </a:lnTo>
                <a:lnTo>
                  <a:pt x="388849" y="1109282"/>
                </a:lnTo>
                <a:lnTo>
                  <a:pt x="371704" y="1109282"/>
                </a:lnTo>
                <a:lnTo>
                  <a:pt x="371704" y="1092137"/>
                </a:lnTo>
                <a:lnTo>
                  <a:pt x="354559" y="1092137"/>
                </a:lnTo>
                <a:lnTo>
                  <a:pt x="354559" y="1109282"/>
                </a:lnTo>
                <a:lnTo>
                  <a:pt x="337414" y="1109282"/>
                </a:lnTo>
                <a:lnTo>
                  <a:pt x="337414" y="1126427"/>
                </a:lnTo>
                <a:lnTo>
                  <a:pt x="354559" y="1126427"/>
                </a:lnTo>
                <a:lnTo>
                  <a:pt x="354559" y="1143572"/>
                </a:lnTo>
                <a:close/>
                <a:moveTo>
                  <a:pt x="217742" y="1417206"/>
                </a:moveTo>
                <a:lnTo>
                  <a:pt x="234201" y="1417206"/>
                </a:lnTo>
                <a:lnTo>
                  <a:pt x="234201" y="1400404"/>
                </a:lnTo>
                <a:lnTo>
                  <a:pt x="251003" y="1400404"/>
                </a:lnTo>
                <a:lnTo>
                  <a:pt x="251003" y="1383944"/>
                </a:lnTo>
                <a:lnTo>
                  <a:pt x="234201" y="1383944"/>
                </a:lnTo>
                <a:lnTo>
                  <a:pt x="234201" y="1367142"/>
                </a:lnTo>
                <a:lnTo>
                  <a:pt x="217742" y="1367142"/>
                </a:lnTo>
                <a:lnTo>
                  <a:pt x="217742" y="1383944"/>
                </a:lnTo>
                <a:lnTo>
                  <a:pt x="200939" y="1383944"/>
                </a:lnTo>
                <a:lnTo>
                  <a:pt x="200939" y="1400404"/>
                </a:lnTo>
                <a:lnTo>
                  <a:pt x="217742" y="1400404"/>
                </a:lnTo>
                <a:lnTo>
                  <a:pt x="217742" y="1417206"/>
                </a:lnTo>
                <a:close/>
                <a:moveTo>
                  <a:pt x="284950" y="1558138"/>
                </a:moveTo>
                <a:lnTo>
                  <a:pt x="304152" y="1558138"/>
                </a:lnTo>
                <a:lnTo>
                  <a:pt x="304152" y="1538935"/>
                </a:lnTo>
                <a:lnTo>
                  <a:pt x="323355" y="1538935"/>
                </a:lnTo>
                <a:lnTo>
                  <a:pt x="323355" y="1519733"/>
                </a:lnTo>
                <a:lnTo>
                  <a:pt x="304152" y="1519733"/>
                </a:lnTo>
                <a:lnTo>
                  <a:pt x="304152" y="1500530"/>
                </a:lnTo>
                <a:lnTo>
                  <a:pt x="284950" y="1500530"/>
                </a:lnTo>
                <a:lnTo>
                  <a:pt x="284950" y="1519733"/>
                </a:lnTo>
                <a:lnTo>
                  <a:pt x="265748" y="1519733"/>
                </a:lnTo>
                <a:lnTo>
                  <a:pt x="265748" y="1538935"/>
                </a:lnTo>
                <a:lnTo>
                  <a:pt x="284950" y="1538935"/>
                </a:lnTo>
                <a:lnTo>
                  <a:pt x="284950" y="1558138"/>
                </a:lnTo>
                <a:close/>
                <a:moveTo>
                  <a:pt x="356273" y="863765"/>
                </a:moveTo>
                <a:lnTo>
                  <a:pt x="369989" y="863765"/>
                </a:lnTo>
                <a:lnTo>
                  <a:pt x="369989" y="850392"/>
                </a:lnTo>
                <a:lnTo>
                  <a:pt x="383362" y="850392"/>
                </a:lnTo>
                <a:lnTo>
                  <a:pt x="383362" y="836676"/>
                </a:lnTo>
                <a:lnTo>
                  <a:pt x="369989" y="836676"/>
                </a:lnTo>
                <a:lnTo>
                  <a:pt x="369989" y="823303"/>
                </a:lnTo>
                <a:lnTo>
                  <a:pt x="356273" y="823303"/>
                </a:lnTo>
                <a:lnTo>
                  <a:pt x="356273" y="836676"/>
                </a:lnTo>
                <a:lnTo>
                  <a:pt x="342900" y="836676"/>
                </a:lnTo>
                <a:lnTo>
                  <a:pt x="342900" y="850392"/>
                </a:lnTo>
                <a:lnTo>
                  <a:pt x="356273" y="850392"/>
                </a:lnTo>
                <a:lnTo>
                  <a:pt x="356273" y="863765"/>
                </a:lnTo>
                <a:close/>
                <a:moveTo>
                  <a:pt x="1105510" y="742036"/>
                </a:moveTo>
                <a:lnTo>
                  <a:pt x="1129513" y="742036"/>
                </a:lnTo>
                <a:lnTo>
                  <a:pt x="1129513" y="718376"/>
                </a:lnTo>
                <a:lnTo>
                  <a:pt x="1153173" y="718376"/>
                </a:lnTo>
                <a:lnTo>
                  <a:pt x="1153173" y="694373"/>
                </a:lnTo>
                <a:lnTo>
                  <a:pt x="1129513" y="694373"/>
                </a:lnTo>
                <a:lnTo>
                  <a:pt x="1129513" y="670712"/>
                </a:lnTo>
                <a:lnTo>
                  <a:pt x="1105510" y="670712"/>
                </a:lnTo>
                <a:lnTo>
                  <a:pt x="1105510" y="694373"/>
                </a:lnTo>
                <a:lnTo>
                  <a:pt x="1081849" y="694373"/>
                </a:lnTo>
                <a:lnTo>
                  <a:pt x="1081849" y="718376"/>
                </a:lnTo>
                <a:lnTo>
                  <a:pt x="1105510" y="718376"/>
                </a:lnTo>
                <a:lnTo>
                  <a:pt x="1105510" y="742036"/>
                </a:lnTo>
                <a:close/>
                <a:moveTo>
                  <a:pt x="2432876" y="532524"/>
                </a:moveTo>
                <a:lnTo>
                  <a:pt x="2408187" y="532524"/>
                </a:lnTo>
                <a:lnTo>
                  <a:pt x="2408187" y="556870"/>
                </a:lnTo>
                <a:lnTo>
                  <a:pt x="2383841" y="556870"/>
                </a:lnTo>
                <a:lnTo>
                  <a:pt x="2383841" y="581558"/>
                </a:lnTo>
                <a:lnTo>
                  <a:pt x="2408187" y="581558"/>
                </a:lnTo>
                <a:lnTo>
                  <a:pt x="2408187" y="605904"/>
                </a:lnTo>
                <a:lnTo>
                  <a:pt x="2432876" y="605904"/>
                </a:lnTo>
                <a:lnTo>
                  <a:pt x="2432876" y="581558"/>
                </a:lnTo>
                <a:lnTo>
                  <a:pt x="2457221" y="581558"/>
                </a:lnTo>
                <a:lnTo>
                  <a:pt x="2457221" y="556870"/>
                </a:lnTo>
                <a:lnTo>
                  <a:pt x="2432876" y="556870"/>
                </a:lnTo>
                <a:lnTo>
                  <a:pt x="2432876" y="532524"/>
                </a:lnTo>
                <a:close/>
                <a:moveTo>
                  <a:pt x="425196" y="725919"/>
                </a:moveTo>
                <a:lnTo>
                  <a:pt x="438226" y="725919"/>
                </a:lnTo>
                <a:lnTo>
                  <a:pt x="438226" y="712889"/>
                </a:lnTo>
                <a:lnTo>
                  <a:pt x="451256" y="712889"/>
                </a:lnTo>
                <a:lnTo>
                  <a:pt x="451256" y="699859"/>
                </a:lnTo>
                <a:lnTo>
                  <a:pt x="438226" y="699859"/>
                </a:lnTo>
                <a:lnTo>
                  <a:pt x="438226" y="686829"/>
                </a:lnTo>
                <a:lnTo>
                  <a:pt x="425196" y="686829"/>
                </a:lnTo>
                <a:lnTo>
                  <a:pt x="425196" y="699859"/>
                </a:lnTo>
                <a:lnTo>
                  <a:pt x="412166" y="699859"/>
                </a:lnTo>
                <a:lnTo>
                  <a:pt x="412166" y="712889"/>
                </a:lnTo>
                <a:lnTo>
                  <a:pt x="425196" y="712889"/>
                </a:lnTo>
                <a:lnTo>
                  <a:pt x="425196" y="725919"/>
                </a:lnTo>
                <a:close/>
                <a:moveTo>
                  <a:pt x="488975" y="1426121"/>
                </a:moveTo>
                <a:lnTo>
                  <a:pt x="511607" y="1426121"/>
                </a:lnTo>
                <a:lnTo>
                  <a:pt x="511607" y="1403490"/>
                </a:lnTo>
                <a:lnTo>
                  <a:pt x="534238" y="1403490"/>
                </a:lnTo>
                <a:lnTo>
                  <a:pt x="534238" y="1380858"/>
                </a:lnTo>
                <a:lnTo>
                  <a:pt x="511607" y="1380858"/>
                </a:lnTo>
                <a:lnTo>
                  <a:pt x="511607" y="1358227"/>
                </a:lnTo>
                <a:lnTo>
                  <a:pt x="488975" y="1358227"/>
                </a:lnTo>
                <a:lnTo>
                  <a:pt x="488975" y="1380858"/>
                </a:lnTo>
                <a:lnTo>
                  <a:pt x="466344" y="1380858"/>
                </a:lnTo>
                <a:lnTo>
                  <a:pt x="466344" y="1403490"/>
                </a:lnTo>
                <a:lnTo>
                  <a:pt x="488975" y="1403490"/>
                </a:lnTo>
                <a:lnTo>
                  <a:pt x="488975" y="1426121"/>
                </a:lnTo>
                <a:close/>
                <a:moveTo>
                  <a:pt x="420052" y="1838287"/>
                </a:moveTo>
                <a:lnTo>
                  <a:pt x="443370" y="1838287"/>
                </a:lnTo>
                <a:lnTo>
                  <a:pt x="443370" y="1815313"/>
                </a:lnTo>
                <a:lnTo>
                  <a:pt x="466344" y="1815313"/>
                </a:lnTo>
                <a:lnTo>
                  <a:pt x="466344" y="1791995"/>
                </a:lnTo>
                <a:lnTo>
                  <a:pt x="443370" y="1791995"/>
                </a:lnTo>
                <a:lnTo>
                  <a:pt x="443370" y="1769021"/>
                </a:lnTo>
                <a:lnTo>
                  <a:pt x="420052" y="1769021"/>
                </a:lnTo>
                <a:lnTo>
                  <a:pt x="420052" y="1791995"/>
                </a:lnTo>
                <a:lnTo>
                  <a:pt x="397078" y="1791995"/>
                </a:lnTo>
                <a:lnTo>
                  <a:pt x="397078" y="1815313"/>
                </a:lnTo>
                <a:lnTo>
                  <a:pt x="420052" y="1815313"/>
                </a:lnTo>
                <a:lnTo>
                  <a:pt x="420052" y="1838287"/>
                </a:lnTo>
                <a:close/>
                <a:moveTo>
                  <a:pt x="423139" y="1006069"/>
                </a:moveTo>
                <a:lnTo>
                  <a:pt x="440284" y="1006069"/>
                </a:lnTo>
                <a:lnTo>
                  <a:pt x="440284" y="989267"/>
                </a:lnTo>
                <a:lnTo>
                  <a:pt x="457086" y="989267"/>
                </a:lnTo>
                <a:lnTo>
                  <a:pt x="457086" y="972122"/>
                </a:lnTo>
                <a:lnTo>
                  <a:pt x="440284" y="972122"/>
                </a:lnTo>
                <a:lnTo>
                  <a:pt x="440284" y="955319"/>
                </a:lnTo>
                <a:lnTo>
                  <a:pt x="423139" y="955319"/>
                </a:lnTo>
                <a:lnTo>
                  <a:pt x="423139" y="972122"/>
                </a:lnTo>
                <a:lnTo>
                  <a:pt x="406336" y="972122"/>
                </a:lnTo>
                <a:lnTo>
                  <a:pt x="406336" y="989267"/>
                </a:lnTo>
                <a:lnTo>
                  <a:pt x="423139" y="989267"/>
                </a:lnTo>
                <a:lnTo>
                  <a:pt x="423139" y="1006069"/>
                </a:lnTo>
                <a:close/>
                <a:moveTo>
                  <a:pt x="420738" y="1562595"/>
                </a:moveTo>
                <a:lnTo>
                  <a:pt x="442684" y="1562595"/>
                </a:lnTo>
                <a:lnTo>
                  <a:pt x="442684" y="1540307"/>
                </a:lnTo>
                <a:lnTo>
                  <a:pt x="464972" y="1540307"/>
                </a:lnTo>
                <a:lnTo>
                  <a:pt x="464972" y="1518361"/>
                </a:lnTo>
                <a:lnTo>
                  <a:pt x="442684" y="1518361"/>
                </a:lnTo>
                <a:lnTo>
                  <a:pt x="442684" y="1496073"/>
                </a:lnTo>
                <a:lnTo>
                  <a:pt x="420738" y="1496073"/>
                </a:lnTo>
                <a:lnTo>
                  <a:pt x="420738" y="1518361"/>
                </a:lnTo>
                <a:lnTo>
                  <a:pt x="398450" y="1518361"/>
                </a:lnTo>
                <a:lnTo>
                  <a:pt x="398450" y="1540307"/>
                </a:lnTo>
                <a:lnTo>
                  <a:pt x="420738" y="1540307"/>
                </a:lnTo>
                <a:lnTo>
                  <a:pt x="420738" y="1562595"/>
                </a:lnTo>
                <a:close/>
                <a:moveTo>
                  <a:pt x="421767" y="1284846"/>
                </a:moveTo>
                <a:lnTo>
                  <a:pt x="441655" y="1284846"/>
                </a:lnTo>
                <a:lnTo>
                  <a:pt x="441655" y="1264958"/>
                </a:lnTo>
                <a:lnTo>
                  <a:pt x="461543" y="1264958"/>
                </a:lnTo>
                <a:lnTo>
                  <a:pt x="461543" y="1245070"/>
                </a:lnTo>
                <a:lnTo>
                  <a:pt x="441655" y="1245070"/>
                </a:lnTo>
                <a:lnTo>
                  <a:pt x="441655" y="1225182"/>
                </a:lnTo>
                <a:lnTo>
                  <a:pt x="421767" y="1225182"/>
                </a:lnTo>
                <a:lnTo>
                  <a:pt x="421767" y="1245070"/>
                </a:lnTo>
                <a:lnTo>
                  <a:pt x="401879" y="1245070"/>
                </a:lnTo>
                <a:lnTo>
                  <a:pt x="401879" y="1264958"/>
                </a:lnTo>
                <a:lnTo>
                  <a:pt x="421767" y="1264958"/>
                </a:lnTo>
                <a:lnTo>
                  <a:pt x="421767" y="1284846"/>
                </a:lnTo>
                <a:close/>
                <a:moveTo>
                  <a:pt x="492061" y="868223"/>
                </a:moveTo>
                <a:lnTo>
                  <a:pt x="508521" y="868223"/>
                </a:lnTo>
                <a:lnTo>
                  <a:pt x="508521" y="851764"/>
                </a:lnTo>
                <a:lnTo>
                  <a:pt x="524980" y="851764"/>
                </a:lnTo>
                <a:lnTo>
                  <a:pt x="524980" y="835304"/>
                </a:lnTo>
                <a:lnTo>
                  <a:pt x="508521" y="835304"/>
                </a:lnTo>
                <a:lnTo>
                  <a:pt x="508521" y="818845"/>
                </a:lnTo>
                <a:lnTo>
                  <a:pt x="492061" y="818845"/>
                </a:lnTo>
                <a:lnTo>
                  <a:pt x="492061" y="835304"/>
                </a:lnTo>
                <a:lnTo>
                  <a:pt x="475602" y="835304"/>
                </a:lnTo>
                <a:lnTo>
                  <a:pt x="475602" y="851764"/>
                </a:lnTo>
                <a:lnTo>
                  <a:pt x="492061" y="851764"/>
                </a:lnTo>
                <a:lnTo>
                  <a:pt x="492061" y="868223"/>
                </a:lnTo>
                <a:close/>
                <a:moveTo>
                  <a:pt x="1931899" y="183109"/>
                </a:moveTo>
                <a:lnTo>
                  <a:pt x="1949044" y="183109"/>
                </a:lnTo>
                <a:lnTo>
                  <a:pt x="1949044" y="166307"/>
                </a:lnTo>
                <a:lnTo>
                  <a:pt x="1965846" y="166307"/>
                </a:lnTo>
                <a:lnTo>
                  <a:pt x="1965846" y="149162"/>
                </a:lnTo>
                <a:lnTo>
                  <a:pt x="1949044" y="149162"/>
                </a:lnTo>
                <a:lnTo>
                  <a:pt x="1949044" y="132359"/>
                </a:lnTo>
                <a:lnTo>
                  <a:pt x="1931899" y="132359"/>
                </a:lnTo>
                <a:lnTo>
                  <a:pt x="1931899" y="149162"/>
                </a:lnTo>
                <a:lnTo>
                  <a:pt x="1915096" y="149162"/>
                </a:lnTo>
                <a:lnTo>
                  <a:pt x="1915096" y="166307"/>
                </a:lnTo>
                <a:lnTo>
                  <a:pt x="1931899" y="166307"/>
                </a:lnTo>
                <a:lnTo>
                  <a:pt x="1931899" y="183109"/>
                </a:lnTo>
                <a:close/>
                <a:moveTo>
                  <a:pt x="1999107" y="325069"/>
                </a:moveTo>
                <a:lnTo>
                  <a:pt x="2018995" y="325069"/>
                </a:lnTo>
                <a:lnTo>
                  <a:pt x="2018995" y="304838"/>
                </a:lnTo>
                <a:lnTo>
                  <a:pt x="2039227" y="304838"/>
                </a:lnTo>
                <a:lnTo>
                  <a:pt x="2039227" y="284950"/>
                </a:lnTo>
                <a:lnTo>
                  <a:pt x="2018995" y="284950"/>
                </a:lnTo>
                <a:lnTo>
                  <a:pt x="2018995" y="264719"/>
                </a:lnTo>
                <a:lnTo>
                  <a:pt x="1999107" y="264719"/>
                </a:lnTo>
                <a:lnTo>
                  <a:pt x="1999107" y="284950"/>
                </a:lnTo>
                <a:lnTo>
                  <a:pt x="1978876" y="284950"/>
                </a:lnTo>
                <a:lnTo>
                  <a:pt x="1978876" y="304838"/>
                </a:lnTo>
                <a:lnTo>
                  <a:pt x="1999107" y="304838"/>
                </a:lnTo>
                <a:lnTo>
                  <a:pt x="1999107" y="325069"/>
                </a:lnTo>
                <a:close/>
                <a:moveTo>
                  <a:pt x="2136267" y="324726"/>
                </a:moveTo>
                <a:lnTo>
                  <a:pt x="2156155" y="324726"/>
                </a:lnTo>
                <a:lnTo>
                  <a:pt x="2156155" y="304838"/>
                </a:lnTo>
                <a:lnTo>
                  <a:pt x="2176043" y="304838"/>
                </a:lnTo>
                <a:lnTo>
                  <a:pt x="2176043" y="284950"/>
                </a:lnTo>
                <a:lnTo>
                  <a:pt x="2156155" y="284950"/>
                </a:lnTo>
                <a:lnTo>
                  <a:pt x="2156155" y="265062"/>
                </a:lnTo>
                <a:lnTo>
                  <a:pt x="2136267" y="265062"/>
                </a:lnTo>
                <a:lnTo>
                  <a:pt x="2136267" y="284950"/>
                </a:lnTo>
                <a:lnTo>
                  <a:pt x="2116379" y="284950"/>
                </a:lnTo>
                <a:lnTo>
                  <a:pt x="2116379" y="304838"/>
                </a:lnTo>
                <a:lnTo>
                  <a:pt x="2136267" y="304838"/>
                </a:lnTo>
                <a:lnTo>
                  <a:pt x="2136267" y="324726"/>
                </a:lnTo>
                <a:close/>
                <a:moveTo>
                  <a:pt x="2065972" y="466687"/>
                </a:moveTo>
                <a:lnTo>
                  <a:pt x="2089290" y="466687"/>
                </a:lnTo>
                <a:lnTo>
                  <a:pt x="2089290" y="443713"/>
                </a:lnTo>
                <a:lnTo>
                  <a:pt x="2112264" y="443713"/>
                </a:lnTo>
                <a:lnTo>
                  <a:pt x="2112264" y="420395"/>
                </a:lnTo>
                <a:lnTo>
                  <a:pt x="2089290" y="420395"/>
                </a:lnTo>
                <a:lnTo>
                  <a:pt x="2089290" y="397421"/>
                </a:lnTo>
                <a:lnTo>
                  <a:pt x="2065972" y="397421"/>
                </a:lnTo>
                <a:lnTo>
                  <a:pt x="2065972" y="420395"/>
                </a:lnTo>
                <a:lnTo>
                  <a:pt x="2042998" y="420395"/>
                </a:lnTo>
                <a:lnTo>
                  <a:pt x="2042998" y="443713"/>
                </a:lnTo>
                <a:lnTo>
                  <a:pt x="2065972" y="443713"/>
                </a:lnTo>
                <a:lnTo>
                  <a:pt x="2065972" y="466687"/>
                </a:lnTo>
                <a:close/>
                <a:moveTo>
                  <a:pt x="2069059" y="183109"/>
                </a:moveTo>
                <a:lnTo>
                  <a:pt x="2086204" y="183109"/>
                </a:lnTo>
                <a:lnTo>
                  <a:pt x="2086204" y="166307"/>
                </a:lnTo>
                <a:lnTo>
                  <a:pt x="2103006" y="166307"/>
                </a:lnTo>
                <a:lnTo>
                  <a:pt x="2103006" y="149162"/>
                </a:lnTo>
                <a:lnTo>
                  <a:pt x="2086204" y="149162"/>
                </a:lnTo>
                <a:lnTo>
                  <a:pt x="2086204" y="132359"/>
                </a:lnTo>
                <a:lnTo>
                  <a:pt x="2069059" y="132359"/>
                </a:lnTo>
                <a:lnTo>
                  <a:pt x="2069059" y="149162"/>
                </a:lnTo>
                <a:lnTo>
                  <a:pt x="2052256" y="149162"/>
                </a:lnTo>
                <a:lnTo>
                  <a:pt x="2052256" y="166307"/>
                </a:lnTo>
                <a:lnTo>
                  <a:pt x="2069059" y="166307"/>
                </a:lnTo>
                <a:lnTo>
                  <a:pt x="2069059" y="183109"/>
                </a:lnTo>
                <a:close/>
                <a:moveTo>
                  <a:pt x="1791652" y="467030"/>
                </a:moveTo>
                <a:lnTo>
                  <a:pt x="1814970" y="467030"/>
                </a:lnTo>
                <a:lnTo>
                  <a:pt x="1814970" y="443713"/>
                </a:lnTo>
                <a:lnTo>
                  <a:pt x="1838287" y="443713"/>
                </a:lnTo>
                <a:lnTo>
                  <a:pt x="1838287" y="420395"/>
                </a:lnTo>
                <a:lnTo>
                  <a:pt x="1814970" y="420395"/>
                </a:lnTo>
                <a:lnTo>
                  <a:pt x="1814970" y="397078"/>
                </a:lnTo>
                <a:lnTo>
                  <a:pt x="1791652" y="397078"/>
                </a:lnTo>
                <a:lnTo>
                  <a:pt x="1791652" y="420395"/>
                </a:lnTo>
                <a:lnTo>
                  <a:pt x="1768335" y="420395"/>
                </a:lnTo>
                <a:lnTo>
                  <a:pt x="1768335" y="443713"/>
                </a:lnTo>
                <a:lnTo>
                  <a:pt x="1791652" y="443713"/>
                </a:lnTo>
                <a:lnTo>
                  <a:pt x="1791652" y="467030"/>
                </a:lnTo>
                <a:close/>
                <a:moveTo>
                  <a:pt x="1794739" y="183109"/>
                </a:moveTo>
                <a:lnTo>
                  <a:pt x="1811884" y="183109"/>
                </a:lnTo>
                <a:lnTo>
                  <a:pt x="1811884" y="166307"/>
                </a:lnTo>
                <a:lnTo>
                  <a:pt x="1828686" y="166307"/>
                </a:lnTo>
                <a:lnTo>
                  <a:pt x="1828686" y="149162"/>
                </a:lnTo>
                <a:lnTo>
                  <a:pt x="1811884" y="149162"/>
                </a:lnTo>
                <a:lnTo>
                  <a:pt x="1811884" y="132359"/>
                </a:lnTo>
                <a:lnTo>
                  <a:pt x="1794739" y="132359"/>
                </a:lnTo>
                <a:lnTo>
                  <a:pt x="1794739" y="149162"/>
                </a:lnTo>
                <a:lnTo>
                  <a:pt x="1777936" y="149162"/>
                </a:lnTo>
                <a:lnTo>
                  <a:pt x="1777936" y="166307"/>
                </a:lnTo>
                <a:lnTo>
                  <a:pt x="1794739" y="166307"/>
                </a:lnTo>
                <a:lnTo>
                  <a:pt x="1794739" y="183109"/>
                </a:lnTo>
                <a:close/>
                <a:moveTo>
                  <a:pt x="1928812" y="467030"/>
                </a:moveTo>
                <a:lnTo>
                  <a:pt x="1952130" y="467030"/>
                </a:lnTo>
                <a:lnTo>
                  <a:pt x="1952130" y="443713"/>
                </a:lnTo>
                <a:lnTo>
                  <a:pt x="1975447" y="443713"/>
                </a:lnTo>
                <a:lnTo>
                  <a:pt x="1975447" y="420395"/>
                </a:lnTo>
                <a:lnTo>
                  <a:pt x="1952130" y="420395"/>
                </a:lnTo>
                <a:lnTo>
                  <a:pt x="1952130" y="397078"/>
                </a:lnTo>
                <a:lnTo>
                  <a:pt x="1928812" y="397078"/>
                </a:lnTo>
                <a:lnTo>
                  <a:pt x="1928812" y="420395"/>
                </a:lnTo>
                <a:lnTo>
                  <a:pt x="1905495" y="420395"/>
                </a:lnTo>
                <a:lnTo>
                  <a:pt x="1905495" y="443713"/>
                </a:lnTo>
                <a:lnTo>
                  <a:pt x="1928812" y="443713"/>
                </a:lnTo>
                <a:lnTo>
                  <a:pt x="1928812" y="467030"/>
                </a:lnTo>
                <a:close/>
                <a:moveTo>
                  <a:pt x="1861604" y="325412"/>
                </a:moveTo>
                <a:lnTo>
                  <a:pt x="1882178" y="325412"/>
                </a:lnTo>
                <a:lnTo>
                  <a:pt x="1882178" y="305181"/>
                </a:lnTo>
                <a:lnTo>
                  <a:pt x="1902409" y="305181"/>
                </a:lnTo>
                <a:lnTo>
                  <a:pt x="1902409" y="284607"/>
                </a:lnTo>
                <a:lnTo>
                  <a:pt x="1882178" y="284607"/>
                </a:lnTo>
                <a:lnTo>
                  <a:pt x="1882178" y="264376"/>
                </a:lnTo>
                <a:lnTo>
                  <a:pt x="1861604" y="264376"/>
                </a:lnTo>
                <a:lnTo>
                  <a:pt x="1861604" y="284607"/>
                </a:lnTo>
                <a:lnTo>
                  <a:pt x="1841373" y="284607"/>
                </a:lnTo>
                <a:lnTo>
                  <a:pt x="1841373" y="305181"/>
                </a:lnTo>
                <a:lnTo>
                  <a:pt x="1861604" y="305181"/>
                </a:lnTo>
                <a:lnTo>
                  <a:pt x="1861604" y="325412"/>
                </a:lnTo>
                <a:close/>
                <a:moveTo>
                  <a:pt x="1865033" y="40805"/>
                </a:moveTo>
                <a:lnTo>
                  <a:pt x="1878749" y="40805"/>
                </a:lnTo>
                <a:lnTo>
                  <a:pt x="1878749" y="27432"/>
                </a:lnTo>
                <a:lnTo>
                  <a:pt x="1892122" y="27432"/>
                </a:lnTo>
                <a:lnTo>
                  <a:pt x="1892122" y="13716"/>
                </a:lnTo>
                <a:lnTo>
                  <a:pt x="1878749" y="13716"/>
                </a:lnTo>
                <a:lnTo>
                  <a:pt x="1878749" y="343"/>
                </a:lnTo>
                <a:lnTo>
                  <a:pt x="1865033" y="343"/>
                </a:lnTo>
                <a:lnTo>
                  <a:pt x="1865033" y="13716"/>
                </a:lnTo>
                <a:lnTo>
                  <a:pt x="1851660" y="13716"/>
                </a:lnTo>
                <a:lnTo>
                  <a:pt x="1851660" y="27432"/>
                </a:lnTo>
                <a:lnTo>
                  <a:pt x="1865033" y="27432"/>
                </a:lnTo>
                <a:lnTo>
                  <a:pt x="1865033" y="40805"/>
                </a:lnTo>
                <a:close/>
                <a:moveTo>
                  <a:pt x="2002193" y="41148"/>
                </a:moveTo>
                <a:lnTo>
                  <a:pt x="2015909" y="41148"/>
                </a:lnTo>
                <a:lnTo>
                  <a:pt x="2015909" y="27432"/>
                </a:lnTo>
                <a:lnTo>
                  <a:pt x="2029625" y="27432"/>
                </a:lnTo>
                <a:lnTo>
                  <a:pt x="2029625" y="13716"/>
                </a:lnTo>
                <a:lnTo>
                  <a:pt x="2015909" y="13716"/>
                </a:lnTo>
                <a:lnTo>
                  <a:pt x="2015909" y="0"/>
                </a:lnTo>
                <a:lnTo>
                  <a:pt x="2002193" y="0"/>
                </a:lnTo>
                <a:lnTo>
                  <a:pt x="2002193" y="13716"/>
                </a:lnTo>
                <a:lnTo>
                  <a:pt x="1988477" y="13716"/>
                </a:lnTo>
                <a:lnTo>
                  <a:pt x="1988477" y="27432"/>
                </a:lnTo>
                <a:lnTo>
                  <a:pt x="2002193" y="27432"/>
                </a:lnTo>
                <a:lnTo>
                  <a:pt x="2002193" y="41148"/>
                </a:lnTo>
                <a:close/>
                <a:moveTo>
                  <a:pt x="2344064" y="181394"/>
                </a:moveTo>
                <a:lnTo>
                  <a:pt x="2359838" y="181394"/>
                </a:lnTo>
                <a:lnTo>
                  <a:pt x="2359838" y="165621"/>
                </a:lnTo>
                <a:lnTo>
                  <a:pt x="2375611" y="165621"/>
                </a:lnTo>
                <a:lnTo>
                  <a:pt x="2375611" y="149847"/>
                </a:lnTo>
                <a:lnTo>
                  <a:pt x="2359838" y="149847"/>
                </a:lnTo>
                <a:lnTo>
                  <a:pt x="2359838" y="134074"/>
                </a:lnTo>
                <a:lnTo>
                  <a:pt x="2344064" y="134074"/>
                </a:lnTo>
                <a:lnTo>
                  <a:pt x="2344064" y="149847"/>
                </a:lnTo>
                <a:lnTo>
                  <a:pt x="2328291" y="149847"/>
                </a:lnTo>
                <a:lnTo>
                  <a:pt x="2328291" y="165621"/>
                </a:lnTo>
                <a:lnTo>
                  <a:pt x="2344064" y="165621"/>
                </a:lnTo>
                <a:lnTo>
                  <a:pt x="2344064" y="181394"/>
                </a:lnTo>
                <a:close/>
                <a:moveTo>
                  <a:pt x="1108253" y="459829"/>
                </a:moveTo>
                <a:lnTo>
                  <a:pt x="1126769" y="459829"/>
                </a:lnTo>
                <a:lnTo>
                  <a:pt x="1126769" y="441312"/>
                </a:lnTo>
                <a:lnTo>
                  <a:pt x="1145286" y="441312"/>
                </a:lnTo>
                <a:lnTo>
                  <a:pt x="1145286" y="422796"/>
                </a:lnTo>
                <a:lnTo>
                  <a:pt x="1126769" y="422796"/>
                </a:lnTo>
                <a:lnTo>
                  <a:pt x="1126769" y="404279"/>
                </a:lnTo>
                <a:lnTo>
                  <a:pt x="1108253" y="404279"/>
                </a:lnTo>
                <a:lnTo>
                  <a:pt x="1108253" y="422796"/>
                </a:lnTo>
                <a:lnTo>
                  <a:pt x="1089736" y="422796"/>
                </a:lnTo>
                <a:lnTo>
                  <a:pt x="1089736" y="441312"/>
                </a:lnTo>
                <a:lnTo>
                  <a:pt x="1108253" y="441312"/>
                </a:lnTo>
                <a:lnTo>
                  <a:pt x="1108253" y="459829"/>
                </a:lnTo>
                <a:close/>
                <a:moveTo>
                  <a:pt x="2414359" y="38748"/>
                </a:moveTo>
                <a:lnTo>
                  <a:pt x="2426704" y="38748"/>
                </a:lnTo>
                <a:lnTo>
                  <a:pt x="2426704" y="26746"/>
                </a:lnTo>
                <a:lnTo>
                  <a:pt x="2438705" y="26746"/>
                </a:lnTo>
                <a:lnTo>
                  <a:pt x="2438705" y="14402"/>
                </a:lnTo>
                <a:lnTo>
                  <a:pt x="2426704" y="14402"/>
                </a:lnTo>
                <a:lnTo>
                  <a:pt x="2426704" y="2400"/>
                </a:lnTo>
                <a:lnTo>
                  <a:pt x="2414359" y="2400"/>
                </a:lnTo>
                <a:lnTo>
                  <a:pt x="2414359" y="14402"/>
                </a:lnTo>
                <a:lnTo>
                  <a:pt x="2402357" y="14402"/>
                </a:lnTo>
                <a:lnTo>
                  <a:pt x="2402357" y="26746"/>
                </a:lnTo>
                <a:lnTo>
                  <a:pt x="2414359" y="26746"/>
                </a:lnTo>
                <a:lnTo>
                  <a:pt x="2414359" y="38748"/>
                </a:lnTo>
                <a:close/>
                <a:moveTo>
                  <a:pt x="2340979" y="465315"/>
                </a:moveTo>
                <a:lnTo>
                  <a:pt x="2362924" y="465315"/>
                </a:lnTo>
                <a:lnTo>
                  <a:pt x="2362924" y="443027"/>
                </a:lnTo>
                <a:lnTo>
                  <a:pt x="2385212" y="443027"/>
                </a:lnTo>
                <a:lnTo>
                  <a:pt x="2385212" y="421081"/>
                </a:lnTo>
                <a:lnTo>
                  <a:pt x="2362924" y="421081"/>
                </a:lnTo>
                <a:lnTo>
                  <a:pt x="2362924" y="398793"/>
                </a:lnTo>
                <a:lnTo>
                  <a:pt x="2340979" y="398793"/>
                </a:lnTo>
                <a:lnTo>
                  <a:pt x="2340979" y="421081"/>
                </a:lnTo>
                <a:lnTo>
                  <a:pt x="2318690" y="421081"/>
                </a:lnTo>
                <a:lnTo>
                  <a:pt x="2318690" y="443027"/>
                </a:lnTo>
                <a:lnTo>
                  <a:pt x="2340979" y="443027"/>
                </a:lnTo>
                <a:lnTo>
                  <a:pt x="2340979" y="465315"/>
                </a:lnTo>
                <a:close/>
                <a:moveTo>
                  <a:pt x="2203475" y="466344"/>
                </a:moveTo>
                <a:lnTo>
                  <a:pt x="2226107" y="466344"/>
                </a:lnTo>
                <a:lnTo>
                  <a:pt x="2226107" y="443370"/>
                </a:lnTo>
                <a:lnTo>
                  <a:pt x="2249081" y="443370"/>
                </a:lnTo>
                <a:lnTo>
                  <a:pt x="2249081" y="420738"/>
                </a:lnTo>
                <a:lnTo>
                  <a:pt x="2226107" y="420738"/>
                </a:lnTo>
                <a:lnTo>
                  <a:pt x="2226107" y="397764"/>
                </a:lnTo>
                <a:lnTo>
                  <a:pt x="2203475" y="397764"/>
                </a:lnTo>
                <a:lnTo>
                  <a:pt x="2203475" y="420738"/>
                </a:lnTo>
                <a:lnTo>
                  <a:pt x="2180501" y="420738"/>
                </a:lnTo>
                <a:lnTo>
                  <a:pt x="2180501" y="443370"/>
                </a:lnTo>
                <a:lnTo>
                  <a:pt x="2203475" y="443370"/>
                </a:lnTo>
                <a:lnTo>
                  <a:pt x="2203475" y="466344"/>
                </a:lnTo>
                <a:close/>
                <a:moveTo>
                  <a:pt x="2139353" y="40805"/>
                </a:moveTo>
                <a:lnTo>
                  <a:pt x="2153069" y="40805"/>
                </a:lnTo>
                <a:lnTo>
                  <a:pt x="2153069" y="27432"/>
                </a:lnTo>
                <a:lnTo>
                  <a:pt x="2166442" y="27432"/>
                </a:lnTo>
                <a:lnTo>
                  <a:pt x="2166442" y="13716"/>
                </a:lnTo>
                <a:lnTo>
                  <a:pt x="2153069" y="13716"/>
                </a:lnTo>
                <a:lnTo>
                  <a:pt x="2153069" y="343"/>
                </a:lnTo>
                <a:lnTo>
                  <a:pt x="2139353" y="343"/>
                </a:lnTo>
                <a:lnTo>
                  <a:pt x="2139353" y="13716"/>
                </a:lnTo>
                <a:lnTo>
                  <a:pt x="2125980" y="13716"/>
                </a:lnTo>
                <a:lnTo>
                  <a:pt x="2125980" y="27432"/>
                </a:lnTo>
                <a:lnTo>
                  <a:pt x="2139353" y="27432"/>
                </a:lnTo>
                <a:lnTo>
                  <a:pt x="2139353" y="40805"/>
                </a:lnTo>
                <a:close/>
                <a:moveTo>
                  <a:pt x="2206562" y="182423"/>
                </a:moveTo>
                <a:lnTo>
                  <a:pt x="2223021" y="182423"/>
                </a:lnTo>
                <a:lnTo>
                  <a:pt x="2223021" y="165964"/>
                </a:lnTo>
                <a:lnTo>
                  <a:pt x="2239480" y="165964"/>
                </a:lnTo>
                <a:lnTo>
                  <a:pt x="2239480" y="149504"/>
                </a:lnTo>
                <a:lnTo>
                  <a:pt x="2223021" y="149504"/>
                </a:lnTo>
                <a:lnTo>
                  <a:pt x="2223021" y="133045"/>
                </a:lnTo>
                <a:lnTo>
                  <a:pt x="2206562" y="133045"/>
                </a:lnTo>
                <a:lnTo>
                  <a:pt x="2206562" y="149504"/>
                </a:lnTo>
                <a:lnTo>
                  <a:pt x="2190103" y="149504"/>
                </a:lnTo>
                <a:lnTo>
                  <a:pt x="2190103" y="165964"/>
                </a:lnTo>
                <a:lnTo>
                  <a:pt x="2206562" y="165964"/>
                </a:lnTo>
                <a:lnTo>
                  <a:pt x="2206562" y="182423"/>
                </a:lnTo>
                <a:close/>
                <a:moveTo>
                  <a:pt x="2273770" y="324041"/>
                </a:moveTo>
                <a:lnTo>
                  <a:pt x="2292973" y="324041"/>
                </a:lnTo>
                <a:lnTo>
                  <a:pt x="2292973" y="304495"/>
                </a:lnTo>
                <a:lnTo>
                  <a:pt x="2312518" y="304495"/>
                </a:lnTo>
                <a:lnTo>
                  <a:pt x="2312518" y="285293"/>
                </a:lnTo>
                <a:lnTo>
                  <a:pt x="2292973" y="285293"/>
                </a:lnTo>
                <a:lnTo>
                  <a:pt x="2292973" y="265748"/>
                </a:lnTo>
                <a:lnTo>
                  <a:pt x="2273770" y="265748"/>
                </a:lnTo>
                <a:lnTo>
                  <a:pt x="2273770" y="285293"/>
                </a:lnTo>
                <a:lnTo>
                  <a:pt x="2254225" y="285293"/>
                </a:lnTo>
                <a:lnTo>
                  <a:pt x="2254225" y="304495"/>
                </a:lnTo>
                <a:lnTo>
                  <a:pt x="2273770" y="304495"/>
                </a:lnTo>
                <a:lnTo>
                  <a:pt x="2273770" y="324041"/>
                </a:lnTo>
                <a:close/>
                <a:moveTo>
                  <a:pt x="2276856" y="39776"/>
                </a:moveTo>
                <a:lnTo>
                  <a:pt x="2289886" y="39776"/>
                </a:lnTo>
                <a:lnTo>
                  <a:pt x="2289886" y="27089"/>
                </a:lnTo>
                <a:lnTo>
                  <a:pt x="2302574" y="27089"/>
                </a:lnTo>
                <a:lnTo>
                  <a:pt x="2302574" y="14059"/>
                </a:lnTo>
                <a:lnTo>
                  <a:pt x="2289886" y="14059"/>
                </a:lnTo>
                <a:lnTo>
                  <a:pt x="2289886" y="1372"/>
                </a:lnTo>
                <a:lnTo>
                  <a:pt x="2276856" y="1372"/>
                </a:lnTo>
                <a:lnTo>
                  <a:pt x="2276856" y="14059"/>
                </a:lnTo>
                <a:lnTo>
                  <a:pt x="2264169" y="14059"/>
                </a:lnTo>
                <a:lnTo>
                  <a:pt x="2264169" y="27089"/>
                </a:lnTo>
                <a:lnTo>
                  <a:pt x="2276856" y="27089"/>
                </a:lnTo>
                <a:lnTo>
                  <a:pt x="2276856" y="39776"/>
                </a:lnTo>
                <a:close/>
                <a:moveTo>
                  <a:pt x="2411273" y="323012"/>
                </a:moveTo>
                <a:lnTo>
                  <a:pt x="2429789" y="323012"/>
                </a:lnTo>
                <a:lnTo>
                  <a:pt x="2429789" y="304152"/>
                </a:lnTo>
                <a:lnTo>
                  <a:pt x="2448649" y="304152"/>
                </a:lnTo>
                <a:lnTo>
                  <a:pt x="2448649" y="285636"/>
                </a:lnTo>
                <a:lnTo>
                  <a:pt x="2429789" y="285636"/>
                </a:lnTo>
                <a:lnTo>
                  <a:pt x="2429789" y="266776"/>
                </a:lnTo>
                <a:lnTo>
                  <a:pt x="2411273" y="266776"/>
                </a:lnTo>
                <a:lnTo>
                  <a:pt x="2411273" y="285636"/>
                </a:lnTo>
                <a:lnTo>
                  <a:pt x="2392414" y="285636"/>
                </a:lnTo>
                <a:lnTo>
                  <a:pt x="2392414" y="304152"/>
                </a:lnTo>
                <a:lnTo>
                  <a:pt x="2411273" y="304152"/>
                </a:lnTo>
                <a:lnTo>
                  <a:pt x="2411273" y="323012"/>
                </a:lnTo>
                <a:close/>
                <a:moveTo>
                  <a:pt x="1314336" y="321297"/>
                </a:moveTo>
                <a:lnTo>
                  <a:pt x="1332166" y="321297"/>
                </a:lnTo>
                <a:lnTo>
                  <a:pt x="1332166" y="303809"/>
                </a:lnTo>
                <a:lnTo>
                  <a:pt x="1349654" y="303809"/>
                </a:lnTo>
                <a:lnTo>
                  <a:pt x="1349654" y="285979"/>
                </a:lnTo>
                <a:lnTo>
                  <a:pt x="1332166" y="285979"/>
                </a:lnTo>
                <a:lnTo>
                  <a:pt x="1332166" y="268491"/>
                </a:lnTo>
                <a:lnTo>
                  <a:pt x="1314336" y="268491"/>
                </a:lnTo>
                <a:lnTo>
                  <a:pt x="1314336" y="285979"/>
                </a:lnTo>
                <a:lnTo>
                  <a:pt x="1296848" y="285979"/>
                </a:lnTo>
                <a:lnTo>
                  <a:pt x="1296848" y="303809"/>
                </a:lnTo>
                <a:lnTo>
                  <a:pt x="1314336" y="303809"/>
                </a:lnTo>
                <a:lnTo>
                  <a:pt x="1314336" y="321297"/>
                </a:lnTo>
                <a:close/>
                <a:moveTo>
                  <a:pt x="1247813" y="178651"/>
                </a:moveTo>
                <a:lnTo>
                  <a:pt x="1261529" y="178651"/>
                </a:lnTo>
                <a:lnTo>
                  <a:pt x="1261529" y="164592"/>
                </a:lnTo>
                <a:lnTo>
                  <a:pt x="1275588" y="164592"/>
                </a:lnTo>
                <a:lnTo>
                  <a:pt x="1275588" y="150876"/>
                </a:lnTo>
                <a:lnTo>
                  <a:pt x="1261529" y="150876"/>
                </a:lnTo>
                <a:lnTo>
                  <a:pt x="1261529" y="136817"/>
                </a:lnTo>
                <a:lnTo>
                  <a:pt x="1247813" y="136817"/>
                </a:lnTo>
                <a:lnTo>
                  <a:pt x="1247813" y="150876"/>
                </a:lnTo>
                <a:lnTo>
                  <a:pt x="1233754" y="150876"/>
                </a:lnTo>
                <a:lnTo>
                  <a:pt x="1233754" y="164592"/>
                </a:lnTo>
                <a:lnTo>
                  <a:pt x="1247813" y="164592"/>
                </a:lnTo>
                <a:lnTo>
                  <a:pt x="1247813" y="178651"/>
                </a:lnTo>
                <a:close/>
                <a:moveTo>
                  <a:pt x="1311592" y="604190"/>
                </a:moveTo>
                <a:lnTo>
                  <a:pt x="1334910" y="604190"/>
                </a:lnTo>
                <a:lnTo>
                  <a:pt x="1334910" y="580873"/>
                </a:lnTo>
                <a:lnTo>
                  <a:pt x="1358227" y="580873"/>
                </a:lnTo>
                <a:lnTo>
                  <a:pt x="1358227" y="557555"/>
                </a:lnTo>
                <a:lnTo>
                  <a:pt x="1334910" y="557555"/>
                </a:lnTo>
                <a:lnTo>
                  <a:pt x="1334910" y="534238"/>
                </a:lnTo>
                <a:lnTo>
                  <a:pt x="1311592" y="534238"/>
                </a:lnTo>
                <a:lnTo>
                  <a:pt x="1311592" y="557555"/>
                </a:lnTo>
                <a:lnTo>
                  <a:pt x="1288275" y="557555"/>
                </a:lnTo>
                <a:lnTo>
                  <a:pt x="1288275" y="580873"/>
                </a:lnTo>
                <a:lnTo>
                  <a:pt x="1311592" y="580873"/>
                </a:lnTo>
                <a:lnTo>
                  <a:pt x="1311592" y="604190"/>
                </a:lnTo>
                <a:close/>
                <a:moveTo>
                  <a:pt x="1381201" y="463944"/>
                </a:moveTo>
                <a:lnTo>
                  <a:pt x="1402461" y="463944"/>
                </a:lnTo>
                <a:lnTo>
                  <a:pt x="1402461" y="442684"/>
                </a:lnTo>
                <a:lnTo>
                  <a:pt x="1423721" y="442684"/>
                </a:lnTo>
                <a:lnTo>
                  <a:pt x="1423721" y="421424"/>
                </a:lnTo>
                <a:lnTo>
                  <a:pt x="1402461" y="421424"/>
                </a:lnTo>
                <a:lnTo>
                  <a:pt x="1402461" y="400164"/>
                </a:lnTo>
                <a:lnTo>
                  <a:pt x="1381201" y="400164"/>
                </a:lnTo>
                <a:lnTo>
                  <a:pt x="1381201" y="421424"/>
                </a:lnTo>
                <a:lnTo>
                  <a:pt x="1359941" y="421424"/>
                </a:lnTo>
                <a:lnTo>
                  <a:pt x="1359941" y="442684"/>
                </a:lnTo>
                <a:lnTo>
                  <a:pt x="1381201" y="442684"/>
                </a:lnTo>
                <a:lnTo>
                  <a:pt x="1381201" y="463944"/>
                </a:lnTo>
                <a:close/>
                <a:moveTo>
                  <a:pt x="1244727" y="461886"/>
                </a:moveTo>
                <a:lnTo>
                  <a:pt x="1264615" y="461886"/>
                </a:lnTo>
                <a:lnTo>
                  <a:pt x="1264615" y="441998"/>
                </a:lnTo>
                <a:lnTo>
                  <a:pt x="1284503" y="441998"/>
                </a:lnTo>
                <a:lnTo>
                  <a:pt x="1284503" y="422110"/>
                </a:lnTo>
                <a:lnTo>
                  <a:pt x="1264615" y="422110"/>
                </a:lnTo>
                <a:lnTo>
                  <a:pt x="1264615" y="402222"/>
                </a:lnTo>
                <a:lnTo>
                  <a:pt x="1244727" y="402222"/>
                </a:lnTo>
                <a:lnTo>
                  <a:pt x="1244727" y="422110"/>
                </a:lnTo>
                <a:lnTo>
                  <a:pt x="1224839" y="422110"/>
                </a:lnTo>
                <a:lnTo>
                  <a:pt x="1224839" y="441998"/>
                </a:lnTo>
                <a:lnTo>
                  <a:pt x="1244727" y="441998"/>
                </a:lnTo>
                <a:lnTo>
                  <a:pt x="1244727" y="461886"/>
                </a:lnTo>
                <a:close/>
                <a:moveTo>
                  <a:pt x="1384287" y="180365"/>
                </a:moveTo>
                <a:lnTo>
                  <a:pt x="1399375" y="180365"/>
                </a:lnTo>
                <a:lnTo>
                  <a:pt x="1399375" y="165278"/>
                </a:lnTo>
                <a:lnTo>
                  <a:pt x="1414462" y="165278"/>
                </a:lnTo>
                <a:lnTo>
                  <a:pt x="1414462" y="150190"/>
                </a:lnTo>
                <a:lnTo>
                  <a:pt x="1399375" y="150190"/>
                </a:lnTo>
                <a:lnTo>
                  <a:pt x="1399375" y="135103"/>
                </a:lnTo>
                <a:lnTo>
                  <a:pt x="1384287" y="135103"/>
                </a:lnTo>
                <a:lnTo>
                  <a:pt x="1384287" y="150190"/>
                </a:lnTo>
                <a:lnTo>
                  <a:pt x="1369200" y="150190"/>
                </a:lnTo>
                <a:lnTo>
                  <a:pt x="1369200" y="165278"/>
                </a:lnTo>
                <a:lnTo>
                  <a:pt x="1384287" y="165278"/>
                </a:lnTo>
                <a:lnTo>
                  <a:pt x="1384287" y="180365"/>
                </a:lnTo>
                <a:close/>
                <a:moveTo>
                  <a:pt x="1111339" y="176594"/>
                </a:moveTo>
                <a:lnTo>
                  <a:pt x="1123683" y="176594"/>
                </a:lnTo>
                <a:lnTo>
                  <a:pt x="1123683" y="163906"/>
                </a:lnTo>
                <a:lnTo>
                  <a:pt x="1136371" y="163906"/>
                </a:lnTo>
                <a:lnTo>
                  <a:pt x="1136371" y="151562"/>
                </a:lnTo>
                <a:lnTo>
                  <a:pt x="1123683" y="151562"/>
                </a:lnTo>
                <a:lnTo>
                  <a:pt x="1123683" y="138875"/>
                </a:lnTo>
                <a:lnTo>
                  <a:pt x="1111339" y="138875"/>
                </a:lnTo>
                <a:lnTo>
                  <a:pt x="1111339" y="151562"/>
                </a:lnTo>
                <a:lnTo>
                  <a:pt x="1098652" y="151562"/>
                </a:lnTo>
                <a:lnTo>
                  <a:pt x="1098652" y="163906"/>
                </a:lnTo>
                <a:lnTo>
                  <a:pt x="1111339" y="163906"/>
                </a:lnTo>
                <a:lnTo>
                  <a:pt x="1111339" y="176594"/>
                </a:lnTo>
                <a:close/>
                <a:moveTo>
                  <a:pt x="1175118" y="602475"/>
                </a:moveTo>
                <a:lnTo>
                  <a:pt x="1197064" y="602475"/>
                </a:lnTo>
                <a:lnTo>
                  <a:pt x="1197064" y="580187"/>
                </a:lnTo>
                <a:lnTo>
                  <a:pt x="1219352" y="580187"/>
                </a:lnTo>
                <a:lnTo>
                  <a:pt x="1219352" y="558241"/>
                </a:lnTo>
                <a:lnTo>
                  <a:pt x="1197064" y="558241"/>
                </a:lnTo>
                <a:lnTo>
                  <a:pt x="1197064" y="535953"/>
                </a:lnTo>
                <a:lnTo>
                  <a:pt x="1175118" y="535953"/>
                </a:lnTo>
                <a:lnTo>
                  <a:pt x="1175118" y="558241"/>
                </a:lnTo>
                <a:lnTo>
                  <a:pt x="1152830" y="558241"/>
                </a:lnTo>
                <a:lnTo>
                  <a:pt x="1152830" y="580187"/>
                </a:lnTo>
                <a:lnTo>
                  <a:pt x="1175118" y="580187"/>
                </a:lnTo>
                <a:lnTo>
                  <a:pt x="1175118" y="602475"/>
                </a:lnTo>
                <a:close/>
                <a:moveTo>
                  <a:pt x="1177861" y="319240"/>
                </a:moveTo>
                <a:lnTo>
                  <a:pt x="1194321" y="319240"/>
                </a:lnTo>
                <a:lnTo>
                  <a:pt x="1194321" y="303124"/>
                </a:lnTo>
                <a:lnTo>
                  <a:pt x="1210437" y="303124"/>
                </a:lnTo>
                <a:lnTo>
                  <a:pt x="1210437" y="286664"/>
                </a:lnTo>
                <a:lnTo>
                  <a:pt x="1194321" y="286664"/>
                </a:lnTo>
                <a:lnTo>
                  <a:pt x="1194321" y="270548"/>
                </a:lnTo>
                <a:lnTo>
                  <a:pt x="1177861" y="270548"/>
                </a:lnTo>
                <a:lnTo>
                  <a:pt x="1177861" y="286664"/>
                </a:lnTo>
                <a:lnTo>
                  <a:pt x="1161745" y="286664"/>
                </a:lnTo>
                <a:lnTo>
                  <a:pt x="1161745" y="303124"/>
                </a:lnTo>
                <a:lnTo>
                  <a:pt x="1177861" y="303124"/>
                </a:lnTo>
                <a:lnTo>
                  <a:pt x="1177861" y="319240"/>
                </a:lnTo>
                <a:close/>
                <a:moveTo>
                  <a:pt x="1657921" y="182423"/>
                </a:moveTo>
                <a:lnTo>
                  <a:pt x="1674381" y="182423"/>
                </a:lnTo>
                <a:lnTo>
                  <a:pt x="1674381" y="165964"/>
                </a:lnTo>
                <a:lnTo>
                  <a:pt x="1690840" y="165964"/>
                </a:lnTo>
                <a:lnTo>
                  <a:pt x="1690840" y="149504"/>
                </a:lnTo>
                <a:lnTo>
                  <a:pt x="1674381" y="149504"/>
                </a:lnTo>
                <a:lnTo>
                  <a:pt x="1674381" y="133045"/>
                </a:lnTo>
                <a:lnTo>
                  <a:pt x="1657921" y="133045"/>
                </a:lnTo>
                <a:lnTo>
                  <a:pt x="1657921" y="149504"/>
                </a:lnTo>
                <a:lnTo>
                  <a:pt x="1641462" y="149504"/>
                </a:lnTo>
                <a:lnTo>
                  <a:pt x="1641462" y="165964"/>
                </a:lnTo>
                <a:lnTo>
                  <a:pt x="1657921" y="165964"/>
                </a:lnTo>
                <a:lnTo>
                  <a:pt x="1657921" y="182423"/>
                </a:lnTo>
                <a:close/>
                <a:moveTo>
                  <a:pt x="1727873" y="40805"/>
                </a:moveTo>
                <a:lnTo>
                  <a:pt x="1741589" y="40805"/>
                </a:lnTo>
                <a:lnTo>
                  <a:pt x="1741589" y="27432"/>
                </a:lnTo>
                <a:lnTo>
                  <a:pt x="1754962" y="27432"/>
                </a:lnTo>
                <a:lnTo>
                  <a:pt x="1754962" y="13716"/>
                </a:lnTo>
                <a:lnTo>
                  <a:pt x="1741589" y="13716"/>
                </a:lnTo>
                <a:lnTo>
                  <a:pt x="1741589" y="343"/>
                </a:lnTo>
                <a:lnTo>
                  <a:pt x="1727873" y="343"/>
                </a:lnTo>
                <a:lnTo>
                  <a:pt x="1727873" y="13716"/>
                </a:lnTo>
                <a:lnTo>
                  <a:pt x="1714500" y="13716"/>
                </a:lnTo>
                <a:lnTo>
                  <a:pt x="1714500" y="27432"/>
                </a:lnTo>
                <a:lnTo>
                  <a:pt x="1727873" y="27432"/>
                </a:lnTo>
                <a:lnTo>
                  <a:pt x="1727873" y="40805"/>
                </a:lnTo>
                <a:close/>
                <a:moveTo>
                  <a:pt x="1654835" y="466001"/>
                </a:moveTo>
                <a:lnTo>
                  <a:pt x="1677467" y="466001"/>
                </a:lnTo>
                <a:lnTo>
                  <a:pt x="1677467" y="443370"/>
                </a:lnTo>
                <a:lnTo>
                  <a:pt x="1700098" y="443370"/>
                </a:lnTo>
                <a:lnTo>
                  <a:pt x="1700098" y="420738"/>
                </a:lnTo>
                <a:lnTo>
                  <a:pt x="1677467" y="420738"/>
                </a:lnTo>
                <a:lnTo>
                  <a:pt x="1677467" y="398107"/>
                </a:lnTo>
                <a:lnTo>
                  <a:pt x="1654835" y="398107"/>
                </a:lnTo>
                <a:lnTo>
                  <a:pt x="1654835" y="420738"/>
                </a:lnTo>
                <a:lnTo>
                  <a:pt x="1632204" y="420738"/>
                </a:lnTo>
                <a:lnTo>
                  <a:pt x="1632204" y="443370"/>
                </a:lnTo>
                <a:lnTo>
                  <a:pt x="1654835" y="443370"/>
                </a:lnTo>
                <a:lnTo>
                  <a:pt x="1654835" y="466001"/>
                </a:lnTo>
                <a:close/>
                <a:moveTo>
                  <a:pt x="1724787" y="325069"/>
                </a:moveTo>
                <a:lnTo>
                  <a:pt x="1744675" y="325069"/>
                </a:lnTo>
                <a:lnTo>
                  <a:pt x="1744675" y="304838"/>
                </a:lnTo>
                <a:lnTo>
                  <a:pt x="1764906" y="304838"/>
                </a:lnTo>
                <a:lnTo>
                  <a:pt x="1764906" y="284950"/>
                </a:lnTo>
                <a:lnTo>
                  <a:pt x="1744675" y="284950"/>
                </a:lnTo>
                <a:lnTo>
                  <a:pt x="1744675" y="264719"/>
                </a:lnTo>
                <a:lnTo>
                  <a:pt x="1724787" y="264719"/>
                </a:lnTo>
                <a:lnTo>
                  <a:pt x="1724787" y="284950"/>
                </a:lnTo>
                <a:lnTo>
                  <a:pt x="1704556" y="284950"/>
                </a:lnTo>
                <a:lnTo>
                  <a:pt x="1704556" y="304838"/>
                </a:lnTo>
                <a:lnTo>
                  <a:pt x="1724787" y="304838"/>
                </a:lnTo>
                <a:lnTo>
                  <a:pt x="1724787" y="325069"/>
                </a:lnTo>
                <a:close/>
                <a:moveTo>
                  <a:pt x="1591056" y="39776"/>
                </a:moveTo>
                <a:lnTo>
                  <a:pt x="1604086" y="39776"/>
                </a:lnTo>
                <a:lnTo>
                  <a:pt x="1604086" y="27089"/>
                </a:lnTo>
                <a:lnTo>
                  <a:pt x="1616773" y="27089"/>
                </a:lnTo>
                <a:lnTo>
                  <a:pt x="1616773" y="14059"/>
                </a:lnTo>
                <a:lnTo>
                  <a:pt x="1604086" y="14059"/>
                </a:lnTo>
                <a:lnTo>
                  <a:pt x="1604086" y="1372"/>
                </a:lnTo>
                <a:lnTo>
                  <a:pt x="1591056" y="1372"/>
                </a:lnTo>
                <a:lnTo>
                  <a:pt x="1591056" y="14059"/>
                </a:lnTo>
                <a:lnTo>
                  <a:pt x="1578369" y="14059"/>
                </a:lnTo>
                <a:lnTo>
                  <a:pt x="1578369" y="27089"/>
                </a:lnTo>
                <a:lnTo>
                  <a:pt x="1591056" y="27089"/>
                </a:lnTo>
                <a:lnTo>
                  <a:pt x="1591056" y="39776"/>
                </a:lnTo>
                <a:close/>
                <a:moveTo>
                  <a:pt x="1454239" y="39091"/>
                </a:moveTo>
                <a:lnTo>
                  <a:pt x="1466583" y="39091"/>
                </a:lnTo>
                <a:lnTo>
                  <a:pt x="1466583" y="26746"/>
                </a:lnTo>
                <a:lnTo>
                  <a:pt x="1478928" y="26746"/>
                </a:lnTo>
                <a:lnTo>
                  <a:pt x="1478928" y="14402"/>
                </a:lnTo>
                <a:lnTo>
                  <a:pt x="1466583" y="14402"/>
                </a:lnTo>
                <a:lnTo>
                  <a:pt x="1466583" y="2057"/>
                </a:lnTo>
                <a:lnTo>
                  <a:pt x="1454239" y="2057"/>
                </a:lnTo>
                <a:lnTo>
                  <a:pt x="1454239" y="14402"/>
                </a:lnTo>
                <a:lnTo>
                  <a:pt x="1441894" y="14402"/>
                </a:lnTo>
                <a:lnTo>
                  <a:pt x="1441894" y="26746"/>
                </a:lnTo>
                <a:lnTo>
                  <a:pt x="1454239" y="26746"/>
                </a:lnTo>
                <a:lnTo>
                  <a:pt x="1454239" y="39091"/>
                </a:lnTo>
                <a:close/>
                <a:moveTo>
                  <a:pt x="1518018" y="464972"/>
                </a:moveTo>
                <a:lnTo>
                  <a:pt x="1539964" y="464972"/>
                </a:lnTo>
                <a:lnTo>
                  <a:pt x="1539964" y="443027"/>
                </a:lnTo>
                <a:lnTo>
                  <a:pt x="1561909" y="443027"/>
                </a:lnTo>
                <a:lnTo>
                  <a:pt x="1561909" y="421081"/>
                </a:lnTo>
                <a:lnTo>
                  <a:pt x="1539964" y="421081"/>
                </a:lnTo>
                <a:lnTo>
                  <a:pt x="1539964" y="399136"/>
                </a:lnTo>
                <a:lnTo>
                  <a:pt x="1518018" y="399136"/>
                </a:lnTo>
                <a:lnTo>
                  <a:pt x="1518018" y="421081"/>
                </a:lnTo>
                <a:lnTo>
                  <a:pt x="1496073" y="421081"/>
                </a:lnTo>
                <a:lnTo>
                  <a:pt x="1496073" y="443027"/>
                </a:lnTo>
                <a:lnTo>
                  <a:pt x="1518018" y="443027"/>
                </a:lnTo>
                <a:lnTo>
                  <a:pt x="1518018" y="464972"/>
                </a:lnTo>
                <a:close/>
                <a:moveTo>
                  <a:pt x="1451153" y="323012"/>
                </a:moveTo>
                <a:lnTo>
                  <a:pt x="1469669" y="323012"/>
                </a:lnTo>
                <a:lnTo>
                  <a:pt x="1469669" y="304152"/>
                </a:lnTo>
                <a:lnTo>
                  <a:pt x="1488529" y="304152"/>
                </a:lnTo>
                <a:lnTo>
                  <a:pt x="1488529" y="285636"/>
                </a:lnTo>
                <a:lnTo>
                  <a:pt x="1469669" y="285636"/>
                </a:lnTo>
                <a:lnTo>
                  <a:pt x="1469669" y="266776"/>
                </a:lnTo>
                <a:lnTo>
                  <a:pt x="1451153" y="266776"/>
                </a:lnTo>
                <a:lnTo>
                  <a:pt x="1451153" y="285636"/>
                </a:lnTo>
                <a:lnTo>
                  <a:pt x="1432293" y="285636"/>
                </a:lnTo>
                <a:lnTo>
                  <a:pt x="1432293" y="304152"/>
                </a:lnTo>
                <a:lnTo>
                  <a:pt x="1451153" y="304152"/>
                </a:lnTo>
                <a:lnTo>
                  <a:pt x="1451153" y="323012"/>
                </a:lnTo>
                <a:close/>
                <a:moveTo>
                  <a:pt x="1587970" y="324041"/>
                </a:moveTo>
                <a:lnTo>
                  <a:pt x="1607172" y="324041"/>
                </a:lnTo>
                <a:lnTo>
                  <a:pt x="1607172" y="304495"/>
                </a:lnTo>
                <a:lnTo>
                  <a:pt x="1626718" y="304495"/>
                </a:lnTo>
                <a:lnTo>
                  <a:pt x="1626718" y="285293"/>
                </a:lnTo>
                <a:lnTo>
                  <a:pt x="1607172" y="285293"/>
                </a:lnTo>
                <a:lnTo>
                  <a:pt x="1607172" y="265748"/>
                </a:lnTo>
                <a:lnTo>
                  <a:pt x="1587970" y="265748"/>
                </a:lnTo>
                <a:lnTo>
                  <a:pt x="1587970" y="285293"/>
                </a:lnTo>
                <a:lnTo>
                  <a:pt x="1568425" y="285293"/>
                </a:lnTo>
                <a:lnTo>
                  <a:pt x="1568425" y="304495"/>
                </a:lnTo>
                <a:lnTo>
                  <a:pt x="1587970" y="304495"/>
                </a:lnTo>
                <a:lnTo>
                  <a:pt x="1587970" y="324041"/>
                </a:lnTo>
                <a:close/>
                <a:moveTo>
                  <a:pt x="1521104" y="181394"/>
                </a:moveTo>
                <a:lnTo>
                  <a:pt x="1536878" y="181394"/>
                </a:lnTo>
                <a:lnTo>
                  <a:pt x="1536878" y="165621"/>
                </a:lnTo>
                <a:lnTo>
                  <a:pt x="1552651" y="165621"/>
                </a:lnTo>
                <a:lnTo>
                  <a:pt x="1552651" y="149847"/>
                </a:lnTo>
                <a:lnTo>
                  <a:pt x="1536878" y="149847"/>
                </a:lnTo>
                <a:lnTo>
                  <a:pt x="1536878" y="134074"/>
                </a:lnTo>
                <a:lnTo>
                  <a:pt x="1521104" y="134074"/>
                </a:lnTo>
                <a:lnTo>
                  <a:pt x="1521104" y="149847"/>
                </a:lnTo>
                <a:lnTo>
                  <a:pt x="1505331" y="149847"/>
                </a:lnTo>
                <a:lnTo>
                  <a:pt x="1505331" y="165621"/>
                </a:lnTo>
                <a:lnTo>
                  <a:pt x="1521104" y="165621"/>
                </a:lnTo>
                <a:lnTo>
                  <a:pt x="1521104" y="181394"/>
                </a:lnTo>
                <a:close/>
              </a:path>
            </a:pathLst>
          </a:custGeom>
          <a:gradFill>
            <a:gsLst>
              <a:gs pos="0">
                <a:schemeClr val="accent1">
                  <a:alpha val="15080"/>
                </a:schemeClr>
              </a:gs>
              <a:gs pos="100000">
                <a:schemeClr val="accent3">
                  <a:alpha val="15080"/>
                </a:schemeClr>
              </a:gs>
            </a:gsLst>
            <a:path path="circle">
              <a:fillToRect l="50000" t="50000" r="50000" b="50000"/>
            </a:path>
            <a:tileRect/>
          </a:gradFill>
          <a:ln>
            <a:noFill/>
          </a:ln>
        </p:spPr>
        <p:txBody>
          <a:bodyPr spcFirstLastPara="1" wrap="square" lIns="121900" tIns="60933" rIns="121900" bIns="60933" anchor="ctr" anchorCtr="0">
            <a:noAutofit/>
          </a:bodyPr>
          <a:lstStyle/>
          <a:p>
            <a:pPr marL="0" marR="0" lvl="0" indent="0" algn="l" rtl="0">
              <a:spcBef>
                <a:spcPts val="0"/>
              </a:spcBef>
              <a:spcAft>
                <a:spcPts val="0"/>
              </a:spcAft>
              <a:buNone/>
            </a:pPr>
            <a:endParaRPr sz="2400">
              <a:solidFill>
                <a:srgbClr val="000000"/>
              </a:solidFill>
              <a:latin typeface="Calibri"/>
              <a:ea typeface="Calibri"/>
              <a:cs typeface="Calibri"/>
              <a:sym typeface="Calibri"/>
            </a:endParaRPr>
          </a:p>
        </p:txBody>
      </p:sp>
      <p:sp>
        <p:nvSpPr>
          <p:cNvPr id="16" name="Google Shape;11;p2"/>
          <p:cNvSpPr/>
          <p:nvPr userDrawn="1"/>
        </p:nvSpPr>
        <p:spPr>
          <a:xfrm>
            <a:off x="-1053615" y="2368929"/>
            <a:ext cx="5815425" cy="5718932"/>
          </a:xfrm>
          <a:custGeom>
            <a:avLst/>
            <a:gdLst/>
            <a:ahLst/>
            <a:cxnLst/>
            <a:rect l="l" t="t" r="r" b="b"/>
            <a:pathLst>
              <a:path w="3947121" h="3881628" extrusionOk="0">
                <a:moveTo>
                  <a:pt x="1064704" y="2536431"/>
                </a:moveTo>
                <a:lnTo>
                  <a:pt x="1064704" y="2505227"/>
                </a:lnTo>
                <a:lnTo>
                  <a:pt x="1095908" y="2505227"/>
                </a:lnTo>
                <a:lnTo>
                  <a:pt x="1095908" y="2473681"/>
                </a:lnTo>
                <a:lnTo>
                  <a:pt x="1064704" y="2473681"/>
                </a:lnTo>
                <a:lnTo>
                  <a:pt x="1064704" y="2442477"/>
                </a:lnTo>
                <a:lnTo>
                  <a:pt x="1033158" y="2442477"/>
                </a:lnTo>
                <a:lnTo>
                  <a:pt x="1033158" y="2473681"/>
                </a:lnTo>
                <a:lnTo>
                  <a:pt x="1001954" y="2473681"/>
                </a:lnTo>
                <a:lnTo>
                  <a:pt x="1001954" y="2505227"/>
                </a:lnTo>
                <a:lnTo>
                  <a:pt x="1033158" y="2505227"/>
                </a:lnTo>
                <a:lnTo>
                  <a:pt x="1033158" y="2536431"/>
                </a:lnTo>
                <a:lnTo>
                  <a:pt x="1064704" y="2536431"/>
                </a:lnTo>
                <a:close/>
                <a:moveTo>
                  <a:pt x="1202207" y="2537803"/>
                </a:moveTo>
                <a:lnTo>
                  <a:pt x="1202207" y="2505570"/>
                </a:lnTo>
                <a:lnTo>
                  <a:pt x="1234440" y="2505570"/>
                </a:lnTo>
                <a:lnTo>
                  <a:pt x="1234440" y="2473338"/>
                </a:lnTo>
                <a:lnTo>
                  <a:pt x="1202207" y="2473338"/>
                </a:lnTo>
                <a:lnTo>
                  <a:pt x="1202207" y="2441105"/>
                </a:lnTo>
                <a:lnTo>
                  <a:pt x="1169975" y="2441105"/>
                </a:lnTo>
                <a:lnTo>
                  <a:pt x="1169975" y="2473338"/>
                </a:lnTo>
                <a:lnTo>
                  <a:pt x="1137742" y="2473338"/>
                </a:lnTo>
                <a:lnTo>
                  <a:pt x="1137742" y="2505570"/>
                </a:lnTo>
                <a:lnTo>
                  <a:pt x="1169975" y="2505570"/>
                </a:lnTo>
                <a:lnTo>
                  <a:pt x="1169975" y="2537803"/>
                </a:lnTo>
                <a:lnTo>
                  <a:pt x="1202207" y="2537803"/>
                </a:lnTo>
                <a:close/>
                <a:moveTo>
                  <a:pt x="1270787" y="2674963"/>
                </a:moveTo>
                <a:lnTo>
                  <a:pt x="1270787" y="2642730"/>
                </a:lnTo>
                <a:lnTo>
                  <a:pt x="1303020" y="2642730"/>
                </a:lnTo>
                <a:lnTo>
                  <a:pt x="1303020" y="2610498"/>
                </a:lnTo>
                <a:lnTo>
                  <a:pt x="1270787" y="2610498"/>
                </a:lnTo>
                <a:lnTo>
                  <a:pt x="1270787" y="2578265"/>
                </a:lnTo>
                <a:lnTo>
                  <a:pt x="1238555" y="2578265"/>
                </a:lnTo>
                <a:lnTo>
                  <a:pt x="1238555" y="2610498"/>
                </a:lnTo>
                <a:lnTo>
                  <a:pt x="1206322" y="2610498"/>
                </a:lnTo>
                <a:lnTo>
                  <a:pt x="1206322" y="2642730"/>
                </a:lnTo>
                <a:lnTo>
                  <a:pt x="1238555" y="2642730"/>
                </a:lnTo>
                <a:lnTo>
                  <a:pt x="1238555" y="2674963"/>
                </a:lnTo>
                <a:lnTo>
                  <a:pt x="1270787" y="2674963"/>
                </a:lnTo>
                <a:close/>
                <a:moveTo>
                  <a:pt x="1133627" y="2400643"/>
                </a:moveTo>
                <a:lnTo>
                  <a:pt x="1133627" y="2368410"/>
                </a:lnTo>
                <a:lnTo>
                  <a:pt x="1165860" y="2368410"/>
                </a:lnTo>
                <a:lnTo>
                  <a:pt x="1165860" y="2336178"/>
                </a:lnTo>
                <a:lnTo>
                  <a:pt x="1133627" y="2336178"/>
                </a:lnTo>
                <a:lnTo>
                  <a:pt x="1133627" y="2303945"/>
                </a:lnTo>
                <a:lnTo>
                  <a:pt x="1101395" y="2303945"/>
                </a:lnTo>
                <a:lnTo>
                  <a:pt x="1101395" y="2336178"/>
                </a:lnTo>
                <a:lnTo>
                  <a:pt x="1069162" y="2336178"/>
                </a:lnTo>
                <a:lnTo>
                  <a:pt x="1069162" y="2368410"/>
                </a:lnTo>
                <a:lnTo>
                  <a:pt x="1101395" y="2368410"/>
                </a:lnTo>
                <a:lnTo>
                  <a:pt x="1101395" y="2400643"/>
                </a:lnTo>
                <a:lnTo>
                  <a:pt x="1133627" y="2400643"/>
                </a:lnTo>
                <a:close/>
                <a:moveTo>
                  <a:pt x="996124" y="2399271"/>
                </a:moveTo>
                <a:lnTo>
                  <a:pt x="996124" y="2368067"/>
                </a:lnTo>
                <a:lnTo>
                  <a:pt x="1027328" y="2368067"/>
                </a:lnTo>
                <a:lnTo>
                  <a:pt x="1027328" y="2336521"/>
                </a:lnTo>
                <a:lnTo>
                  <a:pt x="996124" y="2336521"/>
                </a:lnTo>
                <a:lnTo>
                  <a:pt x="996124" y="2305317"/>
                </a:lnTo>
                <a:lnTo>
                  <a:pt x="964578" y="2305317"/>
                </a:lnTo>
                <a:lnTo>
                  <a:pt x="964578" y="2336521"/>
                </a:lnTo>
                <a:lnTo>
                  <a:pt x="933374" y="2336521"/>
                </a:lnTo>
                <a:lnTo>
                  <a:pt x="933374" y="2368067"/>
                </a:lnTo>
                <a:lnTo>
                  <a:pt x="964578" y="2368067"/>
                </a:lnTo>
                <a:lnTo>
                  <a:pt x="964578" y="2399271"/>
                </a:lnTo>
                <a:lnTo>
                  <a:pt x="996124" y="2399271"/>
                </a:lnTo>
                <a:close/>
                <a:moveTo>
                  <a:pt x="651167" y="1981962"/>
                </a:moveTo>
                <a:lnTo>
                  <a:pt x="651167" y="1954530"/>
                </a:lnTo>
                <a:lnTo>
                  <a:pt x="678599" y="1954530"/>
                </a:lnTo>
                <a:lnTo>
                  <a:pt x="678599" y="1927098"/>
                </a:lnTo>
                <a:lnTo>
                  <a:pt x="651167" y="1927098"/>
                </a:lnTo>
                <a:lnTo>
                  <a:pt x="651167" y="1899666"/>
                </a:lnTo>
                <a:lnTo>
                  <a:pt x="623735" y="1899666"/>
                </a:lnTo>
                <a:lnTo>
                  <a:pt x="623735" y="1927098"/>
                </a:lnTo>
                <a:lnTo>
                  <a:pt x="596303" y="1927098"/>
                </a:lnTo>
                <a:lnTo>
                  <a:pt x="596303" y="1954530"/>
                </a:lnTo>
                <a:lnTo>
                  <a:pt x="623735" y="1954530"/>
                </a:lnTo>
                <a:lnTo>
                  <a:pt x="623735" y="1981962"/>
                </a:lnTo>
                <a:lnTo>
                  <a:pt x="651167" y="1981962"/>
                </a:lnTo>
                <a:close/>
                <a:moveTo>
                  <a:pt x="720090" y="2120494"/>
                </a:moveTo>
                <a:lnTo>
                  <a:pt x="720090" y="2092033"/>
                </a:lnTo>
                <a:lnTo>
                  <a:pt x="748551" y="2092033"/>
                </a:lnTo>
                <a:lnTo>
                  <a:pt x="748551" y="2063915"/>
                </a:lnTo>
                <a:lnTo>
                  <a:pt x="720090" y="2063915"/>
                </a:lnTo>
                <a:lnTo>
                  <a:pt x="720090" y="2035454"/>
                </a:lnTo>
                <a:lnTo>
                  <a:pt x="691972" y="2035454"/>
                </a:lnTo>
                <a:lnTo>
                  <a:pt x="691972" y="2063915"/>
                </a:lnTo>
                <a:lnTo>
                  <a:pt x="663511" y="2063915"/>
                </a:lnTo>
                <a:lnTo>
                  <a:pt x="663511" y="2092033"/>
                </a:lnTo>
                <a:lnTo>
                  <a:pt x="691972" y="2092033"/>
                </a:lnTo>
                <a:lnTo>
                  <a:pt x="691972" y="2120494"/>
                </a:lnTo>
                <a:lnTo>
                  <a:pt x="720090" y="2120494"/>
                </a:lnTo>
                <a:close/>
                <a:moveTo>
                  <a:pt x="858279" y="2123580"/>
                </a:moveTo>
                <a:lnTo>
                  <a:pt x="858279" y="2093062"/>
                </a:lnTo>
                <a:lnTo>
                  <a:pt x="888797" y="2093062"/>
                </a:lnTo>
                <a:lnTo>
                  <a:pt x="888797" y="2062886"/>
                </a:lnTo>
                <a:lnTo>
                  <a:pt x="858279" y="2062886"/>
                </a:lnTo>
                <a:lnTo>
                  <a:pt x="858279" y="2032368"/>
                </a:lnTo>
                <a:lnTo>
                  <a:pt x="828103" y="2032368"/>
                </a:lnTo>
                <a:lnTo>
                  <a:pt x="828103" y="2062886"/>
                </a:lnTo>
                <a:lnTo>
                  <a:pt x="797585" y="2062886"/>
                </a:lnTo>
                <a:lnTo>
                  <a:pt x="797585" y="2093062"/>
                </a:lnTo>
                <a:lnTo>
                  <a:pt x="828103" y="2093062"/>
                </a:lnTo>
                <a:lnTo>
                  <a:pt x="828103" y="2123580"/>
                </a:lnTo>
                <a:lnTo>
                  <a:pt x="858279" y="2123580"/>
                </a:lnTo>
                <a:close/>
                <a:moveTo>
                  <a:pt x="927202" y="2261768"/>
                </a:moveTo>
                <a:lnTo>
                  <a:pt x="927202" y="2230565"/>
                </a:lnTo>
                <a:lnTo>
                  <a:pt x="958405" y="2230565"/>
                </a:lnTo>
                <a:lnTo>
                  <a:pt x="958405" y="2199704"/>
                </a:lnTo>
                <a:lnTo>
                  <a:pt x="927202" y="2199704"/>
                </a:lnTo>
                <a:lnTo>
                  <a:pt x="927202" y="2168500"/>
                </a:lnTo>
                <a:lnTo>
                  <a:pt x="896341" y="2168500"/>
                </a:lnTo>
                <a:lnTo>
                  <a:pt x="896341" y="2199704"/>
                </a:lnTo>
                <a:lnTo>
                  <a:pt x="865137" y="2199704"/>
                </a:lnTo>
                <a:lnTo>
                  <a:pt x="865137" y="2230565"/>
                </a:lnTo>
                <a:lnTo>
                  <a:pt x="896341" y="2230565"/>
                </a:lnTo>
                <a:lnTo>
                  <a:pt x="896341" y="2261768"/>
                </a:lnTo>
                <a:lnTo>
                  <a:pt x="927202" y="2261768"/>
                </a:lnTo>
                <a:close/>
                <a:moveTo>
                  <a:pt x="789356" y="2259025"/>
                </a:moveTo>
                <a:lnTo>
                  <a:pt x="789356" y="2229879"/>
                </a:lnTo>
                <a:lnTo>
                  <a:pt x="818502" y="2229879"/>
                </a:lnTo>
                <a:lnTo>
                  <a:pt x="818502" y="2200389"/>
                </a:lnTo>
                <a:lnTo>
                  <a:pt x="789356" y="2200389"/>
                </a:lnTo>
                <a:lnTo>
                  <a:pt x="789356" y="2171243"/>
                </a:lnTo>
                <a:lnTo>
                  <a:pt x="759866" y="2171243"/>
                </a:lnTo>
                <a:lnTo>
                  <a:pt x="759866" y="2200389"/>
                </a:lnTo>
                <a:lnTo>
                  <a:pt x="730720" y="2200389"/>
                </a:lnTo>
                <a:lnTo>
                  <a:pt x="730720" y="2229879"/>
                </a:lnTo>
                <a:lnTo>
                  <a:pt x="759866" y="2229879"/>
                </a:lnTo>
                <a:lnTo>
                  <a:pt x="759866" y="2259025"/>
                </a:lnTo>
                <a:lnTo>
                  <a:pt x="789356" y="2259025"/>
                </a:lnTo>
                <a:close/>
                <a:moveTo>
                  <a:pt x="1888007" y="2812123"/>
                </a:moveTo>
                <a:lnTo>
                  <a:pt x="1888007" y="2779890"/>
                </a:lnTo>
                <a:lnTo>
                  <a:pt x="1920240" y="2779890"/>
                </a:lnTo>
                <a:lnTo>
                  <a:pt x="1920240" y="2747658"/>
                </a:lnTo>
                <a:lnTo>
                  <a:pt x="1888007" y="2747658"/>
                </a:lnTo>
                <a:lnTo>
                  <a:pt x="1888007" y="2715425"/>
                </a:lnTo>
                <a:lnTo>
                  <a:pt x="1855775" y="2715425"/>
                </a:lnTo>
                <a:lnTo>
                  <a:pt x="1855775" y="2747658"/>
                </a:lnTo>
                <a:lnTo>
                  <a:pt x="1823542" y="2747658"/>
                </a:lnTo>
                <a:lnTo>
                  <a:pt x="1823542" y="2779890"/>
                </a:lnTo>
                <a:lnTo>
                  <a:pt x="1855775" y="2779890"/>
                </a:lnTo>
                <a:lnTo>
                  <a:pt x="1855775" y="2812123"/>
                </a:lnTo>
                <a:lnTo>
                  <a:pt x="1888007" y="2812123"/>
                </a:lnTo>
                <a:close/>
                <a:moveTo>
                  <a:pt x="1750847" y="2812123"/>
                </a:moveTo>
                <a:lnTo>
                  <a:pt x="1750847" y="2779890"/>
                </a:lnTo>
                <a:lnTo>
                  <a:pt x="1783080" y="2779890"/>
                </a:lnTo>
                <a:lnTo>
                  <a:pt x="1783080" y="2747658"/>
                </a:lnTo>
                <a:lnTo>
                  <a:pt x="1750847" y="2747658"/>
                </a:lnTo>
                <a:lnTo>
                  <a:pt x="1750847" y="2715425"/>
                </a:lnTo>
                <a:lnTo>
                  <a:pt x="1718615" y="2715425"/>
                </a:lnTo>
                <a:lnTo>
                  <a:pt x="1718615" y="2747658"/>
                </a:lnTo>
                <a:lnTo>
                  <a:pt x="1686382" y="2747658"/>
                </a:lnTo>
                <a:lnTo>
                  <a:pt x="1686382" y="2779890"/>
                </a:lnTo>
                <a:lnTo>
                  <a:pt x="1718615" y="2779890"/>
                </a:lnTo>
                <a:lnTo>
                  <a:pt x="1718615" y="2812123"/>
                </a:lnTo>
                <a:lnTo>
                  <a:pt x="1750847" y="2812123"/>
                </a:lnTo>
                <a:close/>
                <a:moveTo>
                  <a:pt x="1819427" y="2674963"/>
                </a:moveTo>
                <a:lnTo>
                  <a:pt x="1819427" y="2642730"/>
                </a:lnTo>
                <a:lnTo>
                  <a:pt x="1851660" y="2642730"/>
                </a:lnTo>
                <a:lnTo>
                  <a:pt x="1851660" y="2610498"/>
                </a:lnTo>
                <a:lnTo>
                  <a:pt x="1819427" y="2610498"/>
                </a:lnTo>
                <a:lnTo>
                  <a:pt x="1819427" y="2578265"/>
                </a:lnTo>
                <a:lnTo>
                  <a:pt x="1787195" y="2578265"/>
                </a:lnTo>
                <a:lnTo>
                  <a:pt x="1787195" y="2610498"/>
                </a:lnTo>
                <a:lnTo>
                  <a:pt x="1754962" y="2610498"/>
                </a:lnTo>
                <a:lnTo>
                  <a:pt x="1754962" y="2642730"/>
                </a:lnTo>
                <a:lnTo>
                  <a:pt x="1787195" y="2642730"/>
                </a:lnTo>
                <a:lnTo>
                  <a:pt x="1787195" y="2674963"/>
                </a:lnTo>
                <a:lnTo>
                  <a:pt x="1819427" y="2674963"/>
                </a:lnTo>
                <a:close/>
                <a:moveTo>
                  <a:pt x="691972" y="1761134"/>
                </a:moveTo>
                <a:lnTo>
                  <a:pt x="691972" y="1789595"/>
                </a:lnTo>
                <a:lnTo>
                  <a:pt x="663511" y="1789595"/>
                </a:lnTo>
                <a:lnTo>
                  <a:pt x="663511" y="1817713"/>
                </a:lnTo>
                <a:lnTo>
                  <a:pt x="691972" y="1817713"/>
                </a:lnTo>
                <a:lnTo>
                  <a:pt x="691972" y="1846174"/>
                </a:lnTo>
                <a:lnTo>
                  <a:pt x="720090" y="1846174"/>
                </a:lnTo>
                <a:lnTo>
                  <a:pt x="720090" y="1817713"/>
                </a:lnTo>
                <a:lnTo>
                  <a:pt x="748551" y="1817713"/>
                </a:lnTo>
                <a:lnTo>
                  <a:pt x="748551" y="1789595"/>
                </a:lnTo>
                <a:lnTo>
                  <a:pt x="720090" y="1789595"/>
                </a:lnTo>
                <a:lnTo>
                  <a:pt x="720090" y="1761134"/>
                </a:lnTo>
                <a:lnTo>
                  <a:pt x="691972" y="1761134"/>
                </a:lnTo>
                <a:close/>
                <a:moveTo>
                  <a:pt x="1682267" y="2674963"/>
                </a:moveTo>
                <a:lnTo>
                  <a:pt x="1682267" y="2642730"/>
                </a:lnTo>
                <a:lnTo>
                  <a:pt x="1714500" y="2642730"/>
                </a:lnTo>
                <a:lnTo>
                  <a:pt x="1714500" y="2610498"/>
                </a:lnTo>
                <a:lnTo>
                  <a:pt x="1682267" y="2610498"/>
                </a:lnTo>
                <a:lnTo>
                  <a:pt x="1682267" y="2578265"/>
                </a:lnTo>
                <a:lnTo>
                  <a:pt x="1650035" y="2578265"/>
                </a:lnTo>
                <a:lnTo>
                  <a:pt x="1650035" y="2610498"/>
                </a:lnTo>
                <a:lnTo>
                  <a:pt x="1617802" y="2610498"/>
                </a:lnTo>
                <a:lnTo>
                  <a:pt x="1617802" y="2642730"/>
                </a:lnTo>
                <a:lnTo>
                  <a:pt x="1650035" y="2642730"/>
                </a:lnTo>
                <a:lnTo>
                  <a:pt x="1650035" y="2674963"/>
                </a:lnTo>
                <a:lnTo>
                  <a:pt x="1682267" y="2674963"/>
                </a:lnTo>
                <a:close/>
                <a:moveTo>
                  <a:pt x="1476527" y="2537803"/>
                </a:moveTo>
                <a:lnTo>
                  <a:pt x="1476527" y="2505570"/>
                </a:lnTo>
                <a:lnTo>
                  <a:pt x="1508760" y="2505570"/>
                </a:lnTo>
                <a:lnTo>
                  <a:pt x="1508760" y="2473338"/>
                </a:lnTo>
                <a:lnTo>
                  <a:pt x="1476527" y="2473338"/>
                </a:lnTo>
                <a:lnTo>
                  <a:pt x="1476527" y="2441105"/>
                </a:lnTo>
                <a:lnTo>
                  <a:pt x="1444295" y="2441105"/>
                </a:lnTo>
                <a:lnTo>
                  <a:pt x="1444295" y="2473338"/>
                </a:lnTo>
                <a:lnTo>
                  <a:pt x="1412062" y="2473338"/>
                </a:lnTo>
                <a:lnTo>
                  <a:pt x="1412062" y="2505570"/>
                </a:lnTo>
                <a:lnTo>
                  <a:pt x="1444295" y="2505570"/>
                </a:lnTo>
                <a:lnTo>
                  <a:pt x="1444295" y="2537803"/>
                </a:lnTo>
                <a:lnTo>
                  <a:pt x="1476527" y="2537803"/>
                </a:lnTo>
                <a:close/>
                <a:moveTo>
                  <a:pt x="1407947" y="2674963"/>
                </a:moveTo>
                <a:lnTo>
                  <a:pt x="1407947" y="2642730"/>
                </a:lnTo>
                <a:lnTo>
                  <a:pt x="1440180" y="2642730"/>
                </a:lnTo>
                <a:lnTo>
                  <a:pt x="1440180" y="2610498"/>
                </a:lnTo>
                <a:lnTo>
                  <a:pt x="1407947" y="2610498"/>
                </a:lnTo>
                <a:lnTo>
                  <a:pt x="1407947" y="2578265"/>
                </a:lnTo>
                <a:lnTo>
                  <a:pt x="1375715" y="2578265"/>
                </a:lnTo>
                <a:lnTo>
                  <a:pt x="1375715" y="2610498"/>
                </a:lnTo>
                <a:lnTo>
                  <a:pt x="1343482" y="2610498"/>
                </a:lnTo>
                <a:lnTo>
                  <a:pt x="1343482" y="2642730"/>
                </a:lnTo>
                <a:lnTo>
                  <a:pt x="1375715" y="2642730"/>
                </a:lnTo>
                <a:lnTo>
                  <a:pt x="1375715" y="2674963"/>
                </a:lnTo>
                <a:lnTo>
                  <a:pt x="1407947" y="2674963"/>
                </a:lnTo>
                <a:close/>
                <a:moveTo>
                  <a:pt x="1339367" y="2537803"/>
                </a:moveTo>
                <a:lnTo>
                  <a:pt x="1339367" y="2505570"/>
                </a:lnTo>
                <a:lnTo>
                  <a:pt x="1371600" y="2505570"/>
                </a:lnTo>
                <a:lnTo>
                  <a:pt x="1371600" y="2473338"/>
                </a:lnTo>
                <a:lnTo>
                  <a:pt x="1339367" y="2473338"/>
                </a:lnTo>
                <a:lnTo>
                  <a:pt x="1339367" y="2441105"/>
                </a:lnTo>
                <a:lnTo>
                  <a:pt x="1307135" y="2441105"/>
                </a:lnTo>
                <a:lnTo>
                  <a:pt x="1307135" y="2473338"/>
                </a:lnTo>
                <a:lnTo>
                  <a:pt x="1274902" y="2473338"/>
                </a:lnTo>
                <a:lnTo>
                  <a:pt x="1274902" y="2505570"/>
                </a:lnTo>
                <a:lnTo>
                  <a:pt x="1307135" y="2505570"/>
                </a:lnTo>
                <a:lnTo>
                  <a:pt x="1307135" y="2537803"/>
                </a:lnTo>
                <a:lnTo>
                  <a:pt x="1339367" y="2537803"/>
                </a:lnTo>
                <a:close/>
                <a:moveTo>
                  <a:pt x="1613687" y="2812123"/>
                </a:moveTo>
                <a:lnTo>
                  <a:pt x="1613687" y="2779890"/>
                </a:lnTo>
                <a:lnTo>
                  <a:pt x="1645920" y="2779890"/>
                </a:lnTo>
                <a:lnTo>
                  <a:pt x="1645920" y="2747658"/>
                </a:lnTo>
                <a:lnTo>
                  <a:pt x="1613687" y="2747658"/>
                </a:lnTo>
                <a:lnTo>
                  <a:pt x="1613687" y="2715425"/>
                </a:lnTo>
                <a:lnTo>
                  <a:pt x="1581455" y="2715425"/>
                </a:lnTo>
                <a:lnTo>
                  <a:pt x="1581455" y="2747658"/>
                </a:lnTo>
                <a:lnTo>
                  <a:pt x="1549222" y="2747658"/>
                </a:lnTo>
                <a:lnTo>
                  <a:pt x="1549222" y="2779890"/>
                </a:lnTo>
                <a:lnTo>
                  <a:pt x="1581455" y="2779890"/>
                </a:lnTo>
                <a:lnTo>
                  <a:pt x="1581455" y="2812123"/>
                </a:lnTo>
                <a:lnTo>
                  <a:pt x="1613687" y="2812123"/>
                </a:lnTo>
                <a:close/>
                <a:moveTo>
                  <a:pt x="1956587" y="2674963"/>
                </a:moveTo>
                <a:lnTo>
                  <a:pt x="1956587" y="2642730"/>
                </a:lnTo>
                <a:lnTo>
                  <a:pt x="1988820" y="2642730"/>
                </a:lnTo>
                <a:lnTo>
                  <a:pt x="1988820" y="2610498"/>
                </a:lnTo>
                <a:lnTo>
                  <a:pt x="1956587" y="2610498"/>
                </a:lnTo>
                <a:lnTo>
                  <a:pt x="1956587" y="2578265"/>
                </a:lnTo>
                <a:lnTo>
                  <a:pt x="1924355" y="2578265"/>
                </a:lnTo>
                <a:lnTo>
                  <a:pt x="1924355" y="2610498"/>
                </a:lnTo>
                <a:lnTo>
                  <a:pt x="1892122" y="2610498"/>
                </a:lnTo>
                <a:lnTo>
                  <a:pt x="1892122" y="2642730"/>
                </a:lnTo>
                <a:lnTo>
                  <a:pt x="1924355" y="2642730"/>
                </a:lnTo>
                <a:lnTo>
                  <a:pt x="1924355" y="2674963"/>
                </a:lnTo>
                <a:lnTo>
                  <a:pt x="1956587" y="2674963"/>
                </a:lnTo>
                <a:close/>
                <a:moveTo>
                  <a:pt x="2130095" y="1069505"/>
                </a:moveTo>
                <a:lnTo>
                  <a:pt x="2130095" y="1101738"/>
                </a:lnTo>
                <a:lnTo>
                  <a:pt x="2097862" y="1101738"/>
                </a:lnTo>
                <a:lnTo>
                  <a:pt x="2097862" y="1133970"/>
                </a:lnTo>
                <a:lnTo>
                  <a:pt x="2130095" y="1133970"/>
                </a:lnTo>
                <a:lnTo>
                  <a:pt x="2130095" y="1166203"/>
                </a:lnTo>
                <a:lnTo>
                  <a:pt x="2162327" y="1166203"/>
                </a:lnTo>
                <a:lnTo>
                  <a:pt x="2162327" y="1133970"/>
                </a:lnTo>
                <a:lnTo>
                  <a:pt x="2194560" y="1133970"/>
                </a:lnTo>
                <a:lnTo>
                  <a:pt x="2194560" y="1101738"/>
                </a:lnTo>
                <a:lnTo>
                  <a:pt x="2162327" y="1101738"/>
                </a:lnTo>
                <a:lnTo>
                  <a:pt x="2162327" y="1069505"/>
                </a:lnTo>
                <a:lnTo>
                  <a:pt x="2130095" y="1069505"/>
                </a:lnTo>
                <a:close/>
                <a:moveTo>
                  <a:pt x="1444295" y="1069505"/>
                </a:moveTo>
                <a:lnTo>
                  <a:pt x="1444295" y="1101738"/>
                </a:lnTo>
                <a:lnTo>
                  <a:pt x="1412062" y="1101738"/>
                </a:lnTo>
                <a:lnTo>
                  <a:pt x="1412062" y="1133970"/>
                </a:lnTo>
                <a:lnTo>
                  <a:pt x="1444295" y="1133970"/>
                </a:lnTo>
                <a:lnTo>
                  <a:pt x="1444295" y="1166203"/>
                </a:lnTo>
                <a:lnTo>
                  <a:pt x="1476527" y="1166203"/>
                </a:lnTo>
                <a:lnTo>
                  <a:pt x="1476527" y="1133970"/>
                </a:lnTo>
                <a:lnTo>
                  <a:pt x="1508760" y="1133970"/>
                </a:lnTo>
                <a:lnTo>
                  <a:pt x="1508760" y="1101738"/>
                </a:lnTo>
                <a:lnTo>
                  <a:pt x="1476527" y="1101738"/>
                </a:lnTo>
                <a:lnTo>
                  <a:pt x="1476527" y="1069505"/>
                </a:lnTo>
                <a:lnTo>
                  <a:pt x="1444295" y="1069505"/>
                </a:lnTo>
                <a:close/>
                <a:moveTo>
                  <a:pt x="1718615" y="1069505"/>
                </a:moveTo>
                <a:lnTo>
                  <a:pt x="1718615" y="1101738"/>
                </a:lnTo>
                <a:lnTo>
                  <a:pt x="1686382" y="1101738"/>
                </a:lnTo>
                <a:lnTo>
                  <a:pt x="1686382" y="1133970"/>
                </a:lnTo>
                <a:lnTo>
                  <a:pt x="1718615" y="1133970"/>
                </a:lnTo>
                <a:lnTo>
                  <a:pt x="1718615" y="1166203"/>
                </a:lnTo>
                <a:lnTo>
                  <a:pt x="1750847" y="1166203"/>
                </a:lnTo>
                <a:lnTo>
                  <a:pt x="1750847" y="1133970"/>
                </a:lnTo>
                <a:lnTo>
                  <a:pt x="1783080" y="1133970"/>
                </a:lnTo>
                <a:lnTo>
                  <a:pt x="1783080" y="1101738"/>
                </a:lnTo>
                <a:lnTo>
                  <a:pt x="1750847" y="1101738"/>
                </a:lnTo>
                <a:lnTo>
                  <a:pt x="1750847" y="1069505"/>
                </a:lnTo>
                <a:lnTo>
                  <a:pt x="1718615" y="1069505"/>
                </a:lnTo>
                <a:close/>
                <a:moveTo>
                  <a:pt x="1787195" y="1206665"/>
                </a:moveTo>
                <a:lnTo>
                  <a:pt x="1787195" y="1238898"/>
                </a:lnTo>
                <a:lnTo>
                  <a:pt x="1754962" y="1238898"/>
                </a:lnTo>
                <a:lnTo>
                  <a:pt x="1754962" y="1271130"/>
                </a:lnTo>
                <a:lnTo>
                  <a:pt x="1787195" y="1271130"/>
                </a:lnTo>
                <a:lnTo>
                  <a:pt x="1787195" y="1303363"/>
                </a:lnTo>
                <a:lnTo>
                  <a:pt x="1819427" y="1303363"/>
                </a:lnTo>
                <a:lnTo>
                  <a:pt x="1819427" y="1271130"/>
                </a:lnTo>
                <a:lnTo>
                  <a:pt x="1851660" y="1271130"/>
                </a:lnTo>
                <a:lnTo>
                  <a:pt x="1851660" y="1238898"/>
                </a:lnTo>
                <a:lnTo>
                  <a:pt x="1819427" y="1238898"/>
                </a:lnTo>
                <a:lnTo>
                  <a:pt x="1819427" y="1206665"/>
                </a:lnTo>
                <a:lnTo>
                  <a:pt x="1787195" y="1206665"/>
                </a:lnTo>
                <a:close/>
                <a:moveTo>
                  <a:pt x="1512875" y="1206665"/>
                </a:moveTo>
                <a:lnTo>
                  <a:pt x="1512875" y="1238898"/>
                </a:lnTo>
                <a:lnTo>
                  <a:pt x="1480642" y="1238898"/>
                </a:lnTo>
                <a:lnTo>
                  <a:pt x="1480642" y="1271130"/>
                </a:lnTo>
                <a:lnTo>
                  <a:pt x="1512875" y="1271130"/>
                </a:lnTo>
                <a:lnTo>
                  <a:pt x="1512875" y="1303363"/>
                </a:lnTo>
                <a:lnTo>
                  <a:pt x="1545107" y="1303363"/>
                </a:lnTo>
                <a:lnTo>
                  <a:pt x="1545107" y="1271130"/>
                </a:lnTo>
                <a:lnTo>
                  <a:pt x="1577340" y="1271130"/>
                </a:lnTo>
                <a:lnTo>
                  <a:pt x="1577340" y="1238898"/>
                </a:lnTo>
                <a:lnTo>
                  <a:pt x="1545107" y="1238898"/>
                </a:lnTo>
                <a:lnTo>
                  <a:pt x="1545107" y="1206665"/>
                </a:lnTo>
                <a:lnTo>
                  <a:pt x="1512875" y="1206665"/>
                </a:lnTo>
                <a:close/>
                <a:moveTo>
                  <a:pt x="1650035" y="1206665"/>
                </a:moveTo>
                <a:lnTo>
                  <a:pt x="1650035" y="1238898"/>
                </a:lnTo>
                <a:lnTo>
                  <a:pt x="1617802" y="1238898"/>
                </a:lnTo>
                <a:lnTo>
                  <a:pt x="1617802" y="1271130"/>
                </a:lnTo>
                <a:lnTo>
                  <a:pt x="1650035" y="1271130"/>
                </a:lnTo>
                <a:lnTo>
                  <a:pt x="1650035" y="1303363"/>
                </a:lnTo>
                <a:lnTo>
                  <a:pt x="1682267" y="1303363"/>
                </a:lnTo>
                <a:lnTo>
                  <a:pt x="1682267" y="1271130"/>
                </a:lnTo>
                <a:lnTo>
                  <a:pt x="1714500" y="1271130"/>
                </a:lnTo>
                <a:lnTo>
                  <a:pt x="1714500" y="1238898"/>
                </a:lnTo>
                <a:lnTo>
                  <a:pt x="1682267" y="1238898"/>
                </a:lnTo>
                <a:lnTo>
                  <a:pt x="1682267" y="1206665"/>
                </a:lnTo>
                <a:lnTo>
                  <a:pt x="1650035" y="1206665"/>
                </a:lnTo>
                <a:close/>
                <a:moveTo>
                  <a:pt x="2061515" y="1206665"/>
                </a:moveTo>
                <a:lnTo>
                  <a:pt x="2061515" y="1238898"/>
                </a:lnTo>
                <a:lnTo>
                  <a:pt x="2029282" y="1238898"/>
                </a:lnTo>
                <a:lnTo>
                  <a:pt x="2029282" y="1271130"/>
                </a:lnTo>
                <a:lnTo>
                  <a:pt x="2061515" y="1271130"/>
                </a:lnTo>
                <a:lnTo>
                  <a:pt x="2061515" y="1303363"/>
                </a:lnTo>
                <a:lnTo>
                  <a:pt x="2093747" y="1303363"/>
                </a:lnTo>
                <a:lnTo>
                  <a:pt x="2093747" y="1271130"/>
                </a:lnTo>
                <a:lnTo>
                  <a:pt x="2125980" y="1271130"/>
                </a:lnTo>
                <a:lnTo>
                  <a:pt x="2125980" y="1238898"/>
                </a:lnTo>
                <a:lnTo>
                  <a:pt x="2093747" y="1238898"/>
                </a:lnTo>
                <a:lnTo>
                  <a:pt x="2093747" y="1206665"/>
                </a:lnTo>
                <a:lnTo>
                  <a:pt x="2061515" y="1206665"/>
                </a:lnTo>
                <a:close/>
                <a:moveTo>
                  <a:pt x="1855775" y="1069505"/>
                </a:moveTo>
                <a:lnTo>
                  <a:pt x="1855775" y="1101738"/>
                </a:lnTo>
                <a:lnTo>
                  <a:pt x="1823542" y="1101738"/>
                </a:lnTo>
                <a:lnTo>
                  <a:pt x="1823542" y="1133970"/>
                </a:lnTo>
                <a:lnTo>
                  <a:pt x="1855775" y="1133970"/>
                </a:lnTo>
                <a:lnTo>
                  <a:pt x="1855775" y="1166203"/>
                </a:lnTo>
                <a:lnTo>
                  <a:pt x="1888007" y="1166203"/>
                </a:lnTo>
                <a:lnTo>
                  <a:pt x="1888007" y="1133970"/>
                </a:lnTo>
                <a:lnTo>
                  <a:pt x="1920240" y="1133970"/>
                </a:lnTo>
                <a:lnTo>
                  <a:pt x="1920240" y="1101738"/>
                </a:lnTo>
                <a:lnTo>
                  <a:pt x="1888007" y="1101738"/>
                </a:lnTo>
                <a:lnTo>
                  <a:pt x="1888007" y="1069505"/>
                </a:lnTo>
                <a:lnTo>
                  <a:pt x="1855775" y="1069505"/>
                </a:lnTo>
                <a:close/>
                <a:moveTo>
                  <a:pt x="1992935" y="1069505"/>
                </a:moveTo>
                <a:lnTo>
                  <a:pt x="1992935" y="1101738"/>
                </a:lnTo>
                <a:lnTo>
                  <a:pt x="1960702" y="1101738"/>
                </a:lnTo>
                <a:lnTo>
                  <a:pt x="1960702" y="1133970"/>
                </a:lnTo>
                <a:lnTo>
                  <a:pt x="1992935" y="1133970"/>
                </a:lnTo>
                <a:lnTo>
                  <a:pt x="1992935" y="1166203"/>
                </a:lnTo>
                <a:lnTo>
                  <a:pt x="2025167" y="1166203"/>
                </a:lnTo>
                <a:lnTo>
                  <a:pt x="2025167" y="1133970"/>
                </a:lnTo>
                <a:lnTo>
                  <a:pt x="2057400" y="1133970"/>
                </a:lnTo>
                <a:lnTo>
                  <a:pt x="2057400" y="1101738"/>
                </a:lnTo>
                <a:lnTo>
                  <a:pt x="2025167" y="1101738"/>
                </a:lnTo>
                <a:lnTo>
                  <a:pt x="2025167" y="1069505"/>
                </a:lnTo>
                <a:lnTo>
                  <a:pt x="1992935" y="1069505"/>
                </a:lnTo>
                <a:close/>
                <a:moveTo>
                  <a:pt x="1924355" y="1206665"/>
                </a:moveTo>
                <a:lnTo>
                  <a:pt x="1924355" y="1238898"/>
                </a:lnTo>
                <a:lnTo>
                  <a:pt x="1892122" y="1238898"/>
                </a:lnTo>
                <a:lnTo>
                  <a:pt x="1892122" y="1271130"/>
                </a:lnTo>
                <a:lnTo>
                  <a:pt x="1924355" y="1271130"/>
                </a:lnTo>
                <a:lnTo>
                  <a:pt x="1924355" y="1303363"/>
                </a:lnTo>
                <a:lnTo>
                  <a:pt x="1956587" y="1303363"/>
                </a:lnTo>
                <a:lnTo>
                  <a:pt x="1956587" y="1271130"/>
                </a:lnTo>
                <a:lnTo>
                  <a:pt x="1988820" y="1271130"/>
                </a:lnTo>
                <a:lnTo>
                  <a:pt x="1988820" y="1238898"/>
                </a:lnTo>
                <a:lnTo>
                  <a:pt x="1956587" y="1238898"/>
                </a:lnTo>
                <a:lnTo>
                  <a:pt x="1956587" y="1206665"/>
                </a:lnTo>
                <a:lnTo>
                  <a:pt x="1924355" y="1206665"/>
                </a:lnTo>
                <a:close/>
                <a:moveTo>
                  <a:pt x="1169975" y="1343825"/>
                </a:moveTo>
                <a:lnTo>
                  <a:pt x="1169975" y="1376058"/>
                </a:lnTo>
                <a:lnTo>
                  <a:pt x="1137742" y="1376058"/>
                </a:lnTo>
                <a:lnTo>
                  <a:pt x="1137742" y="1408290"/>
                </a:lnTo>
                <a:lnTo>
                  <a:pt x="1169975" y="1408290"/>
                </a:lnTo>
                <a:lnTo>
                  <a:pt x="1169975" y="1440523"/>
                </a:lnTo>
                <a:lnTo>
                  <a:pt x="1202207" y="1440523"/>
                </a:lnTo>
                <a:lnTo>
                  <a:pt x="1202207" y="1408290"/>
                </a:lnTo>
                <a:lnTo>
                  <a:pt x="1234440" y="1408290"/>
                </a:lnTo>
                <a:lnTo>
                  <a:pt x="1234440" y="1376058"/>
                </a:lnTo>
                <a:lnTo>
                  <a:pt x="1202207" y="1376058"/>
                </a:lnTo>
                <a:lnTo>
                  <a:pt x="1202207" y="1343825"/>
                </a:lnTo>
                <a:lnTo>
                  <a:pt x="1169975" y="1343825"/>
                </a:lnTo>
                <a:close/>
                <a:moveTo>
                  <a:pt x="964578" y="1482357"/>
                </a:moveTo>
                <a:lnTo>
                  <a:pt x="964578" y="1513561"/>
                </a:lnTo>
                <a:lnTo>
                  <a:pt x="933374" y="1513561"/>
                </a:lnTo>
                <a:lnTo>
                  <a:pt x="933374" y="1545107"/>
                </a:lnTo>
                <a:lnTo>
                  <a:pt x="964578" y="1545107"/>
                </a:lnTo>
                <a:lnTo>
                  <a:pt x="964578" y="1576311"/>
                </a:lnTo>
                <a:lnTo>
                  <a:pt x="996124" y="1576311"/>
                </a:lnTo>
                <a:lnTo>
                  <a:pt x="996124" y="1545107"/>
                </a:lnTo>
                <a:lnTo>
                  <a:pt x="1027328" y="1545107"/>
                </a:lnTo>
                <a:lnTo>
                  <a:pt x="1027328" y="1513561"/>
                </a:lnTo>
                <a:lnTo>
                  <a:pt x="996124" y="1513561"/>
                </a:lnTo>
                <a:lnTo>
                  <a:pt x="996124" y="1482357"/>
                </a:lnTo>
                <a:lnTo>
                  <a:pt x="964578" y="1482357"/>
                </a:lnTo>
                <a:close/>
                <a:moveTo>
                  <a:pt x="896341" y="1619860"/>
                </a:moveTo>
                <a:lnTo>
                  <a:pt x="896341" y="1651064"/>
                </a:lnTo>
                <a:lnTo>
                  <a:pt x="865137" y="1651064"/>
                </a:lnTo>
                <a:lnTo>
                  <a:pt x="865137" y="1681925"/>
                </a:lnTo>
                <a:lnTo>
                  <a:pt x="896341" y="1681925"/>
                </a:lnTo>
                <a:lnTo>
                  <a:pt x="896341" y="1713128"/>
                </a:lnTo>
                <a:lnTo>
                  <a:pt x="927202" y="1713128"/>
                </a:lnTo>
                <a:lnTo>
                  <a:pt x="927202" y="1681925"/>
                </a:lnTo>
                <a:lnTo>
                  <a:pt x="958405" y="1681925"/>
                </a:lnTo>
                <a:lnTo>
                  <a:pt x="958405" y="1651064"/>
                </a:lnTo>
                <a:lnTo>
                  <a:pt x="927202" y="1651064"/>
                </a:lnTo>
                <a:lnTo>
                  <a:pt x="927202" y="1619860"/>
                </a:lnTo>
                <a:lnTo>
                  <a:pt x="896341" y="1619860"/>
                </a:lnTo>
                <a:close/>
                <a:moveTo>
                  <a:pt x="1033158" y="1345197"/>
                </a:moveTo>
                <a:lnTo>
                  <a:pt x="1033158" y="1376401"/>
                </a:lnTo>
                <a:lnTo>
                  <a:pt x="1001954" y="1376401"/>
                </a:lnTo>
                <a:lnTo>
                  <a:pt x="1001954" y="1407947"/>
                </a:lnTo>
                <a:lnTo>
                  <a:pt x="1033158" y="1407947"/>
                </a:lnTo>
                <a:lnTo>
                  <a:pt x="1033158" y="1439151"/>
                </a:lnTo>
                <a:lnTo>
                  <a:pt x="1064704" y="1439151"/>
                </a:lnTo>
                <a:lnTo>
                  <a:pt x="1064704" y="1407947"/>
                </a:lnTo>
                <a:lnTo>
                  <a:pt x="1095908" y="1407947"/>
                </a:lnTo>
                <a:lnTo>
                  <a:pt x="1095908" y="1376401"/>
                </a:lnTo>
                <a:lnTo>
                  <a:pt x="1064704" y="1376401"/>
                </a:lnTo>
                <a:lnTo>
                  <a:pt x="1064704" y="1345197"/>
                </a:lnTo>
                <a:lnTo>
                  <a:pt x="1033158" y="1345197"/>
                </a:lnTo>
                <a:close/>
                <a:moveTo>
                  <a:pt x="1375715" y="1206665"/>
                </a:moveTo>
                <a:lnTo>
                  <a:pt x="1375715" y="1238898"/>
                </a:lnTo>
                <a:lnTo>
                  <a:pt x="1343482" y="1238898"/>
                </a:lnTo>
                <a:lnTo>
                  <a:pt x="1343482" y="1271130"/>
                </a:lnTo>
                <a:lnTo>
                  <a:pt x="1375715" y="1271130"/>
                </a:lnTo>
                <a:lnTo>
                  <a:pt x="1375715" y="1303363"/>
                </a:lnTo>
                <a:lnTo>
                  <a:pt x="1407947" y="1303363"/>
                </a:lnTo>
                <a:lnTo>
                  <a:pt x="1407947" y="1271130"/>
                </a:lnTo>
                <a:lnTo>
                  <a:pt x="1440180" y="1271130"/>
                </a:lnTo>
                <a:lnTo>
                  <a:pt x="1440180" y="1238898"/>
                </a:lnTo>
                <a:lnTo>
                  <a:pt x="1407947" y="1238898"/>
                </a:lnTo>
                <a:lnTo>
                  <a:pt x="1407947" y="1206665"/>
                </a:lnTo>
                <a:lnTo>
                  <a:pt x="1375715" y="1206665"/>
                </a:lnTo>
                <a:close/>
                <a:moveTo>
                  <a:pt x="828446" y="1485100"/>
                </a:moveTo>
                <a:lnTo>
                  <a:pt x="828446" y="1514589"/>
                </a:lnTo>
                <a:lnTo>
                  <a:pt x="798957" y="1514589"/>
                </a:lnTo>
                <a:lnTo>
                  <a:pt x="798957" y="1544079"/>
                </a:lnTo>
                <a:lnTo>
                  <a:pt x="828446" y="1544079"/>
                </a:lnTo>
                <a:lnTo>
                  <a:pt x="828446" y="1573568"/>
                </a:lnTo>
                <a:lnTo>
                  <a:pt x="857936" y="1573568"/>
                </a:lnTo>
                <a:lnTo>
                  <a:pt x="857936" y="1544079"/>
                </a:lnTo>
                <a:lnTo>
                  <a:pt x="887425" y="1544079"/>
                </a:lnTo>
                <a:lnTo>
                  <a:pt x="887425" y="1514589"/>
                </a:lnTo>
                <a:lnTo>
                  <a:pt x="857936" y="1514589"/>
                </a:lnTo>
                <a:lnTo>
                  <a:pt x="857936" y="1485100"/>
                </a:lnTo>
                <a:lnTo>
                  <a:pt x="828446" y="1485100"/>
                </a:lnTo>
                <a:close/>
                <a:moveTo>
                  <a:pt x="1238555" y="1206665"/>
                </a:moveTo>
                <a:lnTo>
                  <a:pt x="1238555" y="1238898"/>
                </a:lnTo>
                <a:lnTo>
                  <a:pt x="1206322" y="1238898"/>
                </a:lnTo>
                <a:lnTo>
                  <a:pt x="1206322" y="1271130"/>
                </a:lnTo>
                <a:lnTo>
                  <a:pt x="1238555" y="1271130"/>
                </a:lnTo>
                <a:lnTo>
                  <a:pt x="1238555" y="1303363"/>
                </a:lnTo>
                <a:lnTo>
                  <a:pt x="1270787" y="1303363"/>
                </a:lnTo>
                <a:lnTo>
                  <a:pt x="1270787" y="1271130"/>
                </a:lnTo>
                <a:lnTo>
                  <a:pt x="1303020" y="1271130"/>
                </a:lnTo>
                <a:lnTo>
                  <a:pt x="1303020" y="1238898"/>
                </a:lnTo>
                <a:lnTo>
                  <a:pt x="1270787" y="1238898"/>
                </a:lnTo>
                <a:lnTo>
                  <a:pt x="1270787" y="1206665"/>
                </a:lnTo>
                <a:lnTo>
                  <a:pt x="1238555" y="1206665"/>
                </a:lnTo>
                <a:close/>
                <a:moveTo>
                  <a:pt x="1307135" y="1343825"/>
                </a:moveTo>
                <a:lnTo>
                  <a:pt x="1307135" y="1376058"/>
                </a:lnTo>
                <a:lnTo>
                  <a:pt x="1274902" y="1376058"/>
                </a:lnTo>
                <a:lnTo>
                  <a:pt x="1274902" y="1408290"/>
                </a:lnTo>
                <a:lnTo>
                  <a:pt x="1307135" y="1408290"/>
                </a:lnTo>
                <a:lnTo>
                  <a:pt x="1307135" y="1440523"/>
                </a:lnTo>
                <a:lnTo>
                  <a:pt x="1339367" y="1440523"/>
                </a:lnTo>
                <a:lnTo>
                  <a:pt x="1339367" y="1408290"/>
                </a:lnTo>
                <a:lnTo>
                  <a:pt x="1371600" y="1408290"/>
                </a:lnTo>
                <a:lnTo>
                  <a:pt x="1371600" y="1376058"/>
                </a:lnTo>
                <a:lnTo>
                  <a:pt x="1339367" y="1376058"/>
                </a:lnTo>
                <a:lnTo>
                  <a:pt x="1339367" y="1343825"/>
                </a:lnTo>
                <a:lnTo>
                  <a:pt x="1307135" y="1343825"/>
                </a:lnTo>
                <a:close/>
                <a:moveTo>
                  <a:pt x="1101395" y="1480985"/>
                </a:moveTo>
                <a:lnTo>
                  <a:pt x="1101395" y="1513218"/>
                </a:lnTo>
                <a:lnTo>
                  <a:pt x="1069162" y="1513218"/>
                </a:lnTo>
                <a:lnTo>
                  <a:pt x="1069162" y="1545450"/>
                </a:lnTo>
                <a:lnTo>
                  <a:pt x="1101395" y="1545450"/>
                </a:lnTo>
                <a:lnTo>
                  <a:pt x="1101395" y="1577683"/>
                </a:lnTo>
                <a:lnTo>
                  <a:pt x="1133627" y="1577683"/>
                </a:lnTo>
                <a:lnTo>
                  <a:pt x="1133627" y="1545450"/>
                </a:lnTo>
                <a:lnTo>
                  <a:pt x="1165860" y="1545450"/>
                </a:lnTo>
                <a:lnTo>
                  <a:pt x="1165860" y="1513218"/>
                </a:lnTo>
                <a:lnTo>
                  <a:pt x="1133627" y="1513218"/>
                </a:lnTo>
                <a:lnTo>
                  <a:pt x="1133627" y="1480985"/>
                </a:lnTo>
                <a:lnTo>
                  <a:pt x="1101395" y="1480985"/>
                </a:lnTo>
                <a:close/>
                <a:moveTo>
                  <a:pt x="759866" y="1622603"/>
                </a:moveTo>
                <a:lnTo>
                  <a:pt x="759866" y="1651749"/>
                </a:lnTo>
                <a:lnTo>
                  <a:pt x="730720" y="1651749"/>
                </a:lnTo>
                <a:lnTo>
                  <a:pt x="730720" y="1681239"/>
                </a:lnTo>
                <a:lnTo>
                  <a:pt x="759866" y="1681239"/>
                </a:lnTo>
                <a:lnTo>
                  <a:pt x="759866" y="1710385"/>
                </a:lnTo>
                <a:lnTo>
                  <a:pt x="789356" y="1710385"/>
                </a:lnTo>
                <a:lnTo>
                  <a:pt x="789356" y="1681239"/>
                </a:lnTo>
                <a:lnTo>
                  <a:pt x="818502" y="1681239"/>
                </a:lnTo>
                <a:lnTo>
                  <a:pt x="818502" y="1651749"/>
                </a:lnTo>
                <a:lnTo>
                  <a:pt x="789356" y="1651749"/>
                </a:lnTo>
                <a:lnTo>
                  <a:pt x="789356" y="1622603"/>
                </a:lnTo>
                <a:lnTo>
                  <a:pt x="759866" y="1622603"/>
                </a:lnTo>
                <a:close/>
                <a:moveTo>
                  <a:pt x="1545107" y="2674963"/>
                </a:moveTo>
                <a:lnTo>
                  <a:pt x="1545107" y="2642730"/>
                </a:lnTo>
                <a:lnTo>
                  <a:pt x="1577340" y="2642730"/>
                </a:lnTo>
                <a:lnTo>
                  <a:pt x="1577340" y="2610498"/>
                </a:lnTo>
                <a:lnTo>
                  <a:pt x="1545107" y="2610498"/>
                </a:lnTo>
                <a:lnTo>
                  <a:pt x="1545107" y="2578265"/>
                </a:lnTo>
                <a:lnTo>
                  <a:pt x="1512875" y="2578265"/>
                </a:lnTo>
                <a:lnTo>
                  <a:pt x="1512875" y="2610498"/>
                </a:lnTo>
                <a:lnTo>
                  <a:pt x="1480642" y="2610498"/>
                </a:lnTo>
                <a:lnTo>
                  <a:pt x="1480642" y="2642730"/>
                </a:lnTo>
                <a:lnTo>
                  <a:pt x="1512875" y="2642730"/>
                </a:lnTo>
                <a:lnTo>
                  <a:pt x="1512875" y="2674963"/>
                </a:lnTo>
                <a:lnTo>
                  <a:pt x="1545107" y="2674963"/>
                </a:lnTo>
                <a:close/>
                <a:moveTo>
                  <a:pt x="2679764" y="1072248"/>
                </a:moveTo>
                <a:lnTo>
                  <a:pt x="2679764" y="1102766"/>
                </a:lnTo>
                <a:lnTo>
                  <a:pt x="2649245" y="1102766"/>
                </a:lnTo>
                <a:lnTo>
                  <a:pt x="2649245" y="1132942"/>
                </a:lnTo>
                <a:lnTo>
                  <a:pt x="2679764" y="1132942"/>
                </a:lnTo>
                <a:lnTo>
                  <a:pt x="2679764" y="1163460"/>
                </a:lnTo>
                <a:lnTo>
                  <a:pt x="2709939" y="1163460"/>
                </a:lnTo>
                <a:lnTo>
                  <a:pt x="2709939" y="1132942"/>
                </a:lnTo>
                <a:lnTo>
                  <a:pt x="2740457" y="1132942"/>
                </a:lnTo>
                <a:lnTo>
                  <a:pt x="2740457" y="1102766"/>
                </a:lnTo>
                <a:lnTo>
                  <a:pt x="2709939" y="1102766"/>
                </a:lnTo>
                <a:lnTo>
                  <a:pt x="2709939" y="1072248"/>
                </a:lnTo>
                <a:lnTo>
                  <a:pt x="2679764" y="1072248"/>
                </a:lnTo>
                <a:close/>
                <a:moveTo>
                  <a:pt x="2748001" y="1208380"/>
                </a:moveTo>
                <a:lnTo>
                  <a:pt x="2748001" y="1239584"/>
                </a:lnTo>
                <a:lnTo>
                  <a:pt x="2716797" y="1239584"/>
                </a:lnTo>
                <a:lnTo>
                  <a:pt x="2716797" y="1270445"/>
                </a:lnTo>
                <a:lnTo>
                  <a:pt x="2748001" y="1270445"/>
                </a:lnTo>
                <a:lnTo>
                  <a:pt x="2748001" y="1301648"/>
                </a:lnTo>
                <a:lnTo>
                  <a:pt x="2778862" y="1301648"/>
                </a:lnTo>
                <a:lnTo>
                  <a:pt x="2778862" y="1270445"/>
                </a:lnTo>
                <a:lnTo>
                  <a:pt x="2810066" y="1270445"/>
                </a:lnTo>
                <a:lnTo>
                  <a:pt x="2810066" y="1239584"/>
                </a:lnTo>
                <a:lnTo>
                  <a:pt x="2778862" y="1239584"/>
                </a:lnTo>
                <a:lnTo>
                  <a:pt x="2778862" y="1208380"/>
                </a:lnTo>
                <a:lnTo>
                  <a:pt x="2748001" y="1208380"/>
                </a:lnTo>
                <a:close/>
                <a:moveTo>
                  <a:pt x="2611526" y="936803"/>
                </a:moveTo>
                <a:lnTo>
                  <a:pt x="2611526" y="965949"/>
                </a:lnTo>
                <a:lnTo>
                  <a:pt x="2582380" y="965949"/>
                </a:lnTo>
                <a:lnTo>
                  <a:pt x="2582380" y="995439"/>
                </a:lnTo>
                <a:lnTo>
                  <a:pt x="2611526" y="995439"/>
                </a:lnTo>
                <a:lnTo>
                  <a:pt x="2611526" y="1024585"/>
                </a:lnTo>
                <a:lnTo>
                  <a:pt x="2641016" y="1024585"/>
                </a:lnTo>
                <a:lnTo>
                  <a:pt x="2641016" y="995439"/>
                </a:lnTo>
                <a:lnTo>
                  <a:pt x="2670163" y="995439"/>
                </a:lnTo>
                <a:lnTo>
                  <a:pt x="2670163" y="965949"/>
                </a:lnTo>
                <a:lnTo>
                  <a:pt x="2641016" y="965949"/>
                </a:lnTo>
                <a:lnTo>
                  <a:pt x="2641016" y="936803"/>
                </a:lnTo>
                <a:lnTo>
                  <a:pt x="2611526" y="936803"/>
                </a:lnTo>
                <a:close/>
                <a:moveTo>
                  <a:pt x="2473681" y="934745"/>
                </a:moveTo>
                <a:lnTo>
                  <a:pt x="2473681" y="965264"/>
                </a:lnTo>
                <a:lnTo>
                  <a:pt x="2443163" y="965264"/>
                </a:lnTo>
                <a:lnTo>
                  <a:pt x="2443163" y="996125"/>
                </a:lnTo>
                <a:lnTo>
                  <a:pt x="2473681" y="996125"/>
                </a:lnTo>
                <a:lnTo>
                  <a:pt x="2473681" y="1026643"/>
                </a:lnTo>
                <a:lnTo>
                  <a:pt x="2504542" y="1026643"/>
                </a:lnTo>
                <a:lnTo>
                  <a:pt x="2504542" y="996125"/>
                </a:lnTo>
                <a:lnTo>
                  <a:pt x="2535060" y="996125"/>
                </a:lnTo>
                <a:lnTo>
                  <a:pt x="2535060" y="965264"/>
                </a:lnTo>
                <a:lnTo>
                  <a:pt x="2504542" y="965264"/>
                </a:lnTo>
                <a:lnTo>
                  <a:pt x="2504542" y="934745"/>
                </a:lnTo>
                <a:lnTo>
                  <a:pt x="2473681" y="934745"/>
                </a:lnTo>
                <a:close/>
                <a:moveTo>
                  <a:pt x="2404415" y="1069505"/>
                </a:moveTo>
                <a:lnTo>
                  <a:pt x="2404415" y="1101738"/>
                </a:lnTo>
                <a:lnTo>
                  <a:pt x="2372182" y="1101738"/>
                </a:lnTo>
                <a:lnTo>
                  <a:pt x="2372182" y="1133970"/>
                </a:lnTo>
                <a:lnTo>
                  <a:pt x="2404415" y="1133970"/>
                </a:lnTo>
                <a:lnTo>
                  <a:pt x="2404415" y="1166203"/>
                </a:lnTo>
                <a:lnTo>
                  <a:pt x="2436647" y="1166203"/>
                </a:lnTo>
                <a:lnTo>
                  <a:pt x="2436647" y="1133970"/>
                </a:lnTo>
                <a:lnTo>
                  <a:pt x="2468880" y="1133970"/>
                </a:lnTo>
                <a:lnTo>
                  <a:pt x="2468880" y="1101738"/>
                </a:lnTo>
                <a:lnTo>
                  <a:pt x="2436647" y="1101738"/>
                </a:lnTo>
                <a:lnTo>
                  <a:pt x="2436647" y="1069505"/>
                </a:lnTo>
                <a:lnTo>
                  <a:pt x="2404415" y="1069505"/>
                </a:lnTo>
                <a:close/>
                <a:moveTo>
                  <a:pt x="2541918" y="1070534"/>
                </a:moveTo>
                <a:lnTo>
                  <a:pt x="2541918" y="1102081"/>
                </a:lnTo>
                <a:lnTo>
                  <a:pt x="2510371" y="1102081"/>
                </a:lnTo>
                <a:lnTo>
                  <a:pt x="2510371" y="1133627"/>
                </a:lnTo>
                <a:lnTo>
                  <a:pt x="2541918" y="1133627"/>
                </a:lnTo>
                <a:lnTo>
                  <a:pt x="2541918" y="1165174"/>
                </a:lnTo>
                <a:lnTo>
                  <a:pt x="2573465" y="1165174"/>
                </a:lnTo>
                <a:lnTo>
                  <a:pt x="2573465" y="1133627"/>
                </a:lnTo>
                <a:lnTo>
                  <a:pt x="2605012" y="1133627"/>
                </a:lnTo>
                <a:lnTo>
                  <a:pt x="2605012" y="1102081"/>
                </a:lnTo>
                <a:lnTo>
                  <a:pt x="2573465" y="1102081"/>
                </a:lnTo>
                <a:lnTo>
                  <a:pt x="2573465" y="1070534"/>
                </a:lnTo>
                <a:lnTo>
                  <a:pt x="2541918" y="1070534"/>
                </a:lnTo>
                <a:close/>
                <a:moveTo>
                  <a:pt x="2954426" y="1347597"/>
                </a:moveTo>
                <a:lnTo>
                  <a:pt x="2954426" y="1377429"/>
                </a:lnTo>
                <a:lnTo>
                  <a:pt x="2924594" y="1377429"/>
                </a:lnTo>
                <a:lnTo>
                  <a:pt x="2924594" y="1406919"/>
                </a:lnTo>
                <a:lnTo>
                  <a:pt x="2954426" y="1406919"/>
                </a:lnTo>
                <a:lnTo>
                  <a:pt x="2954426" y="1436751"/>
                </a:lnTo>
                <a:lnTo>
                  <a:pt x="2983916" y="1436751"/>
                </a:lnTo>
                <a:lnTo>
                  <a:pt x="2983916" y="1406919"/>
                </a:lnTo>
                <a:lnTo>
                  <a:pt x="3013748" y="1406919"/>
                </a:lnTo>
                <a:lnTo>
                  <a:pt x="3013748" y="1377429"/>
                </a:lnTo>
                <a:lnTo>
                  <a:pt x="2983916" y="1377429"/>
                </a:lnTo>
                <a:lnTo>
                  <a:pt x="2983916" y="1347597"/>
                </a:lnTo>
                <a:lnTo>
                  <a:pt x="2954426" y="1347597"/>
                </a:lnTo>
                <a:close/>
                <a:moveTo>
                  <a:pt x="3023006" y="1485100"/>
                </a:moveTo>
                <a:lnTo>
                  <a:pt x="3023006" y="1514589"/>
                </a:lnTo>
                <a:lnTo>
                  <a:pt x="2993517" y="1514589"/>
                </a:lnTo>
                <a:lnTo>
                  <a:pt x="2993517" y="1544079"/>
                </a:lnTo>
                <a:lnTo>
                  <a:pt x="3023006" y="1544079"/>
                </a:lnTo>
                <a:lnTo>
                  <a:pt x="3023006" y="1573568"/>
                </a:lnTo>
                <a:lnTo>
                  <a:pt x="3052496" y="1573568"/>
                </a:lnTo>
                <a:lnTo>
                  <a:pt x="3052496" y="1544079"/>
                </a:lnTo>
                <a:lnTo>
                  <a:pt x="3081985" y="1544079"/>
                </a:lnTo>
                <a:lnTo>
                  <a:pt x="3081985" y="1514589"/>
                </a:lnTo>
                <a:lnTo>
                  <a:pt x="3052496" y="1514589"/>
                </a:lnTo>
                <a:lnTo>
                  <a:pt x="3052496" y="1485100"/>
                </a:lnTo>
                <a:lnTo>
                  <a:pt x="3023006" y="1485100"/>
                </a:lnTo>
                <a:close/>
                <a:moveTo>
                  <a:pt x="2817610" y="1074649"/>
                </a:moveTo>
                <a:lnTo>
                  <a:pt x="2817610" y="1103452"/>
                </a:lnTo>
                <a:lnTo>
                  <a:pt x="2788806" y="1103452"/>
                </a:lnTo>
                <a:lnTo>
                  <a:pt x="2788806" y="1132256"/>
                </a:lnTo>
                <a:lnTo>
                  <a:pt x="2817610" y="1132256"/>
                </a:lnTo>
                <a:lnTo>
                  <a:pt x="2817610" y="1161059"/>
                </a:lnTo>
                <a:lnTo>
                  <a:pt x="2846413" y="1161059"/>
                </a:lnTo>
                <a:lnTo>
                  <a:pt x="2846413" y="1132256"/>
                </a:lnTo>
                <a:lnTo>
                  <a:pt x="2875217" y="1132256"/>
                </a:lnTo>
                <a:lnTo>
                  <a:pt x="2875217" y="1103452"/>
                </a:lnTo>
                <a:lnTo>
                  <a:pt x="2846413" y="1103452"/>
                </a:lnTo>
                <a:lnTo>
                  <a:pt x="2846413" y="1074649"/>
                </a:lnTo>
                <a:lnTo>
                  <a:pt x="2817610" y="1074649"/>
                </a:lnTo>
                <a:close/>
                <a:moveTo>
                  <a:pt x="2885846" y="1211123"/>
                </a:moveTo>
                <a:lnTo>
                  <a:pt x="2885846" y="1240269"/>
                </a:lnTo>
                <a:lnTo>
                  <a:pt x="2856700" y="1240269"/>
                </a:lnTo>
                <a:lnTo>
                  <a:pt x="2856700" y="1269759"/>
                </a:lnTo>
                <a:lnTo>
                  <a:pt x="2885846" y="1269759"/>
                </a:lnTo>
                <a:lnTo>
                  <a:pt x="2885846" y="1298905"/>
                </a:lnTo>
                <a:lnTo>
                  <a:pt x="2915336" y="1298905"/>
                </a:lnTo>
                <a:lnTo>
                  <a:pt x="2915336" y="1269759"/>
                </a:lnTo>
                <a:lnTo>
                  <a:pt x="2944483" y="1269759"/>
                </a:lnTo>
                <a:lnTo>
                  <a:pt x="2944483" y="1240269"/>
                </a:lnTo>
                <a:lnTo>
                  <a:pt x="2915336" y="1240269"/>
                </a:lnTo>
                <a:lnTo>
                  <a:pt x="2915336" y="1211123"/>
                </a:lnTo>
                <a:lnTo>
                  <a:pt x="2885846" y="1211123"/>
                </a:lnTo>
                <a:close/>
                <a:moveTo>
                  <a:pt x="1856461" y="797585"/>
                </a:moveTo>
                <a:lnTo>
                  <a:pt x="1856461" y="828104"/>
                </a:lnTo>
                <a:lnTo>
                  <a:pt x="1825942" y="828104"/>
                </a:lnTo>
                <a:lnTo>
                  <a:pt x="1825942" y="858965"/>
                </a:lnTo>
                <a:lnTo>
                  <a:pt x="1856461" y="858965"/>
                </a:lnTo>
                <a:lnTo>
                  <a:pt x="1856461" y="889483"/>
                </a:lnTo>
                <a:lnTo>
                  <a:pt x="1887322" y="889483"/>
                </a:lnTo>
                <a:lnTo>
                  <a:pt x="1887322" y="858965"/>
                </a:lnTo>
                <a:lnTo>
                  <a:pt x="1917840" y="858965"/>
                </a:lnTo>
                <a:lnTo>
                  <a:pt x="1917840" y="828104"/>
                </a:lnTo>
                <a:lnTo>
                  <a:pt x="1887322" y="828104"/>
                </a:lnTo>
                <a:lnTo>
                  <a:pt x="1887322" y="797585"/>
                </a:lnTo>
                <a:lnTo>
                  <a:pt x="1856461" y="797585"/>
                </a:lnTo>
                <a:close/>
                <a:moveTo>
                  <a:pt x="1993621" y="797585"/>
                </a:moveTo>
                <a:lnTo>
                  <a:pt x="1993621" y="828104"/>
                </a:lnTo>
                <a:lnTo>
                  <a:pt x="1963102" y="828104"/>
                </a:lnTo>
                <a:lnTo>
                  <a:pt x="1963102" y="858965"/>
                </a:lnTo>
                <a:lnTo>
                  <a:pt x="1993621" y="858965"/>
                </a:lnTo>
                <a:lnTo>
                  <a:pt x="1993621" y="889483"/>
                </a:lnTo>
                <a:lnTo>
                  <a:pt x="2024482" y="889483"/>
                </a:lnTo>
                <a:lnTo>
                  <a:pt x="2024482" y="858965"/>
                </a:lnTo>
                <a:lnTo>
                  <a:pt x="2055000" y="858965"/>
                </a:lnTo>
                <a:lnTo>
                  <a:pt x="2055000" y="828104"/>
                </a:lnTo>
                <a:lnTo>
                  <a:pt x="2024482" y="828104"/>
                </a:lnTo>
                <a:lnTo>
                  <a:pt x="2024482" y="797585"/>
                </a:lnTo>
                <a:lnTo>
                  <a:pt x="1993621" y="797585"/>
                </a:lnTo>
                <a:close/>
                <a:moveTo>
                  <a:pt x="1924355" y="932345"/>
                </a:moveTo>
                <a:lnTo>
                  <a:pt x="1924355" y="964578"/>
                </a:lnTo>
                <a:lnTo>
                  <a:pt x="1892122" y="964578"/>
                </a:lnTo>
                <a:lnTo>
                  <a:pt x="1892122" y="996810"/>
                </a:lnTo>
                <a:lnTo>
                  <a:pt x="1924355" y="996810"/>
                </a:lnTo>
                <a:lnTo>
                  <a:pt x="1924355" y="1029043"/>
                </a:lnTo>
                <a:lnTo>
                  <a:pt x="1956587" y="1029043"/>
                </a:lnTo>
                <a:lnTo>
                  <a:pt x="1956587" y="996810"/>
                </a:lnTo>
                <a:lnTo>
                  <a:pt x="1988820" y="996810"/>
                </a:lnTo>
                <a:lnTo>
                  <a:pt x="1988820" y="964578"/>
                </a:lnTo>
                <a:lnTo>
                  <a:pt x="1956587" y="964578"/>
                </a:lnTo>
                <a:lnTo>
                  <a:pt x="1956587" y="932345"/>
                </a:lnTo>
                <a:lnTo>
                  <a:pt x="1924355" y="932345"/>
                </a:lnTo>
                <a:close/>
                <a:moveTo>
                  <a:pt x="2336178" y="933717"/>
                </a:moveTo>
                <a:lnTo>
                  <a:pt x="2336178" y="964921"/>
                </a:lnTo>
                <a:lnTo>
                  <a:pt x="2304974" y="964921"/>
                </a:lnTo>
                <a:lnTo>
                  <a:pt x="2304974" y="996467"/>
                </a:lnTo>
                <a:lnTo>
                  <a:pt x="2336178" y="996467"/>
                </a:lnTo>
                <a:lnTo>
                  <a:pt x="2336178" y="1027671"/>
                </a:lnTo>
                <a:lnTo>
                  <a:pt x="2367725" y="1027671"/>
                </a:lnTo>
                <a:lnTo>
                  <a:pt x="2367725" y="996467"/>
                </a:lnTo>
                <a:lnTo>
                  <a:pt x="2398928" y="996467"/>
                </a:lnTo>
                <a:lnTo>
                  <a:pt x="2398928" y="964921"/>
                </a:lnTo>
                <a:lnTo>
                  <a:pt x="2367725" y="964921"/>
                </a:lnTo>
                <a:lnTo>
                  <a:pt x="2367725" y="933717"/>
                </a:lnTo>
                <a:lnTo>
                  <a:pt x="2336178" y="933717"/>
                </a:lnTo>
                <a:close/>
                <a:moveTo>
                  <a:pt x="1787195" y="932345"/>
                </a:moveTo>
                <a:lnTo>
                  <a:pt x="1787195" y="964578"/>
                </a:lnTo>
                <a:lnTo>
                  <a:pt x="1754962" y="964578"/>
                </a:lnTo>
                <a:lnTo>
                  <a:pt x="1754962" y="996810"/>
                </a:lnTo>
                <a:lnTo>
                  <a:pt x="1787195" y="996810"/>
                </a:lnTo>
                <a:lnTo>
                  <a:pt x="1787195" y="1029043"/>
                </a:lnTo>
                <a:lnTo>
                  <a:pt x="1819427" y="1029043"/>
                </a:lnTo>
                <a:lnTo>
                  <a:pt x="1819427" y="996810"/>
                </a:lnTo>
                <a:lnTo>
                  <a:pt x="1851660" y="996810"/>
                </a:lnTo>
                <a:lnTo>
                  <a:pt x="1851660" y="964578"/>
                </a:lnTo>
                <a:lnTo>
                  <a:pt x="1819427" y="964578"/>
                </a:lnTo>
                <a:lnTo>
                  <a:pt x="1819427" y="932345"/>
                </a:lnTo>
                <a:lnTo>
                  <a:pt x="1787195" y="932345"/>
                </a:lnTo>
                <a:close/>
                <a:moveTo>
                  <a:pt x="3092615" y="1350683"/>
                </a:moveTo>
                <a:lnTo>
                  <a:pt x="3092615" y="1378458"/>
                </a:lnTo>
                <a:lnTo>
                  <a:pt x="3064840" y="1378458"/>
                </a:lnTo>
                <a:lnTo>
                  <a:pt x="3064840" y="1405890"/>
                </a:lnTo>
                <a:lnTo>
                  <a:pt x="3092615" y="1405890"/>
                </a:lnTo>
                <a:lnTo>
                  <a:pt x="3092615" y="1433665"/>
                </a:lnTo>
                <a:lnTo>
                  <a:pt x="3120047" y="1433665"/>
                </a:lnTo>
                <a:lnTo>
                  <a:pt x="3120047" y="1405890"/>
                </a:lnTo>
                <a:lnTo>
                  <a:pt x="3147822" y="1405890"/>
                </a:lnTo>
                <a:lnTo>
                  <a:pt x="3147822" y="1378458"/>
                </a:lnTo>
                <a:lnTo>
                  <a:pt x="3120047" y="1378458"/>
                </a:lnTo>
                <a:lnTo>
                  <a:pt x="3120047" y="1350683"/>
                </a:lnTo>
                <a:lnTo>
                  <a:pt x="3092615" y="1350683"/>
                </a:lnTo>
                <a:close/>
                <a:moveTo>
                  <a:pt x="2061515" y="932345"/>
                </a:moveTo>
                <a:lnTo>
                  <a:pt x="2061515" y="964578"/>
                </a:lnTo>
                <a:lnTo>
                  <a:pt x="2029282" y="964578"/>
                </a:lnTo>
                <a:lnTo>
                  <a:pt x="2029282" y="996810"/>
                </a:lnTo>
                <a:lnTo>
                  <a:pt x="2061515" y="996810"/>
                </a:lnTo>
                <a:lnTo>
                  <a:pt x="2061515" y="1029043"/>
                </a:lnTo>
                <a:lnTo>
                  <a:pt x="2093747" y="1029043"/>
                </a:lnTo>
                <a:lnTo>
                  <a:pt x="2093747" y="996810"/>
                </a:lnTo>
                <a:lnTo>
                  <a:pt x="2125980" y="996810"/>
                </a:lnTo>
                <a:lnTo>
                  <a:pt x="2125980" y="964578"/>
                </a:lnTo>
                <a:lnTo>
                  <a:pt x="2093747" y="964578"/>
                </a:lnTo>
                <a:lnTo>
                  <a:pt x="2093747" y="932345"/>
                </a:lnTo>
                <a:lnTo>
                  <a:pt x="2061515" y="932345"/>
                </a:lnTo>
                <a:close/>
                <a:moveTo>
                  <a:pt x="2268284" y="798614"/>
                </a:moveTo>
                <a:lnTo>
                  <a:pt x="2268284" y="828446"/>
                </a:lnTo>
                <a:lnTo>
                  <a:pt x="2238451" y="828446"/>
                </a:lnTo>
                <a:lnTo>
                  <a:pt x="2238451" y="858622"/>
                </a:lnTo>
                <a:lnTo>
                  <a:pt x="2268284" y="858622"/>
                </a:lnTo>
                <a:lnTo>
                  <a:pt x="2268284" y="888454"/>
                </a:lnTo>
                <a:lnTo>
                  <a:pt x="2298459" y="888454"/>
                </a:lnTo>
                <a:lnTo>
                  <a:pt x="2298459" y="858622"/>
                </a:lnTo>
                <a:lnTo>
                  <a:pt x="2328291" y="858622"/>
                </a:lnTo>
                <a:lnTo>
                  <a:pt x="2328291" y="828446"/>
                </a:lnTo>
                <a:lnTo>
                  <a:pt x="2298459" y="828446"/>
                </a:lnTo>
                <a:lnTo>
                  <a:pt x="2298459" y="798614"/>
                </a:lnTo>
                <a:lnTo>
                  <a:pt x="2268284" y="798614"/>
                </a:lnTo>
                <a:close/>
                <a:moveTo>
                  <a:pt x="2198675" y="932688"/>
                </a:moveTo>
                <a:lnTo>
                  <a:pt x="2198675" y="964578"/>
                </a:lnTo>
                <a:lnTo>
                  <a:pt x="2166785" y="964578"/>
                </a:lnTo>
                <a:lnTo>
                  <a:pt x="2166785" y="996810"/>
                </a:lnTo>
                <a:lnTo>
                  <a:pt x="2198675" y="996810"/>
                </a:lnTo>
                <a:lnTo>
                  <a:pt x="2198675" y="1028700"/>
                </a:lnTo>
                <a:lnTo>
                  <a:pt x="2230907" y="1028700"/>
                </a:lnTo>
                <a:lnTo>
                  <a:pt x="2230907" y="996810"/>
                </a:lnTo>
                <a:lnTo>
                  <a:pt x="2262797" y="996810"/>
                </a:lnTo>
                <a:lnTo>
                  <a:pt x="2262797" y="964578"/>
                </a:lnTo>
                <a:lnTo>
                  <a:pt x="2230907" y="964578"/>
                </a:lnTo>
                <a:lnTo>
                  <a:pt x="2230907" y="932688"/>
                </a:lnTo>
                <a:lnTo>
                  <a:pt x="2198675" y="932688"/>
                </a:lnTo>
                <a:close/>
                <a:moveTo>
                  <a:pt x="2131124" y="797928"/>
                </a:moveTo>
                <a:lnTo>
                  <a:pt x="2131124" y="828446"/>
                </a:lnTo>
                <a:lnTo>
                  <a:pt x="2100605" y="828446"/>
                </a:lnTo>
                <a:lnTo>
                  <a:pt x="2100605" y="858622"/>
                </a:lnTo>
                <a:lnTo>
                  <a:pt x="2131124" y="858622"/>
                </a:lnTo>
                <a:lnTo>
                  <a:pt x="2131124" y="889140"/>
                </a:lnTo>
                <a:lnTo>
                  <a:pt x="2161299" y="889140"/>
                </a:lnTo>
                <a:lnTo>
                  <a:pt x="2161299" y="858622"/>
                </a:lnTo>
                <a:lnTo>
                  <a:pt x="2191817" y="858622"/>
                </a:lnTo>
                <a:lnTo>
                  <a:pt x="2191817" y="828446"/>
                </a:lnTo>
                <a:lnTo>
                  <a:pt x="2161299" y="828446"/>
                </a:lnTo>
                <a:lnTo>
                  <a:pt x="2161299" y="797928"/>
                </a:lnTo>
                <a:lnTo>
                  <a:pt x="2131124" y="797928"/>
                </a:lnTo>
                <a:close/>
                <a:moveTo>
                  <a:pt x="2847785" y="2536431"/>
                </a:moveTo>
                <a:lnTo>
                  <a:pt x="2847785" y="2505227"/>
                </a:lnTo>
                <a:lnTo>
                  <a:pt x="2878988" y="2505227"/>
                </a:lnTo>
                <a:lnTo>
                  <a:pt x="2878988" y="2473681"/>
                </a:lnTo>
                <a:lnTo>
                  <a:pt x="2847785" y="2473681"/>
                </a:lnTo>
                <a:lnTo>
                  <a:pt x="2847785" y="2442477"/>
                </a:lnTo>
                <a:lnTo>
                  <a:pt x="2816238" y="2442477"/>
                </a:lnTo>
                <a:lnTo>
                  <a:pt x="2816238" y="2473681"/>
                </a:lnTo>
                <a:lnTo>
                  <a:pt x="2785034" y="2473681"/>
                </a:lnTo>
                <a:lnTo>
                  <a:pt x="2785034" y="2505227"/>
                </a:lnTo>
                <a:lnTo>
                  <a:pt x="2816238" y="2505227"/>
                </a:lnTo>
                <a:lnTo>
                  <a:pt x="2816238" y="2536431"/>
                </a:lnTo>
                <a:lnTo>
                  <a:pt x="2847785" y="2536431"/>
                </a:lnTo>
                <a:close/>
                <a:moveTo>
                  <a:pt x="2710967" y="2537803"/>
                </a:moveTo>
                <a:lnTo>
                  <a:pt x="2710967" y="2505570"/>
                </a:lnTo>
                <a:lnTo>
                  <a:pt x="2743200" y="2505570"/>
                </a:lnTo>
                <a:lnTo>
                  <a:pt x="2743200" y="2473338"/>
                </a:lnTo>
                <a:lnTo>
                  <a:pt x="2710967" y="2473338"/>
                </a:lnTo>
                <a:lnTo>
                  <a:pt x="2710967" y="2441105"/>
                </a:lnTo>
                <a:lnTo>
                  <a:pt x="2678735" y="2441105"/>
                </a:lnTo>
                <a:lnTo>
                  <a:pt x="2678735" y="2473338"/>
                </a:lnTo>
                <a:lnTo>
                  <a:pt x="2646502" y="2473338"/>
                </a:lnTo>
                <a:lnTo>
                  <a:pt x="2646502" y="2505570"/>
                </a:lnTo>
                <a:lnTo>
                  <a:pt x="2678735" y="2505570"/>
                </a:lnTo>
                <a:lnTo>
                  <a:pt x="2678735" y="2537803"/>
                </a:lnTo>
                <a:lnTo>
                  <a:pt x="2710967" y="2537803"/>
                </a:lnTo>
                <a:close/>
                <a:moveTo>
                  <a:pt x="2368067" y="2674963"/>
                </a:moveTo>
                <a:lnTo>
                  <a:pt x="2368067" y="2642730"/>
                </a:lnTo>
                <a:lnTo>
                  <a:pt x="2400300" y="2642730"/>
                </a:lnTo>
                <a:lnTo>
                  <a:pt x="2400300" y="2610498"/>
                </a:lnTo>
                <a:lnTo>
                  <a:pt x="2368067" y="2610498"/>
                </a:lnTo>
                <a:lnTo>
                  <a:pt x="2368067" y="2578265"/>
                </a:lnTo>
                <a:lnTo>
                  <a:pt x="2335835" y="2578265"/>
                </a:lnTo>
                <a:lnTo>
                  <a:pt x="2335835" y="2610498"/>
                </a:lnTo>
                <a:lnTo>
                  <a:pt x="2303602" y="2610498"/>
                </a:lnTo>
                <a:lnTo>
                  <a:pt x="2303602" y="2642730"/>
                </a:lnTo>
                <a:lnTo>
                  <a:pt x="2335835" y="2642730"/>
                </a:lnTo>
                <a:lnTo>
                  <a:pt x="2335835" y="2674963"/>
                </a:lnTo>
                <a:lnTo>
                  <a:pt x="2368067" y="2674963"/>
                </a:lnTo>
                <a:close/>
                <a:moveTo>
                  <a:pt x="2505227" y="2674963"/>
                </a:moveTo>
                <a:lnTo>
                  <a:pt x="2505227" y="2642730"/>
                </a:lnTo>
                <a:lnTo>
                  <a:pt x="2537460" y="2642730"/>
                </a:lnTo>
                <a:lnTo>
                  <a:pt x="2537460" y="2610498"/>
                </a:lnTo>
                <a:lnTo>
                  <a:pt x="2505227" y="2610498"/>
                </a:lnTo>
                <a:lnTo>
                  <a:pt x="2505227" y="2578265"/>
                </a:lnTo>
                <a:lnTo>
                  <a:pt x="2472995" y="2578265"/>
                </a:lnTo>
                <a:lnTo>
                  <a:pt x="2472995" y="2610498"/>
                </a:lnTo>
                <a:lnTo>
                  <a:pt x="2440762" y="2610498"/>
                </a:lnTo>
                <a:lnTo>
                  <a:pt x="2440762" y="2642730"/>
                </a:lnTo>
                <a:lnTo>
                  <a:pt x="2472995" y="2642730"/>
                </a:lnTo>
                <a:lnTo>
                  <a:pt x="2472995" y="2674963"/>
                </a:lnTo>
                <a:lnTo>
                  <a:pt x="2505227" y="2674963"/>
                </a:lnTo>
                <a:close/>
                <a:moveTo>
                  <a:pt x="2642387" y="2674963"/>
                </a:moveTo>
                <a:lnTo>
                  <a:pt x="2642387" y="2642730"/>
                </a:lnTo>
                <a:lnTo>
                  <a:pt x="2674620" y="2642730"/>
                </a:lnTo>
                <a:lnTo>
                  <a:pt x="2674620" y="2610498"/>
                </a:lnTo>
                <a:lnTo>
                  <a:pt x="2642387" y="2610498"/>
                </a:lnTo>
                <a:lnTo>
                  <a:pt x="2642387" y="2578265"/>
                </a:lnTo>
                <a:lnTo>
                  <a:pt x="2610155" y="2578265"/>
                </a:lnTo>
                <a:lnTo>
                  <a:pt x="2610155" y="2610498"/>
                </a:lnTo>
                <a:lnTo>
                  <a:pt x="2577922" y="2610498"/>
                </a:lnTo>
                <a:lnTo>
                  <a:pt x="2577922" y="2642730"/>
                </a:lnTo>
                <a:lnTo>
                  <a:pt x="2610155" y="2642730"/>
                </a:lnTo>
                <a:lnTo>
                  <a:pt x="2610155" y="2674963"/>
                </a:lnTo>
                <a:lnTo>
                  <a:pt x="2642387" y="2674963"/>
                </a:lnTo>
                <a:close/>
                <a:moveTo>
                  <a:pt x="2573807" y="2537803"/>
                </a:moveTo>
                <a:lnTo>
                  <a:pt x="2573807" y="2505570"/>
                </a:lnTo>
                <a:lnTo>
                  <a:pt x="2606040" y="2505570"/>
                </a:lnTo>
                <a:lnTo>
                  <a:pt x="2606040" y="2473338"/>
                </a:lnTo>
                <a:lnTo>
                  <a:pt x="2573807" y="2473338"/>
                </a:lnTo>
                <a:lnTo>
                  <a:pt x="2573807" y="2441105"/>
                </a:lnTo>
                <a:lnTo>
                  <a:pt x="2541575" y="2441105"/>
                </a:lnTo>
                <a:lnTo>
                  <a:pt x="2541575" y="2473338"/>
                </a:lnTo>
                <a:lnTo>
                  <a:pt x="2509342" y="2473338"/>
                </a:lnTo>
                <a:lnTo>
                  <a:pt x="2509342" y="2505570"/>
                </a:lnTo>
                <a:lnTo>
                  <a:pt x="2541575" y="2505570"/>
                </a:lnTo>
                <a:lnTo>
                  <a:pt x="2541575" y="2537803"/>
                </a:lnTo>
                <a:lnTo>
                  <a:pt x="2573807" y="2537803"/>
                </a:lnTo>
                <a:close/>
                <a:moveTo>
                  <a:pt x="2436647" y="2812123"/>
                </a:moveTo>
                <a:lnTo>
                  <a:pt x="2436647" y="2779890"/>
                </a:lnTo>
                <a:lnTo>
                  <a:pt x="2468880" y="2779890"/>
                </a:lnTo>
                <a:lnTo>
                  <a:pt x="2468880" y="2747658"/>
                </a:lnTo>
                <a:lnTo>
                  <a:pt x="2436647" y="2747658"/>
                </a:lnTo>
                <a:lnTo>
                  <a:pt x="2436647" y="2715425"/>
                </a:lnTo>
                <a:lnTo>
                  <a:pt x="2404415" y="2715425"/>
                </a:lnTo>
                <a:lnTo>
                  <a:pt x="2404415" y="2747658"/>
                </a:lnTo>
                <a:lnTo>
                  <a:pt x="2372182" y="2747658"/>
                </a:lnTo>
                <a:lnTo>
                  <a:pt x="2372182" y="2779890"/>
                </a:lnTo>
                <a:lnTo>
                  <a:pt x="2404415" y="2779890"/>
                </a:lnTo>
                <a:lnTo>
                  <a:pt x="2404415" y="2812123"/>
                </a:lnTo>
                <a:lnTo>
                  <a:pt x="2436647" y="2812123"/>
                </a:lnTo>
                <a:close/>
                <a:moveTo>
                  <a:pt x="2162327" y="2812123"/>
                </a:moveTo>
                <a:lnTo>
                  <a:pt x="2162327" y="2779890"/>
                </a:lnTo>
                <a:lnTo>
                  <a:pt x="2194560" y="2779890"/>
                </a:lnTo>
                <a:lnTo>
                  <a:pt x="2194560" y="2747658"/>
                </a:lnTo>
                <a:lnTo>
                  <a:pt x="2162327" y="2747658"/>
                </a:lnTo>
                <a:lnTo>
                  <a:pt x="2162327" y="2715425"/>
                </a:lnTo>
                <a:lnTo>
                  <a:pt x="2130095" y="2715425"/>
                </a:lnTo>
                <a:lnTo>
                  <a:pt x="2130095" y="2747658"/>
                </a:lnTo>
                <a:lnTo>
                  <a:pt x="2097862" y="2747658"/>
                </a:lnTo>
                <a:lnTo>
                  <a:pt x="2097862" y="2779890"/>
                </a:lnTo>
                <a:lnTo>
                  <a:pt x="2130095" y="2779890"/>
                </a:lnTo>
                <a:lnTo>
                  <a:pt x="2130095" y="2812123"/>
                </a:lnTo>
                <a:lnTo>
                  <a:pt x="2162327" y="2812123"/>
                </a:lnTo>
                <a:close/>
                <a:moveTo>
                  <a:pt x="3161195" y="1488186"/>
                </a:moveTo>
                <a:lnTo>
                  <a:pt x="3161195" y="1515618"/>
                </a:lnTo>
                <a:lnTo>
                  <a:pt x="3133763" y="1515618"/>
                </a:lnTo>
                <a:lnTo>
                  <a:pt x="3133763" y="1543050"/>
                </a:lnTo>
                <a:lnTo>
                  <a:pt x="3161195" y="1543050"/>
                </a:lnTo>
                <a:lnTo>
                  <a:pt x="3161195" y="1570482"/>
                </a:lnTo>
                <a:lnTo>
                  <a:pt x="3188627" y="1570482"/>
                </a:lnTo>
                <a:lnTo>
                  <a:pt x="3188627" y="1543050"/>
                </a:lnTo>
                <a:lnTo>
                  <a:pt x="3216059" y="1543050"/>
                </a:lnTo>
                <a:lnTo>
                  <a:pt x="3216059" y="1515618"/>
                </a:lnTo>
                <a:lnTo>
                  <a:pt x="3188627" y="1515618"/>
                </a:lnTo>
                <a:lnTo>
                  <a:pt x="3188627" y="1488186"/>
                </a:lnTo>
                <a:lnTo>
                  <a:pt x="3161195" y="1488186"/>
                </a:lnTo>
                <a:close/>
                <a:moveTo>
                  <a:pt x="2093747" y="2674963"/>
                </a:moveTo>
                <a:lnTo>
                  <a:pt x="2093747" y="2642730"/>
                </a:lnTo>
                <a:lnTo>
                  <a:pt x="2125980" y="2642730"/>
                </a:lnTo>
                <a:lnTo>
                  <a:pt x="2125980" y="2610498"/>
                </a:lnTo>
                <a:lnTo>
                  <a:pt x="2093747" y="2610498"/>
                </a:lnTo>
                <a:lnTo>
                  <a:pt x="2093747" y="2578265"/>
                </a:lnTo>
                <a:lnTo>
                  <a:pt x="2061515" y="2578265"/>
                </a:lnTo>
                <a:lnTo>
                  <a:pt x="2061515" y="2610498"/>
                </a:lnTo>
                <a:lnTo>
                  <a:pt x="2029282" y="2610498"/>
                </a:lnTo>
                <a:lnTo>
                  <a:pt x="2029282" y="2642730"/>
                </a:lnTo>
                <a:lnTo>
                  <a:pt x="2061515" y="2642730"/>
                </a:lnTo>
                <a:lnTo>
                  <a:pt x="2061515" y="2674963"/>
                </a:lnTo>
                <a:lnTo>
                  <a:pt x="2093747" y="2674963"/>
                </a:lnTo>
                <a:close/>
                <a:moveTo>
                  <a:pt x="2230907" y="2674963"/>
                </a:moveTo>
                <a:lnTo>
                  <a:pt x="2230907" y="2642730"/>
                </a:lnTo>
                <a:lnTo>
                  <a:pt x="2263140" y="2642730"/>
                </a:lnTo>
                <a:lnTo>
                  <a:pt x="2263140" y="2610498"/>
                </a:lnTo>
                <a:lnTo>
                  <a:pt x="2230907" y="2610498"/>
                </a:lnTo>
                <a:lnTo>
                  <a:pt x="2230907" y="2578265"/>
                </a:lnTo>
                <a:lnTo>
                  <a:pt x="2198675" y="2578265"/>
                </a:lnTo>
                <a:lnTo>
                  <a:pt x="2198675" y="2610498"/>
                </a:lnTo>
                <a:lnTo>
                  <a:pt x="2166442" y="2610498"/>
                </a:lnTo>
                <a:lnTo>
                  <a:pt x="2166442" y="2642730"/>
                </a:lnTo>
                <a:lnTo>
                  <a:pt x="2198675" y="2642730"/>
                </a:lnTo>
                <a:lnTo>
                  <a:pt x="2198675" y="2674963"/>
                </a:lnTo>
                <a:lnTo>
                  <a:pt x="2230907" y="2674963"/>
                </a:lnTo>
                <a:close/>
                <a:moveTo>
                  <a:pt x="2299487" y="2812123"/>
                </a:moveTo>
                <a:lnTo>
                  <a:pt x="2299487" y="2779890"/>
                </a:lnTo>
                <a:lnTo>
                  <a:pt x="2331720" y="2779890"/>
                </a:lnTo>
                <a:lnTo>
                  <a:pt x="2331720" y="2747658"/>
                </a:lnTo>
                <a:lnTo>
                  <a:pt x="2299487" y="2747658"/>
                </a:lnTo>
                <a:lnTo>
                  <a:pt x="2299487" y="2715425"/>
                </a:lnTo>
                <a:lnTo>
                  <a:pt x="2267255" y="2715425"/>
                </a:lnTo>
                <a:lnTo>
                  <a:pt x="2267255" y="2747658"/>
                </a:lnTo>
                <a:lnTo>
                  <a:pt x="2235022" y="2747658"/>
                </a:lnTo>
                <a:lnTo>
                  <a:pt x="2235022" y="2779890"/>
                </a:lnTo>
                <a:lnTo>
                  <a:pt x="2267255" y="2779890"/>
                </a:lnTo>
                <a:lnTo>
                  <a:pt x="2267255" y="2812123"/>
                </a:lnTo>
                <a:lnTo>
                  <a:pt x="2299487" y="2812123"/>
                </a:lnTo>
                <a:close/>
                <a:moveTo>
                  <a:pt x="3189313" y="2120837"/>
                </a:moveTo>
                <a:lnTo>
                  <a:pt x="3189313" y="2092376"/>
                </a:lnTo>
                <a:lnTo>
                  <a:pt x="3217774" y="2092376"/>
                </a:lnTo>
                <a:lnTo>
                  <a:pt x="3217774" y="2063572"/>
                </a:lnTo>
                <a:lnTo>
                  <a:pt x="3189313" y="2063572"/>
                </a:lnTo>
                <a:lnTo>
                  <a:pt x="3189313" y="2035112"/>
                </a:lnTo>
                <a:lnTo>
                  <a:pt x="3160510" y="2035112"/>
                </a:lnTo>
                <a:lnTo>
                  <a:pt x="3160510" y="2063572"/>
                </a:lnTo>
                <a:lnTo>
                  <a:pt x="3132049" y="2063572"/>
                </a:lnTo>
                <a:lnTo>
                  <a:pt x="3132049" y="2092376"/>
                </a:lnTo>
                <a:lnTo>
                  <a:pt x="3160510" y="2092376"/>
                </a:lnTo>
                <a:lnTo>
                  <a:pt x="3160510" y="2120837"/>
                </a:lnTo>
                <a:lnTo>
                  <a:pt x="3189313" y="2120837"/>
                </a:lnTo>
                <a:close/>
                <a:moveTo>
                  <a:pt x="3229775" y="1899666"/>
                </a:moveTo>
                <a:lnTo>
                  <a:pt x="3229775" y="1927098"/>
                </a:lnTo>
                <a:lnTo>
                  <a:pt x="3202343" y="1927098"/>
                </a:lnTo>
                <a:lnTo>
                  <a:pt x="3202343" y="1954530"/>
                </a:lnTo>
                <a:lnTo>
                  <a:pt x="3229775" y="1954530"/>
                </a:lnTo>
                <a:lnTo>
                  <a:pt x="3229775" y="1981962"/>
                </a:lnTo>
                <a:lnTo>
                  <a:pt x="3257207" y="1981962"/>
                </a:lnTo>
                <a:lnTo>
                  <a:pt x="3257207" y="1954530"/>
                </a:lnTo>
                <a:lnTo>
                  <a:pt x="3284639" y="1954530"/>
                </a:lnTo>
                <a:lnTo>
                  <a:pt x="3284639" y="1927098"/>
                </a:lnTo>
                <a:lnTo>
                  <a:pt x="3257207" y="1927098"/>
                </a:lnTo>
                <a:lnTo>
                  <a:pt x="3257207" y="1899666"/>
                </a:lnTo>
                <a:lnTo>
                  <a:pt x="3229775" y="1899666"/>
                </a:lnTo>
                <a:close/>
                <a:moveTo>
                  <a:pt x="3120733" y="2258682"/>
                </a:moveTo>
                <a:lnTo>
                  <a:pt x="3120733" y="2229536"/>
                </a:lnTo>
                <a:lnTo>
                  <a:pt x="3149879" y="2229536"/>
                </a:lnTo>
                <a:lnTo>
                  <a:pt x="3149879" y="2200732"/>
                </a:lnTo>
                <a:lnTo>
                  <a:pt x="3120733" y="2200732"/>
                </a:lnTo>
                <a:lnTo>
                  <a:pt x="3120733" y="2171586"/>
                </a:lnTo>
                <a:lnTo>
                  <a:pt x="3091930" y="2171586"/>
                </a:lnTo>
                <a:lnTo>
                  <a:pt x="3091930" y="2200732"/>
                </a:lnTo>
                <a:lnTo>
                  <a:pt x="3062783" y="2200732"/>
                </a:lnTo>
                <a:lnTo>
                  <a:pt x="3062783" y="2229536"/>
                </a:lnTo>
                <a:lnTo>
                  <a:pt x="3091930" y="2229536"/>
                </a:lnTo>
                <a:lnTo>
                  <a:pt x="3091930" y="2258682"/>
                </a:lnTo>
                <a:lnTo>
                  <a:pt x="3120733" y="2258682"/>
                </a:lnTo>
                <a:close/>
                <a:moveTo>
                  <a:pt x="3230118" y="1626375"/>
                </a:moveTo>
                <a:lnTo>
                  <a:pt x="3230118" y="1653121"/>
                </a:lnTo>
                <a:lnTo>
                  <a:pt x="3203372" y="1653121"/>
                </a:lnTo>
                <a:lnTo>
                  <a:pt x="3203372" y="1679867"/>
                </a:lnTo>
                <a:lnTo>
                  <a:pt x="3230118" y="1679867"/>
                </a:lnTo>
                <a:lnTo>
                  <a:pt x="3230118" y="1706613"/>
                </a:lnTo>
                <a:lnTo>
                  <a:pt x="3256864" y="1706613"/>
                </a:lnTo>
                <a:lnTo>
                  <a:pt x="3256864" y="1679867"/>
                </a:lnTo>
                <a:lnTo>
                  <a:pt x="3283610" y="1679867"/>
                </a:lnTo>
                <a:lnTo>
                  <a:pt x="3283610" y="1653121"/>
                </a:lnTo>
                <a:lnTo>
                  <a:pt x="3256864" y="1653121"/>
                </a:lnTo>
                <a:lnTo>
                  <a:pt x="3256864" y="1626375"/>
                </a:lnTo>
                <a:lnTo>
                  <a:pt x="3230118" y="1626375"/>
                </a:lnTo>
                <a:close/>
                <a:moveTo>
                  <a:pt x="2025167" y="2812123"/>
                </a:moveTo>
                <a:lnTo>
                  <a:pt x="2025167" y="2779890"/>
                </a:lnTo>
                <a:lnTo>
                  <a:pt x="2057400" y="2779890"/>
                </a:lnTo>
                <a:lnTo>
                  <a:pt x="2057400" y="2747658"/>
                </a:lnTo>
                <a:lnTo>
                  <a:pt x="2025167" y="2747658"/>
                </a:lnTo>
                <a:lnTo>
                  <a:pt x="2025167" y="2715425"/>
                </a:lnTo>
                <a:lnTo>
                  <a:pt x="1992935" y="2715425"/>
                </a:lnTo>
                <a:lnTo>
                  <a:pt x="1992935" y="2747658"/>
                </a:lnTo>
                <a:lnTo>
                  <a:pt x="1960702" y="2747658"/>
                </a:lnTo>
                <a:lnTo>
                  <a:pt x="1960702" y="2779890"/>
                </a:lnTo>
                <a:lnTo>
                  <a:pt x="1992935" y="2779890"/>
                </a:lnTo>
                <a:lnTo>
                  <a:pt x="1992935" y="2812123"/>
                </a:lnTo>
                <a:lnTo>
                  <a:pt x="2025167" y="2812123"/>
                </a:lnTo>
                <a:close/>
                <a:moveTo>
                  <a:pt x="2779547" y="2400643"/>
                </a:moveTo>
                <a:lnTo>
                  <a:pt x="2779547" y="2368410"/>
                </a:lnTo>
                <a:lnTo>
                  <a:pt x="2811780" y="2368410"/>
                </a:lnTo>
                <a:lnTo>
                  <a:pt x="2811780" y="2336178"/>
                </a:lnTo>
                <a:lnTo>
                  <a:pt x="2779547" y="2336178"/>
                </a:lnTo>
                <a:lnTo>
                  <a:pt x="2779547" y="2303945"/>
                </a:lnTo>
                <a:lnTo>
                  <a:pt x="2747315" y="2303945"/>
                </a:lnTo>
                <a:lnTo>
                  <a:pt x="2747315" y="2336178"/>
                </a:lnTo>
                <a:lnTo>
                  <a:pt x="2715082" y="2336178"/>
                </a:lnTo>
                <a:lnTo>
                  <a:pt x="2715082" y="2368410"/>
                </a:lnTo>
                <a:lnTo>
                  <a:pt x="2747315" y="2368410"/>
                </a:lnTo>
                <a:lnTo>
                  <a:pt x="2747315" y="2400643"/>
                </a:lnTo>
                <a:lnTo>
                  <a:pt x="2779547" y="2400643"/>
                </a:lnTo>
                <a:close/>
                <a:moveTo>
                  <a:pt x="2916365" y="2399271"/>
                </a:moveTo>
                <a:lnTo>
                  <a:pt x="2916365" y="2368067"/>
                </a:lnTo>
                <a:lnTo>
                  <a:pt x="2947568" y="2368067"/>
                </a:lnTo>
                <a:lnTo>
                  <a:pt x="2947568" y="2336521"/>
                </a:lnTo>
                <a:lnTo>
                  <a:pt x="2916365" y="2336521"/>
                </a:lnTo>
                <a:lnTo>
                  <a:pt x="2916365" y="2305317"/>
                </a:lnTo>
                <a:lnTo>
                  <a:pt x="2884818" y="2305317"/>
                </a:lnTo>
                <a:lnTo>
                  <a:pt x="2884818" y="2336521"/>
                </a:lnTo>
                <a:lnTo>
                  <a:pt x="2853614" y="2336521"/>
                </a:lnTo>
                <a:lnTo>
                  <a:pt x="2853614" y="2368067"/>
                </a:lnTo>
                <a:lnTo>
                  <a:pt x="2884818" y="2368067"/>
                </a:lnTo>
                <a:lnTo>
                  <a:pt x="2884818" y="2399271"/>
                </a:lnTo>
                <a:lnTo>
                  <a:pt x="2916365" y="2399271"/>
                </a:lnTo>
                <a:close/>
                <a:moveTo>
                  <a:pt x="2984602" y="2261768"/>
                </a:moveTo>
                <a:lnTo>
                  <a:pt x="2984602" y="2230565"/>
                </a:lnTo>
                <a:lnTo>
                  <a:pt x="3015806" y="2230565"/>
                </a:lnTo>
                <a:lnTo>
                  <a:pt x="3015806" y="2199704"/>
                </a:lnTo>
                <a:lnTo>
                  <a:pt x="2984602" y="2199704"/>
                </a:lnTo>
                <a:lnTo>
                  <a:pt x="2984602" y="2168500"/>
                </a:lnTo>
                <a:lnTo>
                  <a:pt x="2953741" y="2168500"/>
                </a:lnTo>
                <a:lnTo>
                  <a:pt x="2953741" y="2199704"/>
                </a:lnTo>
                <a:lnTo>
                  <a:pt x="2922537" y="2199704"/>
                </a:lnTo>
                <a:lnTo>
                  <a:pt x="2922537" y="2230565"/>
                </a:lnTo>
                <a:lnTo>
                  <a:pt x="2953741" y="2230565"/>
                </a:lnTo>
                <a:lnTo>
                  <a:pt x="2953741" y="2261768"/>
                </a:lnTo>
                <a:lnTo>
                  <a:pt x="2984602" y="2261768"/>
                </a:lnTo>
                <a:close/>
                <a:moveTo>
                  <a:pt x="3052496" y="2396871"/>
                </a:moveTo>
                <a:lnTo>
                  <a:pt x="3052496" y="2367039"/>
                </a:lnTo>
                <a:lnTo>
                  <a:pt x="3082328" y="2367039"/>
                </a:lnTo>
                <a:lnTo>
                  <a:pt x="3082328" y="2337549"/>
                </a:lnTo>
                <a:lnTo>
                  <a:pt x="3052496" y="2337549"/>
                </a:lnTo>
                <a:lnTo>
                  <a:pt x="3052496" y="2307717"/>
                </a:lnTo>
                <a:lnTo>
                  <a:pt x="3023006" y="2307717"/>
                </a:lnTo>
                <a:lnTo>
                  <a:pt x="3023006" y="2337549"/>
                </a:lnTo>
                <a:lnTo>
                  <a:pt x="2993174" y="2337549"/>
                </a:lnTo>
                <a:lnTo>
                  <a:pt x="2993174" y="2367039"/>
                </a:lnTo>
                <a:lnTo>
                  <a:pt x="3023006" y="2367039"/>
                </a:lnTo>
                <a:lnTo>
                  <a:pt x="3023006" y="2396871"/>
                </a:lnTo>
                <a:lnTo>
                  <a:pt x="3052496" y="2396871"/>
                </a:lnTo>
                <a:close/>
                <a:moveTo>
                  <a:pt x="1855775" y="1343825"/>
                </a:moveTo>
                <a:lnTo>
                  <a:pt x="1855775" y="1376058"/>
                </a:lnTo>
                <a:lnTo>
                  <a:pt x="1823542" y="1376058"/>
                </a:lnTo>
                <a:lnTo>
                  <a:pt x="1823542" y="1408290"/>
                </a:lnTo>
                <a:lnTo>
                  <a:pt x="1855775" y="1408290"/>
                </a:lnTo>
                <a:lnTo>
                  <a:pt x="1855775" y="1440523"/>
                </a:lnTo>
                <a:lnTo>
                  <a:pt x="1888007" y="1440523"/>
                </a:lnTo>
                <a:lnTo>
                  <a:pt x="1888007" y="1408290"/>
                </a:lnTo>
                <a:lnTo>
                  <a:pt x="1920240" y="1408290"/>
                </a:lnTo>
                <a:lnTo>
                  <a:pt x="1920240" y="1376058"/>
                </a:lnTo>
                <a:lnTo>
                  <a:pt x="1888007" y="1376058"/>
                </a:lnTo>
                <a:lnTo>
                  <a:pt x="1888007" y="1343825"/>
                </a:lnTo>
                <a:lnTo>
                  <a:pt x="1855775" y="1343825"/>
                </a:lnTo>
                <a:close/>
                <a:moveTo>
                  <a:pt x="1238555" y="1480985"/>
                </a:moveTo>
                <a:lnTo>
                  <a:pt x="1238555" y="1513218"/>
                </a:lnTo>
                <a:lnTo>
                  <a:pt x="1206322" y="1513218"/>
                </a:lnTo>
                <a:lnTo>
                  <a:pt x="1206322" y="1545450"/>
                </a:lnTo>
                <a:lnTo>
                  <a:pt x="1238555" y="1545450"/>
                </a:lnTo>
                <a:lnTo>
                  <a:pt x="1238555" y="1577683"/>
                </a:lnTo>
                <a:lnTo>
                  <a:pt x="1270787" y="1577683"/>
                </a:lnTo>
                <a:lnTo>
                  <a:pt x="1270787" y="1545450"/>
                </a:lnTo>
                <a:lnTo>
                  <a:pt x="1303020" y="1545450"/>
                </a:lnTo>
                <a:lnTo>
                  <a:pt x="1303020" y="1513218"/>
                </a:lnTo>
                <a:lnTo>
                  <a:pt x="1270787" y="1513218"/>
                </a:lnTo>
                <a:lnTo>
                  <a:pt x="1270787" y="1480985"/>
                </a:lnTo>
                <a:lnTo>
                  <a:pt x="1238555" y="1480985"/>
                </a:lnTo>
                <a:close/>
                <a:moveTo>
                  <a:pt x="1307135" y="1618145"/>
                </a:moveTo>
                <a:lnTo>
                  <a:pt x="1307135" y="1650378"/>
                </a:lnTo>
                <a:lnTo>
                  <a:pt x="1274902" y="1650378"/>
                </a:lnTo>
                <a:lnTo>
                  <a:pt x="1274902" y="1682610"/>
                </a:lnTo>
                <a:lnTo>
                  <a:pt x="1307135" y="1682610"/>
                </a:lnTo>
                <a:lnTo>
                  <a:pt x="1307135" y="1714843"/>
                </a:lnTo>
                <a:lnTo>
                  <a:pt x="1339367" y="1714843"/>
                </a:lnTo>
                <a:lnTo>
                  <a:pt x="1339367" y="1682610"/>
                </a:lnTo>
                <a:lnTo>
                  <a:pt x="1371600" y="1682610"/>
                </a:lnTo>
                <a:lnTo>
                  <a:pt x="1371600" y="1650378"/>
                </a:lnTo>
                <a:lnTo>
                  <a:pt x="1339367" y="1650378"/>
                </a:lnTo>
                <a:lnTo>
                  <a:pt x="1339367" y="1618145"/>
                </a:lnTo>
                <a:lnTo>
                  <a:pt x="1307135" y="1618145"/>
                </a:lnTo>
                <a:close/>
                <a:moveTo>
                  <a:pt x="1032815" y="1618145"/>
                </a:moveTo>
                <a:lnTo>
                  <a:pt x="1032815" y="1650378"/>
                </a:lnTo>
                <a:lnTo>
                  <a:pt x="1000582" y="1650378"/>
                </a:lnTo>
                <a:lnTo>
                  <a:pt x="1000582" y="1682610"/>
                </a:lnTo>
                <a:lnTo>
                  <a:pt x="1032815" y="1682610"/>
                </a:lnTo>
                <a:lnTo>
                  <a:pt x="1032815" y="1714843"/>
                </a:lnTo>
                <a:lnTo>
                  <a:pt x="1065047" y="1714843"/>
                </a:lnTo>
                <a:lnTo>
                  <a:pt x="1065047" y="1682610"/>
                </a:lnTo>
                <a:lnTo>
                  <a:pt x="1097280" y="1682610"/>
                </a:lnTo>
                <a:lnTo>
                  <a:pt x="1097280" y="1650378"/>
                </a:lnTo>
                <a:lnTo>
                  <a:pt x="1065047" y="1650378"/>
                </a:lnTo>
                <a:lnTo>
                  <a:pt x="1065047" y="1618145"/>
                </a:lnTo>
                <a:lnTo>
                  <a:pt x="1032815" y="1618145"/>
                </a:lnTo>
                <a:close/>
                <a:moveTo>
                  <a:pt x="1169975" y="1618145"/>
                </a:moveTo>
                <a:lnTo>
                  <a:pt x="1169975" y="1650378"/>
                </a:lnTo>
                <a:lnTo>
                  <a:pt x="1137742" y="1650378"/>
                </a:lnTo>
                <a:lnTo>
                  <a:pt x="1137742" y="1682610"/>
                </a:lnTo>
                <a:lnTo>
                  <a:pt x="1169975" y="1682610"/>
                </a:lnTo>
                <a:lnTo>
                  <a:pt x="1169975" y="1714843"/>
                </a:lnTo>
                <a:lnTo>
                  <a:pt x="1202207" y="1714843"/>
                </a:lnTo>
                <a:lnTo>
                  <a:pt x="1202207" y="1682610"/>
                </a:lnTo>
                <a:lnTo>
                  <a:pt x="1234440" y="1682610"/>
                </a:lnTo>
                <a:lnTo>
                  <a:pt x="1234440" y="1650378"/>
                </a:lnTo>
                <a:lnTo>
                  <a:pt x="1202207" y="1650378"/>
                </a:lnTo>
                <a:lnTo>
                  <a:pt x="1202207" y="1618145"/>
                </a:lnTo>
                <a:lnTo>
                  <a:pt x="1169975" y="1618145"/>
                </a:lnTo>
                <a:close/>
                <a:moveTo>
                  <a:pt x="1375715" y="1480985"/>
                </a:moveTo>
                <a:lnTo>
                  <a:pt x="1375715" y="1513218"/>
                </a:lnTo>
                <a:lnTo>
                  <a:pt x="1343482" y="1513218"/>
                </a:lnTo>
                <a:lnTo>
                  <a:pt x="1343482" y="1545450"/>
                </a:lnTo>
                <a:lnTo>
                  <a:pt x="1375715" y="1545450"/>
                </a:lnTo>
                <a:lnTo>
                  <a:pt x="1375715" y="1577683"/>
                </a:lnTo>
                <a:lnTo>
                  <a:pt x="1407947" y="1577683"/>
                </a:lnTo>
                <a:lnTo>
                  <a:pt x="1407947" y="1545450"/>
                </a:lnTo>
                <a:lnTo>
                  <a:pt x="1440180" y="1545450"/>
                </a:lnTo>
                <a:lnTo>
                  <a:pt x="1440180" y="1513218"/>
                </a:lnTo>
                <a:lnTo>
                  <a:pt x="1407947" y="1513218"/>
                </a:lnTo>
                <a:lnTo>
                  <a:pt x="1407947" y="1480985"/>
                </a:lnTo>
                <a:lnTo>
                  <a:pt x="1375715" y="1480985"/>
                </a:lnTo>
                <a:close/>
                <a:moveTo>
                  <a:pt x="1101395" y="1755305"/>
                </a:moveTo>
                <a:lnTo>
                  <a:pt x="1101395" y="1787538"/>
                </a:lnTo>
                <a:lnTo>
                  <a:pt x="1069162" y="1787538"/>
                </a:lnTo>
                <a:lnTo>
                  <a:pt x="1069162" y="1819770"/>
                </a:lnTo>
                <a:lnTo>
                  <a:pt x="1101395" y="1819770"/>
                </a:lnTo>
                <a:lnTo>
                  <a:pt x="1101395" y="1852003"/>
                </a:lnTo>
                <a:lnTo>
                  <a:pt x="1133627" y="1852003"/>
                </a:lnTo>
                <a:lnTo>
                  <a:pt x="1133627" y="1819770"/>
                </a:lnTo>
                <a:lnTo>
                  <a:pt x="1165860" y="1819770"/>
                </a:lnTo>
                <a:lnTo>
                  <a:pt x="1165860" y="1787538"/>
                </a:lnTo>
                <a:lnTo>
                  <a:pt x="1133627" y="1787538"/>
                </a:lnTo>
                <a:lnTo>
                  <a:pt x="1133627" y="1755305"/>
                </a:lnTo>
                <a:lnTo>
                  <a:pt x="1101395" y="1755305"/>
                </a:lnTo>
                <a:close/>
                <a:moveTo>
                  <a:pt x="1444295" y="1343825"/>
                </a:moveTo>
                <a:lnTo>
                  <a:pt x="1444295" y="1376058"/>
                </a:lnTo>
                <a:lnTo>
                  <a:pt x="1412062" y="1376058"/>
                </a:lnTo>
                <a:lnTo>
                  <a:pt x="1412062" y="1408290"/>
                </a:lnTo>
                <a:lnTo>
                  <a:pt x="1444295" y="1408290"/>
                </a:lnTo>
                <a:lnTo>
                  <a:pt x="1444295" y="1440523"/>
                </a:lnTo>
                <a:lnTo>
                  <a:pt x="1476527" y="1440523"/>
                </a:lnTo>
                <a:lnTo>
                  <a:pt x="1476527" y="1408290"/>
                </a:lnTo>
                <a:lnTo>
                  <a:pt x="1508760" y="1408290"/>
                </a:lnTo>
                <a:lnTo>
                  <a:pt x="1508760" y="1376058"/>
                </a:lnTo>
                <a:lnTo>
                  <a:pt x="1476527" y="1376058"/>
                </a:lnTo>
                <a:lnTo>
                  <a:pt x="1476527" y="1343825"/>
                </a:lnTo>
                <a:lnTo>
                  <a:pt x="1444295" y="1343825"/>
                </a:lnTo>
                <a:close/>
                <a:moveTo>
                  <a:pt x="1650035" y="1480985"/>
                </a:moveTo>
                <a:lnTo>
                  <a:pt x="1650035" y="1513218"/>
                </a:lnTo>
                <a:lnTo>
                  <a:pt x="1617802" y="1513218"/>
                </a:lnTo>
                <a:lnTo>
                  <a:pt x="1617802" y="1545450"/>
                </a:lnTo>
                <a:lnTo>
                  <a:pt x="1650035" y="1545450"/>
                </a:lnTo>
                <a:lnTo>
                  <a:pt x="1650035" y="1577683"/>
                </a:lnTo>
                <a:lnTo>
                  <a:pt x="1682267" y="1577683"/>
                </a:lnTo>
                <a:lnTo>
                  <a:pt x="1682267" y="1545450"/>
                </a:lnTo>
                <a:lnTo>
                  <a:pt x="1714500" y="1545450"/>
                </a:lnTo>
                <a:lnTo>
                  <a:pt x="1714500" y="1513218"/>
                </a:lnTo>
                <a:lnTo>
                  <a:pt x="1682267" y="1513218"/>
                </a:lnTo>
                <a:lnTo>
                  <a:pt x="1682267" y="1480985"/>
                </a:lnTo>
                <a:lnTo>
                  <a:pt x="1650035" y="1480985"/>
                </a:lnTo>
                <a:close/>
                <a:moveTo>
                  <a:pt x="1581455" y="1343825"/>
                </a:moveTo>
                <a:lnTo>
                  <a:pt x="1581455" y="1376058"/>
                </a:lnTo>
                <a:lnTo>
                  <a:pt x="1549222" y="1376058"/>
                </a:lnTo>
                <a:lnTo>
                  <a:pt x="1549222" y="1408290"/>
                </a:lnTo>
                <a:lnTo>
                  <a:pt x="1581455" y="1408290"/>
                </a:lnTo>
                <a:lnTo>
                  <a:pt x="1581455" y="1440523"/>
                </a:lnTo>
                <a:lnTo>
                  <a:pt x="1613687" y="1440523"/>
                </a:lnTo>
                <a:lnTo>
                  <a:pt x="1613687" y="1408290"/>
                </a:lnTo>
                <a:lnTo>
                  <a:pt x="1645920" y="1408290"/>
                </a:lnTo>
                <a:lnTo>
                  <a:pt x="1645920" y="1376058"/>
                </a:lnTo>
                <a:lnTo>
                  <a:pt x="1613687" y="1376058"/>
                </a:lnTo>
                <a:lnTo>
                  <a:pt x="1613687" y="1343825"/>
                </a:lnTo>
                <a:lnTo>
                  <a:pt x="1581455" y="1343825"/>
                </a:lnTo>
                <a:close/>
                <a:moveTo>
                  <a:pt x="1512875" y="1480985"/>
                </a:moveTo>
                <a:lnTo>
                  <a:pt x="1512875" y="1513218"/>
                </a:lnTo>
                <a:lnTo>
                  <a:pt x="1480642" y="1513218"/>
                </a:lnTo>
                <a:lnTo>
                  <a:pt x="1480642" y="1545450"/>
                </a:lnTo>
                <a:lnTo>
                  <a:pt x="1512875" y="1545450"/>
                </a:lnTo>
                <a:lnTo>
                  <a:pt x="1512875" y="1577683"/>
                </a:lnTo>
                <a:lnTo>
                  <a:pt x="1545107" y="1577683"/>
                </a:lnTo>
                <a:lnTo>
                  <a:pt x="1545107" y="1545450"/>
                </a:lnTo>
                <a:lnTo>
                  <a:pt x="1577340" y="1545450"/>
                </a:lnTo>
                <a:lnTo>
                  <a:pt x="1577340" y="1513218"/>
                </a:lnTo>
                <a:lnTo>
                  <a:pt x="1545107" y="1513218"/>
                </a:lnTo>
                <a:lnTo>
                  <a:pt x="1545107" y="1480985"/>
                </a:lnTo>
                <a:lnTo>
                  <a:pt x="1512875" y="1480985"/>
                </a:lnTo>
                <a:close/>
                <a:moveTo>
                  <a:pt x="1133627" y="2126323"/>
                </a:moveTo>
                <a:lnTo>
                  <a:pt x="1133627" y="2094090"/>
                </a:lnTo>
                <a:lnTo>
                  <a:pt x="1165860" y="2094090"/>
                </a:lnTo>
                <a:lnTo>
                  <a:pt x="1165860" y="2061858"/>
                </a:lnTo>
                <a:lnTo>
                  <a:pt x="1133627" y="2061858"/>
                </a:lnTo>
                <a:lnTo>
                  <a:pt x="1133627" y="2029625"/>
                </a:lnTo>
                <a:lnTo>
                  <a:pt x="1101395" y="2029625"/>
                </a:lnTo>
                <a:lnTo>
                  <a:pt x="1101395" y="2061858"/>
                </a:lnTo>
                <a:lnTo>
                  <a:pt x="1069162" y="2061858"/>
                </a:lnTo>
                <a:lnTo>
                  <a:pt x="1069162" y="2094090"/>
                </a:lnTo>
                <a:lnTo>
                  <a:pt x="1101395" y="2094090"/>
                </a:lnTo>
                <a:lnTo>
                  <a:pt x="1101395" y="2126323"/>
                </a:lnTo>
                <a:lnTo>
                  <a:pt x="1133627" y="2126323"/>
                </a:lnTo>
                <a:close/>
                <a:moveTo>
                  <a:pt x="1202207" y="2263483"/>
                </a:moveTo>
                <a:lnTo>
                  <a:pt x="1202207" y="2231250"/>
                </a:lnTo>
                <a:lnTo>
                  <a:pt x="1234440" y="2231250"/>
                </a:lnTo>
                <a:lnTo>
                  <a:pt x="1234440" y="2199018"/>
                </a:lnTo>
                <a:lnTo>
                  <a:pt x="1202207" y="2199018"/>
                </a:lnTo>
                <a:lnTo>
                  <a:pt x="1202207" y="2166785"/>
                </a:lnTo>
                <a:lnTo>
                  <a:pt x="1169975" y="2166785"/>
                </a:lnTo>
                <a:lnTo>
                  <a:pt x="1169975" y="2199018"/>
                </a:lnTo>
                <a:lnTo>
                  <a:pt x="1137742" y="2199018"/>
                </a:lnTo>
                <a:lnTo>
                  <a:pt x="1137742" y="2231250"/>
                </a:lnTo>
                <a:lnTo>
                  <a:pt x="1169975" y="2231250"/>
                </a:lnTo>
                <a:lnTo>
                  <a:pt x="1169975" y="2263483"/>
                </a:lnTo>
                <a:lnTo>
                  <a:pt x="1202207" y="2263483"/>
                </a:lnTo>
                <a:close/>
                <a:moveTo>
                  <a:pt x="1718615" y="1343825"/>
                </a:moveTo>
                <a:lnTo>
                  <a:pt x="1718615" y="1376058"/>
                </a:lnTo>
                <a:lnTo>
                  <a:pt x="1686382" y="1376058"/>
                </a:lnTo>
                <a:lnTo>
                  <a:pt x="1686382" y="1408290"/>
                </a:lnTo>
                <a:lnTo>
                  <a:pt x="1718615" y="1408290"/>
                </a:lnTo>
                <a:lnTo>
                  <a:pt x="1718615" y="1440523"/>
                </a:lnTo>
                <a:lnTo>
                  <a:pt x="1750847" y="1440523"/>
                </a:lnTo>
                <a:lnTo>
                  <a:pt x="1750847" y="1408290"/>
                </a:lnTo>
                <a:lnTo>
                  <a:pt x="1783080" y="1408290"/>
                </a:lnTo>
                <a:lnTo>
                  <a:pt x="1783080" y="1376058"/>
                </a:lnTo>
                <a:lnTo>
                  <a:pt x="1750847" y="1376058"/>
                </a:lnTo>
                <a:lnTo>
                  <a:pt x="1750847" y="1343825"/>
                </a:lnTo>
                <a:lnTo>
                  <a:pt x="1718615" y="1343825"/>
                </a:lnTo>
                <a:close/>
                <a:moveTo>
                  <a:pt x="1270787" y="2400643"/>
                </a:moveTo>
                <a:lnTo>
                  <a:pt x="1270787" y="2368410"/>
                </a:lnTo>
                <a:lnTo>
                  <a:pt x="1303020" y="2368410"/>
                </a:lnTo>
                <a:lnTo>
                  <a:pt x="1303020" y="2336178"/>
                </a:lnTo>
                <a:lnTo>
                  <a:pt x="1270787" y="2336178"/>
                </a:lnTo>
                <a:lnTo>
                  <a:pt x="1270787" y="2303945"/>
                </a:lnTo>
                <a:lnTo>
                  <a:pt x="1238555" y="2303945"/>
                </a:lnTo>
                <a:lnTo>
                  <a:pt x="1238555" y="2336178"/>
                </a:lnTo>
                <a:lnTo>
                  <a:pt x="1206322" y="2336178"/>
                </a:lnTo>
                <a:lnTo>
                  <a:pt x="1206322" y="2368410"/>
                </a:lnTo>
                <a:lnTo>
                  <a:pt x="1238555" y="2368410"/>
                </a:lnTo>
                <a:lnTo>
                  <a:pt x="1238555" y="2400643"/>
                </a:lnTo>
                <a:lnTo>
                  <a:pt x="1270787" y="2400643"/>
                </a:lnTo>
                <a:close/>
                <a:moveTo>
                  <a:pt x="1065047" y="2263483"/>
                </a:moveTo>
                <a:lnTo>
                  <a:pt x="1065047" y="2231250"/>
                </a:lnTo>
                <a:lnTo>
                  <a:pt x="1097280" y="2231250"/>
                </a:lnTo>
                <a:lnTo>
                  <a:pt x="1097280" y="2199018"/>
                </a:lnTo>
                <a:lnTo>
                  <a:pt x="1065047" y="2199018"/>
                </a:lnTo>
                <a:lnTo>
                  <a:pt x="1065047" y="2166785"/>
                </a:lnTo>
                <a:lnTo>
                  <a:pt x="1032815" y="2166785"/>
                </a:lnTo>
                <a:lnTo>
                  <a:pt x="1032815" y="2199018"/>
                </a:lnTo>
                <a:lnTo>
                  <a:pt x="1000582" y="2199018"/>
                </a:lnTo>
                <a:lnTo>
                  <a:pt x="1000582" y="2231250"/>
                </a:lnTo>
                <a:lnTo>
                  <a:pt x="1032815" y="2231250"/>
                </a:lnTo>
                <a:lnTo>
                  <a:pt x="1032815" y="2263483"/>
                </a:lnTo>
                <a:lnTo>
                  <a:pt x="1065047" y="2263483"/>
                </a:lnTo>
                <a:close/>
                <a:moveTo>
                  <a:pt x="1339367" y="2263483"/>
                </a:moveTo>
                <a:lnTo>
                  <a:pt x="1339367" y="2231250"/>
                </a:lnTo>
                <a:lnTo>
                  <a:pt x="1371600" y="2231250"/>
                </a:lnTo>
                <a:lnTo>
                  <a:pt x="1371600" y="2199018"/>
                </a:lnTo>
                <a:lnTo>
                  <a:pt x="1339367" y="2199018"/>
                </a:lnTo>
                <a:lnTo>
                  <a:pt x="1339367" y="2166785"/>
                </a:lnTo>
                <a:lnTo>
                  <a:pt x="1307135" y="2166785"/>
                </a:lnTo>
                <a:lnTo>
                  <a:pt x="1307135" y="2199018"/>
                </a:lnTo>
                <a:lnTo>
                  <a:pt x="1274902" y="2199018"/>
                </a:lnTo>
                <a:lnTo>
                  <a:pt x="1274902" y="2231250"/>
                </a:lnTo>
                <a:lnTo>
                  <a:pt x="1307135" y="2231250"/>
                </a:lnTo>
                <a:lnTo>
                  <a:pt x="1307135" y="2263483"/>
                </a:lnTo>
                <a:lnTo>
                  <a:pt x="1339367" y="2263483"/>
                </a:lnTo>
                <a:close/>
                <a:moveTo>
                  <a:pt x="858622" y="1849603"/>
                </a:moveTo>
                <a:lnTo>
                  <a:pt x="858622" y="1819085"/>
                </a:lnTo>
                <a:lnTo>
                  <a:pt x="889140" y="1819085"/>
                </a:lnTo>
                <a:lnTo>
                  <a:pt x="889140" y="1788224"/>
                </a:lnTo>
                <a:lnTo>
                  <a:pt x="858622" y="1788224"/>
                </a:lnTo>
                <a:lnTo>
                  <a:pt x="858622" y="1757705"/>
                </a:lnTo>
                <a:lnTo>
                  <a:pt x="827761" y="1757705"/>
                </a:lnTo>
                <a:lnTo>
                  <a:pt x="827761" y="1788224"/>
                </a:lnTo>
                <a:lnTo>
                  <a:pt x="797242" y="1788224"/>
                </a:lnTo>
                <a:lnTo>
                  <a:pt x="797242" y="1819085"/>
                </a:lnTo>
                <a:lnTo>
                  <a:pt x="827761" y="1819085"/>
                </a:lnTo>
                <a:lnTo>
                  <a:pt x="827761" y="1849603"/>
                </a:lnTo>
                <a:lnTo>
                  <a:pt x="858622" y="1849603"/>
                </a:lnTo>
                <a:close/>
                <a:moveTo>
                  <a:pt x="996467" y="2126323"/>
                </a:moveTo>
                <a:lnTo>
                  <a:pt x="996467" y="2094090"/>
                </a:lnTo>
                <a:lnTo>
                  <a:pt x="1028700" y="2094090"/>
                </a:lnTo>
                <a:lnTo>
                  <a:pt x="1028700" y="2061858"/>
                </a:lnTo>
                <a:lnTo>
                  <a:pt x="996467" y="2061858"/>
                </a:lnTo>
                <a:lnTo>
                  <a:pt x="996467" y="2029625"/>
                </a:lnTo>
                <a:lnTo>
                  <a:pt x="964235" y="2029625"/>
                </a:lnTo>
                <a:lnTo>
                  <a:pt x="964235" y="2061858"/>
                </a:lnTo>
                <a:lnTo>
                  <a:pt x="932002" y="2061858"/>
                </a:lnTo>
                <a:lnTo>
                  <a:pt x="932002" y="2094090"/>
                </a:lnTo>
                <a:lnTo>
                  <a:pt x="964235" y="2094090"/>
                </a:lnTo>
                <a:lnTo>
                  <a:pt x="964235" y="2126323"/>
                </a:lnTo>
                <a:lnTo>
                  <a:pt x="996467" y="2126323"/>
                </a:lnTo>
                <a:close/>
                <a:moveTo>
                  <a:pt x="964235" y="1755648"/>
                </a:moveTo>
                <a:lnTo>
                  <a:pt x="964235" y="1787538"/>
                </a:lnTo>
                <a:lnTo>
                  <a:pt x="932345" y="1787538"/>
                </a:lnTo>
                <a:lnTo>
                  <a:pt x="932345" y="1819770"/>
                </a:lnTo>
                <a:lnTo>
                  <a:pt x="964235" y="1819770"/>
                </a:lnTo>
                <a:lnTo>
                  <a:pt x="964235" y="1851660"/>
                </a:lnTo>
                <a:lnTo>
                  <a:pt x="996467" y="1851660"/>
                </a:lnTo>
                <a:lnTo>
                  <a:pt x="996467" y="1819770"/>
                </a:lnTo>
                <a:lnTo>
                  <a:pt x="1028357" y="1819770"/>
                </a:lnTo>
                <a:lnTo>
                  <a:pt x="1028357" y="1787538"/>
                </a:lnTo>
                <a:lnTo>
                  <a:pt x="996467" y="1787538"/>
                </a:lnTo>
                <a:lnTo>
                  <a:pt x="996467" y="1755648"/>
                </a:lnTo>
                <a:lnTo>
                  <a:pt x="964235" y="1755648"/>
                </a:lnTo>
                <a:close/>
                <a:moveTo>
                  <a:pt x="927544" y="1988134"/>
                </a:moveTo>
                <a:lnTo>
                  <a:pt x="927544" y="1956587"/>
                </a:lnTo>
                <a:lnTo>
                  <a:pt x="959091" y="1956587"/>
                </a:lnTo>
                <a:lnTo>
                  <a:pt x="959091" y="1925041"/>
                </a:lnTo>
                <a:lnTo>
                  <a:pt x="927544" y="1925041"/>
                </a:lnTo>
                <a:lnTo>
                  <a:pt x="927544" y="1893494"/>
                </a:lnTo>
                <a:lnTo>
                  <a:pt x="895998" y="1893494"/>
                </a:lnTo>
                <a:lnTo>
                  <a:pt x="895998" y="1925041"/>
                </a:lnTo>
                <a:lnTo>
                  <a:pt x="864451" y="1925041"/>
                </a:lnTo>
                <a:lnTo>
                  <a:pt x="864451" y="1956587"/>
                </a:lnTo>
                <a:lnTo>
                  <a:pt x="895998" y="1956587"/>
                </a:lnTo>
                <a:lnTo>
                  <a:pt x="895998" y="1988134"/>
                </a:lnTo>
                <a:lnTo>
                  <a:pt x="927544" y="1988134"/>
                </a:lnTo>
                <a:close/>
                <a:moveTo>
                  <a:pt x="789356" y="1985391"/>
                </a:moveTo>
                <a:lnTo>
                  <a:pt x="789356" y="1955559"/>
                </a:lnTo>
                <a:lnTo>
                  <a:pt x="819188" y="1955559"/>
                </a:lnTo>
                <a:lnTo>
                  <a:pt x="819188" y="1926069"/>
                </a:lnTo>
                <a:lnTo>
                  <a:pt x="789356" y="1926069"/>
                </a:lnTo>
                <a:lnTo>
                  <a:pt x="789356" y="1896237"/>
                </a:lnTo>
                <a:lnTo>
                  <a:pt x="759866" y="1896237"/>
                </a:lnTo>
                <a:lnTo>
                  <a:pt x="759866" y="1926069"/>
                </a:lnTo>
                <a:lnTo>
                  <a:pt x="730034" y="1926069"/>
                </a:lnTo>
                <a:lnTo>
                  <a:pt x="730034" y="1955559"/>
                </a:lnTo>
                <a:lnTo>
                  <a:pt x="759866" y="1955559"/>
                </a:lnTo>
                <a:lnTo>
                  <a:pt x="759866" y="1985391"/>
                </a:lnTo>
                <a:lnTo>
                  <a:pt x="789356" y="1985391"/>
                </a:lnTo>
                <a:close/>
                <a:moveTo>
                  <a:pt x="2747315" y="1755305"/>
                </a:moveTo>
                <a:lnTo>
                  <a:pt x="2747315" y="1787538"/>
                </a:lnTo>
                <a:lnTo>
                  <a:pt x="2715082" y="1787538"/>
                </a:lnTo>
                <a:lnTo>
                  <a:pt x="2715082" y="1819770"/>
                </a:lnTo>
                <a:lnTo>
                  <a:pt x="2747315" y="1819770"/>
                </a:lnTo>
                <a:lnTo>
                  <a:pt x="2747315" y="1852003"/>
                </a:lnTo>
                <a:lnTo>
                  <a:pt x="2779547" y="1852003"/>
                </a:lnTo>
                <a:lnTo>
                  <a:pt x="2779547" y="1819770"/>
                </a:lnTo>
                <a:lnTo>
                  <a:pt x="2811780" y="1819770"/>
                </a:lnTo>
                <a:lnTo>
                  <a:pt x="2811780" y="1787538"/>
                </a:lnTo>
                <a:lnTo>
                  <a:pt x="2779547" y="1787538"/>
                </a:lnTo>
                <a:lnTo>
                  <a:pt x="2779547" y="1755305"/>
                </a:lnTo>
                <a:lnTo>
                  <a:pt x="2747315" y="1755305"/>
                </a:lnTo>
                <a:close/>
                <a:moveTo>
                  <a:pt x="2815895" y="1618145"/>
                </a:moveTo>
                <a:lnTo>
                  <a:pt x="2815895" y="1650378"/>
                </a:lnTo>
                <a:lnTo>
                  <a:pt x="2783662" y="1650378"/>
                </a:lnTo>
                <a:lnTo>
                  <a:pt x="2783662" y="1682610"/>
                </a:lnTo>
                <a:lnTo>
                  <a:pt x="2815895" y="1682610"/>
                </a:lnTo>
                <a:lnTo>
                  <a:pt x="2815895" y="1714843"/>
                </a:lnTo>
                <a:lnTo>
                  <a:pt x="2848127" y="1714843"/>
                </a:lnTo>
                <a:lnTo>
                  <a:pt x="2848127" y="1682610"/>
                </a:lnTo>
                <a:lnTo>
                  <a:pt x="2880360" y="1682610"/>
                </a:lnTo>
                <a:lnTo>
                  <a:pt x="2880360" y="1650378"/>
                </a:lnTo>
                <a:lnTo>
                  <a:pt x="2848127" y="1650378"/>
                </a:lnTo>
                <a:lnTo>
                  <a:pt x="2848127" y="1618145"/>
                </a:lnTo>
                <a:lnTo>
                  <a:pt x="2815895" y="1618145"/>
                </a:lnTo>
                <a:close/>
                <a:moveTo>
                  <a:pt x="2472995" y="1480985"/>
                </a:moveTo>
                <a:lnTo>
                  <a:pt x="2472995" y="1513218"/>
                </a:lnTo>
                <a:lnTo>
                  <a:pt x="2440762" y="1513218"/>
                </a:lnTo>
                <a:lnTo>
                  <a:pt x="2440762" y="1545450"/>
                </a:lnTo>
                <a:lnTo>
                  <a:pt x="2472995" y="1545450"/>
                </a:lnTo>
                <a:lnTo>
                  <a:pt x="2472995" y="1577683"/>
                </a:lnTo>
                <a:lnTo>
                  <a:pt x="2505227" y="1577683"/>
                </a:lnTo>
                <a:lnTo>
                  <a:pt x="2505227" y="1545450"/>
                </a:lnTo>
                <a:lnTo>
                  <a:pt x="2537460" y="1545450"/>
                </a:lnTo>
                <a:lnTo>
                  <a:pt x="2537460" y="1513218"/>
                </a:lnTo>
                <a:lnTo>
                  <a:pt x="2505227" y="1513218"/>
                </a:lnTo>
                <a:lnTo>
                  <a:pt x="2505227" y="1480985"/>
                </a:lnTo>
                <a:lnTo>
                  <a:pt x="2472995" y="1480985"/>
                </a:lnTo>
                <a:close/>
                <a:moveTo>
                  <a:pt x="2610155" y="1480985"/>
                </a:moveTo>
                <a:lnTo>
                  <a:pt x="2610155" y="1513218"/>
                </a:lnTo>
                <a:lnTo>
                  <a:pt x="2577922" y="1513218"/>
                </a:lnTo>
                <a:lnTo>
                  <a:pt x="2577922" y="1545450"/>
                </a:lnTo>
                <a:lnTo>
                  <a:pt x="2610155" y="1545450"/>
                </a:lnTo>
                <a:lnTo>
                  <a:pt x="2610155" y="1577683"/>
                </a:lnTo>
                <a:lnTo>
                  <a:pt x="2642387" y="1577683"/>
                </a:lnTo>
                <a:lnTo>
                  <a:pt x="2642387" y="1545450"/>
                </a:lnTo>
                <a:lnTo>
                  <a:pt x="2674620" y="1545450"/>
                </a:lnTo>
                <a:lnTo>
                  <a:pt x="2674620" y="1513218"/>
                </a:lnTo>
                <a:lnTo>
                  <a:pt x="2642387" y="1513218"/>
                </a:lnTo>
                <a:lnTo>
                  <a:pt x="2642387" y="1480985"/>
                </a:lnTo>
                <a:lnTo>
                  <a:pt x="2610155" y="1480985"/>
                </a:lnTo>
                <a:close/>
                <a:moveTo>
                  <a:pt x="1787195" y="1480985"/>
                </a:moveTo>
                <a:lnTo>
                  <a:pt x="1787195" y="1513218"/>
                </a:lnTo>
                <a:lnTo>
                  <a:pt x="1754962" y="1513218"/>
                </a:lnTo>
                <a:lnTo>
                  <a:pt x="1754962" y="1545450"/>
                </a:lnTo>
                <a:lnTo>
                  <a:pt x="1787195" y="1545450"/>
                </a:lnTo>
                <a:lnTo>
                  <a:pt x="1787195" y="1577683"/>
                </a:lnTo>
                <a:lnTo>
                  <a:pt x="1819427" y="1577683"/>
                </a:lnTo>
                <a:lnTo>
                  <a:pt x="1819427" y="1545450"/>
                </a:lnTo>
                <a:lnTo>
                  <a:pt x="1851660" y="1545450"/>
                </a:lnTo>
                <a:lnTo>
                  <a:pt x="1851660" y="1513218"/>
                </a:lnTo>
                <a:lnTo>
                  <a:pt x="1819427" y="1513218"/>
                </a:lnTo>
                <a:lnTo>
                  <a:pt x="1819427" y="1480985"/>
                </a:lnTo>
                <a:lnTo>
                  <a:pt x="1787195" y="1480985"/>
                </a:lnTo>
                <a:close/>
                <a:moveTo>
                  <a:pt x="2198675" y="1206665"/>
                </a:moveTo>
                <a:lnTo>
                  <a:pt x="2198675" y="1238898"/>
                </a:lnTo>
                <a:lnTo>
                  <a:pt x="2166442" y="1238898"/>
                </a:lnTo>
                <a:lnTo>
                  <a:pt x="2166442" y="1271130"/>
                </a:lnTo>
                <a:lnTo>
                  <a:pt x="2198675" y="1271130"/>
                </a:lnTo>
                <a:lnTo>
                  <a:pt x="2198675" y="1303363"/>
                </a:lnTo>
                <a:lnTo>
                  <a:pt x="2230907" y="1303363"/>
                </a:lnTo>
                <a:lnTo>
                  <a:pt x="2230907" y="1271130"/>
                </a:lnTo>
                <a:lnTo>
                  <a:pt x="2263140" y="1271130"/>
                </a:lnTo>
                <a:lnTo>
                  <a:pt x="2263140" y="1238898"/>
                </a:lnTo>
                <a:lnTo>
                  <a:pt x="2230907" y="1238898"/>
                </a:lnTo>
                <a:lnTo>
                  <a:pt x="2230907" y="1206665"/>
                </a:lnTo>
                <a:lnTo>
                  <a:pt x="2198675" y="1206665"/>
                </a:lnTo>
                <a:close/>
                <a:moveTo>
                  <a:pt x="2884475" y="1755305"/>
                </a:moveTo>
                <a:lnTo>
                  <a:pt x="2884475" y="1787538"/>
                </a:lnTo>
                <a:lnTo>
                  <a:pt x="2852242" y="1787538"/>
                </a:lnTo>
                <a:lnTo>
                  <a:pt x="2852242" y="1819770"/>
                </a:lnTo>
                <a:lnTo>
                  <a:pt x="2884475" y="1819770"/>
                </a:lnTo>
                <a:lnTo>
                  <a:pt x="2884475" y="1852003"/>
                </a:lnTo>
                <a:lnTo>
                  <a:pt x="2916707" y="1852003"/>
                </a:lnTo>
                <a:lnTo>
                  <a:pt x="2916707" y="1819770"/>
                </a:lnTo>
                <a:lnTo>
                  <a:pt x="2948940" y="1819770"/>
                </a:lnTo>
                <a:lnTo>
                  <a:pt x="2948940" y="1787538"/>
                </a:lnTo>
                <a:lnTo>
                  <a:pt x="2916707" y="1787538"/>
                </a:lnTo>
                <a:lnTo>
                  <a:pt x="2916707" y="1755305"/>
                </a:lnTo>
                <a:lnTo>
                  <a:pt x="2884475" y="1755305"/>
                </a:lnTo>
                <a:close/>
                <a:moveTo>
                  <a:pt x="2642387" y="2126323"/>
                </a:moveTo>
                <a:lnTo>
                  <a:pt x="2642387" y="2094090"/>
                </a:lnTo>
                <a:lnTo>
                  <a:pt x="2674620" y="2094090"/>
                </a:lnTo>
                <a:lnTo>
                  <a:pt x="2674620" y="2061858"/>
                </a:lnTo>
                <a:lnTo>
                  <a:pt x="2642387" y="2061858"/>
                </a:lnTo>
                <a:lnTo>
                  <a:pt x="2642387" y="2029625"/>
                </a:lnTo>
                <a:lnTo>
                  <a:pt x="2610155" y="2029625"/>
                </a:lnTo>
                <a:lnTo>
                  <a:pt x="2610155" y="2061858"/>
                </a:lnTo>
                <a:lnTo>
                  <a:pt x="2577922" y="2061858"/>
                </a:lnTo>
                <a:lnTo>
                  <a:pt x="2577922" y="2094090"/>
                </a:lnTo>
                <a:lnTo>
                  <a:pt x="2610155" y="2094090"/>
                </a:lnTo>
                <a:lnTo>
                  <a:pt x="2610155" y="2126323"/>
                </a:lnTo>
                <a:lnTo>
                  <a:pt x="2642387" y="2126323"/>
                </a:lnTo>
                <a:close/>
                <a:moveTo>
                  <a:pt x="2710967" y="1989163"/>
                </a:moveTo>
                <a:lnTo>
                  <a:pt x="2710967" y="1956930"/>
                </a:lnTo>
                <a:lnTo>
                  <a:pt x="2743200" y="1956930"/>
                </a:lnTo>
                <a:lnTo>
                  <a:pt x="2743200" y="1924698"/>
                </a:lnTo>
                <a:lnTo>
                  <a:pt x="2710967" y="1924698"/>
                </a:lnTo>
                <a:lnTo>
                  <a:pt x="2710967" y="1892465"/>
                </a:lnTo>
                <a:lnTo>
                  <a:pt x="2678735" y="1892465"/>
                </a:lnTo>
                <a:lnTo>
                  <a:pt x="2678735" y="1924698"/>
                </a:lnTo>
                <a:lnTo>
                  <a:pt x="2646502" y="1924698"/>
                </a:lnTo>
                <a:lnTo>
                  <a:pt x="2646502" y="1956930"/>
                </a:lnTo>
                <a:lnTo>
                  <a:pt x="2678735" y="1956930"/>
                </a:lnTo>
                <a:lnTo>
                  <a:pt x="2678735" y="1989163"/>
                </a:lnTo>
                <a:lnTo>
                  <a:pt x="2710967" y="1989163"/>
                </a:lnTo>
                <a:close/>
                <a:moveTo>
                  <a:pt x="2848127" y="1989163"/>
                </a:moveTo>
                <a:lnTo>
                  <a:pt x="2848127" y="1956930"/>
                </a:lnTo>
                <a:lnTo>
                  <a:pt x="2880360" y="1956930"/>
                </a:lnTo>
                <a:lnTo>
                  <a:pt x="2880360" y="1924698"/>
                </a:lnTo>
                <a:lnTo>
                  <a:pt x="2848127" y="1924698"/>
                </a:lnTo>
                <a:lnTo>
                  <a:pt x="2848127" y="1892465"/>
                </a:lnTo>
                <a:lnTo>
                  <a:pt x="2815895" y="1892465"/>
                </a:lnTo>
                <a:lnTo>
                  <a:pt x="2815895" y="1924698"/>
                </a:lnTo>
                <a:lnTo>
                  <a:pt x="2783662" y="1924698"/>
                </a:lnTo>
                <a:lnTo>
                  <a:pt x="2783662" y="1956930"/>
                </a:lnTo>
                <a:lnTo>
                  <a:pt x="2815895" y="1956930"/>
                </a:lnTo>
                <a:lnTo>
                  <a:pt x="2815895" y="1989163"/>
                </a:lnTo>
                <a:lnTo>
                  <a:pt x="2848127" y="1989163"/>
                </a:lnTo>
                <a:close/>
                <a:moveTo>
                  <a:pt x="2541575" y="1618145"/>
                </a:moveTo>
                <a:lnTo>
                  <a:pt x="2541575" y="1650378"/>
                </a:lnTo>
                <a:lnTo>
                  <a:pt x="2509342" y="1650378"/>
                </a:lnTo>
                <a:lnTo>
                  <a:pt x="2509342" y="1682610"/>
                </a:lnTo>
                <a:lnTo>
                  <a:pt x="2541575" y="1682610"/>
                </a:lnTo>
                <a:lnTo>
                  <a:pt x="2541575" y="1714843"/>
                </a:lnTo>
                <a:lnTo>
                  <a:pt x="2573807" y="1714843"/>
                </a:lnTo>
                <a:lnTo>
                  <a:pt x="2573807" y="1682610"/>
                </a:lnTo>
                <a:lnTo>
                  <a:pt x="2606040" y="1682610"/>
                </a:lnTo>
                <a:lnTo>
                  <a:pt x="2606040" y="1650378"/>
                </a:lnTo>
                <a:lnTo>
                  <a:pt x="2573807" y="1650378"/>
                </a:lnTo>
                <a:lnTo>
                  <a:pt x="2573807" y="1618145"/>
                </a:lnTo>
                <a:lnTo>
                  <a:pt x="2541575" y="1618145"/>
                </a:lnTo>
                <a:close/>
                <a:moveTo>
                  <a:pt x="1924355" y="1480985"/>
                </a:moveTo>
                <a:lnTo>
                  <a:pt x="1924355" y="1513218"/>
                </a:lnTo>
                <a:lnTo>
                  <a:pt x="1892122" y="1513218"/>
                </a:lnTo>
                <a:lnTo>
                  <a:pt x="1892122" y="1545450"/>
                </a:lnTo>
                <a:lnTo>
                  <a:pt x="1924355" y="1545450"/>
                </a:lnTo>
                <a:lnTo>
                  <a:pt x="1924355" y="1577683"/>
                </a:lnTo>
                <a:lnTo>
                  <a:pt x="1956587" y="1577683"/>
                </a:lnTo>
                <a:lnTo>
                  <a:pt x="1956587" y="1545450"/>
                </a:lnTo>
                <a:lnTo>
                  <a:pt x="1988820" y="1545450"/>
                </a:lnTo>
                <a:lnTo>
                  <a:pt x="1988820" y="1513218"/>
                </a:lnTo>
                <a:lnTo>
                  <a:pt x="1956587" y="1513218"/>
                </a:lnTo>
                <a:lnTo>
                  <a:pt x="1956587" y="1480985"/>
                </a:lnTo>
                <a:lnTo>
                  <a:pt x="1924355" y="1480985"/>
                </a:lnTo>
                <a:close/>
                <a:moveTo>
                  <a:pt x="1992935" y="1343825"/>
                </a:moveTo>
                <a:lnTo>
                  <a:pt x="1992935" y="1376058"/>
                </a:lnTo>
                <a:lnTo>
                  <a:pt x="1960702" y="1376058"/>
                </a:lnTo>
                <a:lnTo>
                  <a:pt x="1960702" y="1408290"/>
                </a:lnTo>
                <a:lnTo>
                  <a:pt x="1992935" y="1408290"/>
                </a:lnTo>
                <a:lnTo>
                  <a:pt x="1992935" y="1440523"/>
                </a:lnTo>
                <a:lnTo>
                  <a:pt x="2025167" y="1440523"/>
                </a:lnTo>
                <a:lnTo>
                  <a:pt x="2025167" y="1408290"/>
                </a:lnTo>
                <a:lnTo>
                  <a:pt x="2057400" y="1408290"/>
                </a:lnTo>
                <a:lnTo>
                  <a:pt x="2057400" y="1376058"/>
                </a:lnTo>
                <a:lnTo>
                  <a:pt x="2025167" y="1376058"/>
                </a:lnTo>
                <a:lnTo>
                  <a:pt x="2025167" y="1343825"/>
                </a:lnTo>
                <a:lnTo>
                  <a:pt x="1992935" y="1343825"/>
                </a:lnTo>
                <a:close/>
                <a:moveTo>
                  <a:pt x="2061515" y="1480985"/>
                </a:moveTo>
                <a:lnTo>
                  <a:pt x="2061515" y="1513218"/>
                </a:lnTo>
                <a:lnTo>
                  <a:pt x="2029282" y="1513218"/>
                </a:lnTo>
                <a:lnTo>
                  <a:pt x="2029282" y="1545450"/>
                </a:lnTo>
                <a:lnTo>
                  <a:pt x="2061515" y="1545450"/>
                </a:lnTo>
                <a:lnTo>
                  <a:pt x="2061515" y="1577683"/>
                </a:lnTo>
                <a:lnTo>
                  <a:pt x="2093747" y="1577683"/>
                </a:lnTo>
                <a:lnTo>
                  <a:pt x="2093747" y="1545450"/>
                </a:lnTo>
                <a:lnTo>
                  <a:pt x="2125980" y="1545450"/>
                </a:lnTo>
                <a:lnTo>
                  <a:pt x="2125980" y="1513218"/>
                </a:lnTo>
                <a:lnTo>
                  <a:pt x="2093747" y="1513218"/>
                </a:lnTo>
                <a:lnTo>
                  <a:pt x="2093747" y="1480985"/>
                </a:lnTo>
                <a:lnTo>
                  <a:pt x="2061515" y="1480985"/>
                </a:lnTo>
                <a:close/>
                <a:moveTo>
                  <a:pt x="1719643" y="797928"/>
                </a:moveTo>
                <a:lnTo>
                  <a:pt x="1719643" y="828446"/>
                </a:lnTo>
                <a:lnTo>
                  <a:pt x="1689125" y="828446"/>
                </a:lnTo>
                <a:lnTo>
                  <a:pt x="1689125" y="858622"/>
                </a:lnTo>
                <a:lnTo>
                  <a:pt x="1719643" y="858622"/>
                </a:lnTo>
                <a:lnTo>
                  <a:pt x="1719643" y="889140"/>
                </a:lnTo>
                <a:lnTo>
                  <a:pt x="1749819" y="889140"/>
                </a:lnTo>
                <a:lnTo>
                  <a:pt x="1749819" y="858622"/>
                </a:lnTo>
                <a:lnTo>
                  <a:pt x="1780337" y="858622"/>
                </a:lnTo>
                <a:lnTo>
                  <a:pt x="1780337" y="828446"/>
                </a:lnTo>
                <a:lnTo>
                  <a:pt x="1749819" y="828446"/>
                </a:lnTo>
                <a:lnTo>
                  <a:pt x="1749819" y="797928"/>
                </a:lnTo>
                <a:lnTo>
                  <a:pt x="1719643" y="797928"/>
                </a:lnTo>
                <a:close/>
                <a:moveTo>
                  <a:pt x="2404415" y="1618145"/>
                </a:moveTo>
                <a:lnTo>
                  <a:pt x="2404415" y="1650378"/>
                </a:lnTo>
                <a:lnTo>
                  <a:pt x="2372182" y="1650378"/>
                </a:lnTo>
                <a:lnTo>
                  <a:pt x="2372182" y="1682610"/>
                </a:lnTo>
                <a:lnTo>
                  <a:pt x="2404415" y="1682610"/>
                </a:lnTo>
                <a:lnTo>
                  <a:pt x="2404415" y="1714843"/>
                </a:lnTo>
                <a:lnTo>
                  <a:pt x="2436647" y="1714843"/>
                </a:lnTo>
                <a:lnTo>
                  <a:pt x="2436647" y="1682610"/>
                </a:lnTo>
                <a:lnTo>
                  <a:pt x="2468880" y="1682610"/>
                </a:lnTo>
                <a:lnTo>
                  <a:pt x="2468880" y="1650378"/>
                </a:lnTo>
                <a:lnTo>
                  <a:pt x="2436647" y="1650378"/>
                </a:lnTo>
                <a:lnTo>
                  <a:pt x="2436647" y="1618145"/>
                </a:lnTo>
                <a:lnTo>
                  <a:pt x="2404415" y="1618145"/>
                </a:lnTo>
                <a:close/>
                <a:moveTo>
                  <a:pt x="2130095" y="1343825"/>
                </a:moveTo>
                <a:lnTo>
                  <a:pt x="2130095" y="1376058"/>
                </a:lnTo>
                <a:lnTo>
                  <a:pt x="2097862" y="1376058"/>
                </a:lnTo>
                <a:lnTo>
                  <a:pt x="2097862" y="1408290"/>
                </a:lnTo>
                <a:lnTo>
                  <a:pt x="2130095" y="1408290"/>
                </a:lnTo>
                <a:lnTo>
                  <a:pt x="2130095" y="1440523"/>
                </a:lnTo>
                <a:lnTo>
                  <a:pt x="2162327" y="1440523"/>
                </a:lnTo>
                <a:lnTo>
                  <a:pt x="2162327" y="1408290"/>
                </a:lnTo>
                <a:lnTo>
                  <a:pt x="2194560" y="1408290"/>
                </a:lnTo>
                <a:lnTo>
                  <a:pt x="2194560" y="1376058"/>
                </a:lnTo>
                <a:lnTo>
                  <a:pt x="2162327" y="1376058"/>
                </a:lnTo>
                <a:lnTo>
                  <a:pt x="2162327" y="1343825"/>
                </a:lnTo>
                <a:lnTo>
                  <a:pt x="2130095" y="1343825"/>
                </a:lnTo>
                <a:close/>
                <a:moveTo>
                  <a:pt x="2335835" y="1480985"/>
                </a:moveTo>
                <a:lnTo>
                  <a:pt x="2335835" y="1513218"/>
                </a:lnTo>
                <a:lnTo>
                  <a:pt x="2303602" y="1513218"/>
                </a:lnTo>
                <a:lnTo>
                  <a:pt x="2303602" y="1545450"/>
                </a:lnTo>
                <a:lnTo>
                  <a:pt x="2335835" y="1545450"/>
                </a:lnTo>
                <a:lnTo>
                  <a:pt x="2335835" y="1577683"/>
                </a:lnTo>
                <a:lnTo>
                  <a:pt x="2368067" y="1577683"/>
                </a:lnTo>
                <a:lnTo>
                  <a:pt x="2368067" y="1545450"/>
                </a:lnTo>
                <a:lnTo>
                  <a:pt x="2400300" y="1545450"/>
                </a:lnTo>
                <a:lnTo>
                  <a:pt x="2400300" y="1513218"/>
                </a:lnTo>
                <a:lnTo>
                  <a:pt x="2368067" y="1513218"/>
                </a:lnTo>
                <a:lnTo>
                  <a:pt x="2368067" y="1480985"/>
                </a:lnTo>
                <a:lnTo>
                  <a:pt x="2335835" y="1480985"/>
                </a:lnTo>
                <a:close/>
                <a:moveTo>
                  <a:pt x="2267255" y="1343825"/>
                </a:moveTo>
                <a:lnTo>
                  <a:pt x="2267255" y="1376058"/>
                </a:lnTo>
                <a:lnTo>
                  <a:pt x="2235022" y="1376058"/>
                </a:lnTo>
                <a:lnTo>
                  <a:pt x="2235022" y="1408290"/>
                </a:lnTo>
                <a:lnTo>
                  <a:pt x="2267255" y="1408290"/>
                </a:lnTo>
                <a:lnTo>
                  <a:pt x="2267255" y="1440523"/>
                </a:lnTo>
                <a:lnTo>
                  <a:pt x="2299487" y="1440523"/>
                </a:lnTo>
                <a:lnTo>
                  <a:pt x="2299487" y="1408290"/>
                </a:lnTo>
                <a:lnTo>
                  <a:pt x="2331720" y="1408290"/>
                </a:lnTo>
                <a:lnTo>
                  <a:pt x="2331720" y="1376058"/>
                </a:lnTo>
                <a:lnTo>
                  <a:pt x="2299487" y="1376058"/>
                </a:lnTo>
                <a:lnTo>
                  <a:pt x="2299487" y="1343825"/>
                </a:lnTo>
                <a:lnTo>
                  <a:pt x="2267255" y="1343825"/>
                </a:lnTo>
                <a:close/>
                <a:moveTo>
                  <a:pt x="2198675" y="1480985"/>
                </a:moveTo>
                <a:lnTo>
                  <a:pt x="2198675" y="1513218"/>
                </a:lnTo>
                <a:lnTo>
                  <a:pt x="2166442" y="1513218"/>
                </a:lnTo>
                <a:lnTo>
                  <a:pt x="2166442" y="1545450"/>
                </a:lnTo>
                <a:lnTo>
                  <a:pt x="2198675" y="1545450"/>
                </a:lnTo>
                <a:lnTo>
                  <a:pt x="2198675" y="1577683"/>
                </a:lnTo>
                <a:lnTo>
                  <a:pt x="2230907" y="1577683"/>
                </a:lnTo>
                <a:lnTo>
                  <a:pt x="2230907" y="1545450"/>
                </a:lnTo>
                <a:lnTo>
                  <a:pt x="2263140" y="1545450"/>
                </a:lnTo>
                <a:lnTo>
                  <a:pt x="2263140" y="1513218"/>
                </a:lnTo>
                <a:lnTo>
                  <a:pt x="2230907" y="1513218"/>
                </a:lnTo>
                <a:lnTo>
                  <a:pt x="2230907" y="1480985"/>
                </a:lnTo>
                <a:lnTo>
                  <a:pt x="2198675" y="1480985"/>
                </a:lnTo>
                <a:close/>
                <a:moveTo>
                  <a:pt x="2678735" y="1618145"/>
                </a:moveTo>
                <a:lnTo>
                  <a:pt x="2678735" y="1650378"/>
                </a:lnTo>
                <a:lnTo>
                  <a:pt x="2646502" y="1650378"/>
                </a:lnTo>
                <a:lnTo>
                  <a:pt x="2646502" y="1682610"/>
                </a:lnTo>
                <a:lnTo>
                  <a:pt x="2678735" y="1682610"/>
                </a:lnTo>
                <a:lnTo>
                  <a:pt x="2678735" y="1714843"/>
                </a:lnTo>
                <a:lnTo>
                  <a:pt x="2710967" y="1714843"/>
                </a:lnTo>
                <a:lnTo>
                  <a:pt x="2710967" y="1682610"/>
                </a:lnTo>
                <a:lnTo>
                  <a:pt x="2743200" y="1682610"/>
                </a:lnTo>
                <a:lnTo>
                  <a:pt x="2743200" y="1650378"/>
                </a:lnTo>
                <a:lnTo>
                  <a:pt x="2710967" y="1650378"/>
                </a:lnTo>
                <a:lnTo>
                  <a:pt x="2710967" y="1618145"/>
                </a:lnTo>
                <a:lnTo>
                  <a:pt x="2678735" y="1618145"/>
                </a:lnTo>
                <a:close/>
                <a:moveTo>
                  <a:pt x="3121076" y="1985391"/>
                </a:moveTo>
                <a:lnTo>
                  <a:pt x="3121076" y="1955559"/>
                </a:lnTo>
                <a:lnTo>
                  <a:pt x="3150908" y="1955559"/>
                </a:lnTo>
                <a:lnTo>
                  <a:pt x="3150908" y="1926069"/>
                </a:lnTo>
                <a:lnTo>
                  <a:pt x="3121076" y="1926069"/>
                </a:lnTo>
                <a:lnTo>
                  <a:pt x="3121076" y="1896237"/>
                </a:lnTo>
                <a:lnTo>
                  <a:pt x="3091586" y="1896237"/>
                </a:lnTo>
                <a:lnTo>
                  <a:pt x="3091586" y="1926069"/>
                </a:lnTo>
                <a:lnTo>
                  <a:pt x="3061754" y="1926069"/>
                </a:lnTo>
                <a:lnTo>
                  <a:pt x="3061754" y="1955559"/>
                </a:lnTo>
                <a:lnTo>
                  <a:pt x="3091586" y="1955559"/>
                </a:lnTo>
                <a:lnTo>
                  <a:pt x="3091586" y="1985391"/>
                </a:lnTo>
                <a:lnTo>
                  <a:pt x="3121076" y="1985391"/>
                </a:lnTo>
                <a:close/>
                <a:moveTo>
                  <a:pt x="3160852" y="1761134"/>
                </a:moveTo>
                <a:lnTo>
                  <a:pt x="3160852" y="1789595"/>
                </a:lnTo>
                <a:lnTo>
                  <a:pt x="3132392" y="1789595"/>
                </a:lnTo>
                <a:lnTo>
                  <a:pt x="3132392" y="1817713"/>
                </a:lnTo>
                <a:lnTo>
                  <a:pt x="3160852" y="1817713"/>
                </a:lnTo>
                <a:lnTo>
                  <a:pt x="3160852" y="1846174"/>
                </a:lnTo>
                <a:lnTo>
                  <a:pt x="3188970" y="1846174"/>
                </a:lnTo>
                <a:lnTo>
                  <a:pt x="3188970" y="1817713"/>
                </a:lnTo>
                <a:lnTo>
                  <a:pt x="3217431" y="1817713"/>
                </a:lnTo>
                <a:lnTo>
                  <a:pt x="3217431" y="1789595"/>
                </a:lnTo>
                <a:lnTo>
                  <a:pt x="3188970" y="1789595"/>
                </a:lnTo>
                <a:lnTo>
                  <a:pt x="3188970" y="1761134"/>
                </a:lnTo>
                <a:lnTo>
                  <a:pt x="3160852" y="1761134"/>
                </a:lnTo>
                <a:close/>
                <a:moveTo>
                  <a:pt x="3091586" y="1622603"/>
                </a:moveTo>
                <a:lnTo>
                  <a:pt x="3091586" y="1651749"/>
                </a:lnTo>
                <a:lnTo>
                  <a:pt x="3062440" y="1651749"/>
                </a:lnTo>
                <a:lnTo>
                  <a:pt x="3062440" y="1681239"/>
                </a:lnTo>
                <a:lnTo>
                  <a:pt x="3091586" y="1681239"/>
                </a:lnTo>
                <a:lnTo>
                  <a:pt x="3091586" y="1710385"/>
                </a:lnTo>
                <a:lnTo>
                  <a:pt x="3121076" y="1710385"/>
                </a:lnTo>
                <a:lnTo>
                  <a:pt x="3121076" y="1681239"/>
                </a:lnTo>
                <a:lnTo>
                  <a:pt x="3150223" y="1681239"/>
                </a:lnTo>
                <a:lnTo>
                  <a:pt x="3150223" y="1651749"/>
                </a:lnTo>
                <a:lnTo>
                  <a:pt x="3121076" y="1651749"/>
                </a:lnTo>
                <a:lnTo>
                  <a:pt x="3121076" y="1622603"/>
                </a:lnTo>
                <a:lnTo>
                  <a:pt x="3091586" y="1622603"/>
                </a:lnTo>
                <a:close/>
                <a:moveTo>
                  <a:pt x="3022321" y="1757705"/>
                </a:moveTo>
                <a:lnTo>
                  <a:pt x="3022321" y="1788224"/>
                </a:lnTo>
                <a:lnTo>
                  <a:pt x="2991803" y="1788224"/>
                </a:lnTo>
                <a:lnTo>
                  <a:pt x="2991803" y="1819085"/>
                </a:lnTo>
                <a:lnTo>
                  <a:pt x="3022321" y="1819085"/>
                </a:lnTo>
                <a:lnTo>
                  <a:pt x="3022321" y="1849603"/>
                </a:lnTo>
                <a:lnTo>
                  <a:pt x="3053182" y="1849603"/>
                </a:lnTo>
                <a:lnTo>
                  <a:pt x="3053182" y="1819085"/>
                </a:lnTo>
                <a:lnTo>
                  <a:pt x="3083700" y="1819085"/>
                </a:lnTo>
                <a:lnTo>
                  <a:pt x="3083700" y="1788224"/>
                </a:lnTo>
                <a:lnTo>
                  <a:pt x="3053182" y="1788224"/>
                </a:lnTo>
                <a:lnTo>
                  <a:pt x="3053182" y="1757705"/>
                </a:lnTo>
                <a:lnTo>
                  <a:pt x="3022321" y="1757705"/>
                </a:lnTo>
                <a:close/>
                <a:moveTo>
                  <a:pt x="2953741" y="1619860"/>
                </a:moveTo>
                <a:lnTo>
                  <a:pt x="2953741" y="1651064"/>
                </a:lnTo>
                <a:lnTo>
                  <a:pt x="2922537" y="1651064"/>
                </a:lnTo>
                <a:lnTo>
                  <a:pt x="2922537" y="1681925"/>
                </a:lnTo>
                <a:lnTo>
                  <a:pt x="2953741" y="1681925"/>
                </a:lnTo>
                <a:lnTo>
                  <a:pt x="2953741" y="1713128"/>
                </a:lnTo>
                <a:lnTo>
                  <a:pt x="2984602" y="1713128"/>
                </a:lnTo>
                <a:lnTo>
                  <a:pt x="2984602" y="1681925"/>
                </a:lnTo>
                <a:lnTo>
                  <a:pt x="3015806" y="1681925"/>
                </a:lnTo>
                <a:lnTo>
                  <a:pt x="3015806" y="1651064"/>
                </a:lnTo>
                <a:lnTo>
                  <a:pt x="2984602" y="1651064"/>
                </a:lnTo>
                <a:lnTo>
                  <a:pt x="2984602" y="1619860"/>
                </a:lnTo>
                <a:lnTo>
                  <a:pt x="2953741" y="1619860"/>
                </a:lnTo>
                <a:close/>
                <a:moveTo>
                  <a:pt x="2884818" y="1482357"/>
                </a:moveTo>
                <a:lnTo>
                  <a:pt x="2884818" y="1513561"/>
                </a:lnTo>
                <a:lnTo>
                  <a:pt x="2853614" y="1513561"/>
                </a:lnTo>
                <a:lnTo>
                  <a:pt x="2853614" y="1545107"/>
                </a:lnTo>
                <a:lnTo>
                  <a:pt x="2884818" y="1545107"/>
                </a:lnTo>
                <a:lnTo>
                  <a:pt x="2884818" y="1576311"/>
                </a:lnTo>
                <a:lnTo>
                  <a:pt x="2916365" y="1576311"/>
                </a:lnTo>
                <a:lnTo>
                  <a:pt x="2916365" y="1545107"/>
                </a:lnTo>
                <a:lnTo>
                  <a:pt x="2947568" y="1545107"/>
                </a:lnTo>
                <a:lnTo>
                  <a:pt x="2947568" y="1513561"/>
                </a:lnTo>
                <a:lnTo>
                  <a:pt x="2916365" y="1513561"/>
                </a:lnTo>
                <a:lnTo>
                  <a:pt x="2916365" y="1482357"/>
                </a:lnTo>
                <a:lnTo>
                  <a:pt x="2884818" y="1482357"/>
                </a:lnTo>
                <a:close/>
                <a:moveTo>
                  <a:pt x="2848127" y="2263483"/>
                </a:moveTo>
                <a:lnTo>
                  <a:pt x="2848127" y="2231250"/>
                </a:lnTo>
                <a:lnTo>
                  <a:pt x="2880360" y="2231250"/>
                </a:lnTo>
                <a:lnTo>
                  <a:pt x="2880360" y="2199018"/>
                </a:lnTo>
                <a:lnTo>
                  <a:pt x="2848127" y="2199018"/>
                </a:lnTo>
                <a:lnTo>
                  <a:pt x="2848127" y="2166785"/>
                </a:lnTo>
                <a:lnTo>
                  <a:pt x="2815895" y="2166785"/>
                </a:lnTo>
                <a:lnTo>
                  <a:pt x="2815895" y="2199018"/>
                </a:lnTo>
                <a:lnTo>
                  <a:pt x="2783662" y="2199018"/>
                </a:lnTo>
                <a:lnTo>
                  <a:pt x="2783662" y="2231250"/>
                </a:lnTo>
                <a:lnTo>
                  <a:pt x="2815895" y="2231250"/>
                </a:lnTo>
                <a:lnTo>
                  <a:pt x="2815895" y="2263483"/>
                </a:lnTo>
                <a:lnTo>
                  <a:pt x="2848127" y="2263483"/>
                </a:lnTo>
                <a:close/>
                <a:moveTo>
                  <a:pt x="2779547" y="2126323"/>
                </a:moveTo>
                <a:lnTo>
                  <a:pt x="2779547" y="2094090"/>
                </a:lnTo>
                <a:lnTo>
                  <a:pt x="2811780" y="2094090"/>
                </a:lnTo>
                <a:lnTo>
                  <a:pt x="2811780" y="2061858"/>
                </a:lnTo>
                <a:lnTo>
                  <a:pt x="2779547" y="2061858"/>
                </a:lnTo>
                <a:lnTo>
                  <a:pt x="2779547" y="2029625"/>
                </a:lnTo>
                <a:lnTo>
                  <a:pt x="2747315" y="2029625"/>
                </a:lnTo>
                <a:lnTo>
                  <a:pt x="2747315" y="2061858"/>
                </a:lnTo>
                <a:lnTo>
                  <a:pt x="2715082" y="2061858"/>
                </a:lnTo>
                <a:lnTo>
                  <a:pt x="2715082" y="2094090"/>
                </a:lnTo>
                <a:lnTo>
                  <a:pt x="2747315" y="2094090"/>
                </a:lnTo>
                <a:lnTo>
                  <a:pt x="2747315" y="2126323"/>
                </a:lnTo>
                <a:lnTo>
                  <a:pt x="2779547" y="2126323"/>
                </a:lnTo>
                <a:close/>
                <a:moveTo>
                  <a:pt x="2984945" y="1988134"/>
                </a:moveTo>
                <a:lnTo>
                  <a:pt x="2984945" y="1956587"/>
                </a:lnTo>
                <a:lnTo>
                  <a:pt x="3016492" y="1956587"/>
                </a:lnTo>
                <a:lnTo>
                  <a:pt x="3016492" y="1925041"/>
                </a:lnTo>
                <a:lnTo>
                  <a:pt x="2984945" y="1925041"/>
                </a:lnTo>
                <a:lnTo>
                  <a:pt x="2984945" y="1893494"/>
                </a:lnTo>
                <a:lnTo>
                  <a:pt x="2953398" y="1893494"/>
                </a:lnTo>
                <a:lnTo>
                  <a:pt x="2953398" y="1925041"/>
                </a:lnTo>
                <a:lnTo>
                  <a:pt x="2921851" y="1925041"/>
                </a:lnTo>
                <a:lnTo>
                  <a:pt x="2921851" y="1956587"/>
                </a:lnTo>
                <a:lnTo>
                  <a:pt x="2953398" y="1956587"/>
                </a:lnTo>
                <a:lnTo>
                  <a:pt x="2953398" y="1988134"/>
                </a:lnTo>
                <a:lnTo>
                  <a:pt x="2984945" y="1988134"/>
                </a:lnTo>
                <a:close/>
                <a:moveTo>
                  <a:pt x="3053182" y="2123923"/>
                </a:moveTo>
                <a:lnTo>
                  <a:pt x="3053182" y="2093405"/>
                </a:lnTo>
                <a:lnTo>
                  <a:pt x="3083700" y="2093405"/>
                </a:lnTo>
                <a:lnTo>
                  <a:pt x="3083700" y="2062544"/>
                </a:lnTo>
                <a:lnTo>
                  <a:pt x="3053182" y="2062544"/>
                </a:lnTo>
                <a:lnTo>
                  <a:pt x="3053182" y="2032025"/>
                </a:lnTo>
                <a:lnTo>
                  <a:pt x="3022321" y="2032025"/>
                </a:lnTo>
                <a:lnTo>
                  <a:pt x="3022321" y="2062544"/>
                </a:lnTo>
                <a:lnTo>
                  <a:pt x="2991803" y="2062544"/>
                </a:lnTo>
                <a:lnTo>
                  <a:pt x="2991803" y="2093405"/>
                </a:lnTo>
                <a:lnTo>
                  <a:pt x="3022321" y="2093405"/>
                </a:lnTo>
                <a:lnTo>
                  <a:pt x="3022321" y="2123923"/>
                </a:lnTo>
                <a:lnTo>
                  <a:pt x="3053182" y="2123923"/>
                </a:lnTo>
                <a:close/>
                <a:moveTo>
                  <a:pt x="2916707" y="2126323"/>
                </a:moveTo>
                <a:lnTo>
                  <a:pt x="2916707" y="2094090"/>
                </a:lnTo>
                <a:lnTo>
                  <a:pt x="2948940" y="2094090"/>
                </a:lnTo>
                <a:lnTo>
                  <a:pt x="2948940" y="2061858"/>
                </a:lnTo>
                <a:lnTo>
                  <a:pt x="2916707" y="2061858"/>
                </a:lnTo>
                <a:lnTo>
                  <a:pt x="2916707" y="2029625"/>
                </a:lnTo>
                <a:lnTo>
                  <a:pt x="2884475" y="2029625"/>
                </a:lnTo>
                <a:lnTo>
                  <a:pt x="2884475" y="2061858"/>
                </a:lnTo>
                <a:lnTo>
                  <a:pt x="2852242" y="2061858"/>
                </a:lnTo>
                <a:lnTo>
                  <a:pt x="2852242" y="2094090"/>
                </a:lnTo>
                <a:lnTo>
                  <a:pt x="2884475" y="2094090"/>
                </a:lnTo>
                <a:lnTo>
                  <a:pt x="2884475" y="2126323"/>
                </a:lnTo>
                <a:lnTo>
                  <a:pt x="2916707" y="2126323"/>
                </a:lnTo>
                <a:close/>
                <a:moveTo>
                  <a:pt x="2404415" y="1343825"/>
                </a:moveTo>
                <a:lnTo>
                  <a:pt x="2404415" y="1376058"/>
                </a:lnTo>
                <a:lnTo>
                  <a:pt x="2372182" y="1376058"/>
                </a:lnTo>
                <a:lnTo>
                  <a:pt x="2372182" y="1408290"/>
                </a:lnTo>
                <a:lnTo>
                  <a:pt x="2404415" y="1408290"/>
                </a:lnTo>
                <a:lnTo>
                  <a:pt x="2404415" y="1440523"/>
                </a:lnTo>
                <a:lnTo>
                  <a:pt x="2436647" y="1440523"/>
                </a:lnTo>
                <a:lnTo>
                  <a:pt x="2436647" y="1408290"/>
                </a:lnTo>
                <a:lnTo>
                  <a:pt x="2468880" y="1408290"/>
                </a:lnTo>
                <a:lnTo>
                  <a:pt x="2468880" y="1376058"/>
                </a:lnTo>
                <a:lnTo>
                  <a:pt x="2436647" y="1376058"/>
                </a:lnTo>
                <a:lnTo>
                  <a:pt x="2436647" y="1343825"/>
                </a:lnTo>
                <a:lnTo>
                  <a:pt x="2404415" y="1343825"/>
                </a:lnTo>
                <a:close/>
                <a:moveTo>
                  <a:pt x="2335835" y="1206665"/>
                </a:moveTo>
                <a:lnTo>
                  <a:pt x="2335835" y="1238898"/>
                </a:lnTo>
                <a:lnTo>
                  <a:pt x="2303602" y="1238898"/>
                </a:lnTo>
                <a:lnTo>
                  <a:pt x="2303602" y="1271130"/>
                </a:lnTo>
                <a:lnTo>
                  <a:pt x="2335835" y="1271130"/>
                </a:lnTo>
                <a:lnTo>
                  <a:pt x="2335835" y="1303363"/>
                </a:lnTo>
                <a:lnTo>
                  <a:pt x="2368067" y="1303363"/>
                </a:lnTo>
                <a:lnTo>
                  <a:pt x="2368067" y="1271130"/>
                </a:lnTo>
                <a:lnTo>
                  <a:pt x="2400300" y="1271130"/>
                </a:lnTo>
                <a:lnTo>
                  <a:pt x="2400300" y="1238898"/>
                </a:lnTo>
                <a:lnTo>
                  <a:pt x="2368067" y="1238898"/>
                </a:lnTo>
                <a:lnTo>
                  <a:pt x="2368067" y="1206665"/>
                </a:lnTo>
                <a:lnTo>
                  <a:pt x="2335835" y="1206665"/>
                </a:lnTo>
                <a:close/>
                <a:moveTo>
                  <a:pt x="2472995" y="1206665"/>
                </a:moveTo>
                <a:lnTo>
                  <a:pt x="2472995" y="1238898"/>
                </a:lnTo>
                <a:lnTo>
                  <a:pt x="2440762" y="1238898"/>
                </a:lnTo>
                <a:lnTo>
                  <a:pt x="2440762" y="1271130"/>
                </a:lnTo>
                <a:lnTo>
                  <a:pt x="2472995" y="1271130"/>
                </a:lnTo>
                <a:lnTo>
                  <a:pt x="2472995" y="1303363"/>
                </a:lnTo>
                <a:lnTo>
                  <a:pt x="2505227" y="1303363"/>
                </a:lnTo>
                <a:lnTo>
                  <a:pt x="2505227" y="1271130"/>
                </a:lnTo>
                <a:lnTo>
                  <a:pt x="2537460" y="1271130"/>
                </a:lnTo>
                <a:lnTo>
                  <a:pt x="2537460" y="1238898"/>
                </a:lnTo>
                <a:lnTo>
                  <a:pt x="2505227" y="1238898"/>
                </a:lnTo>
                <a:lnTo>
                  <a:pt x="2505227" y="1206665"/>
                </a:lnTo>
                <a:lnTo>
                  <a:pt x="2472995" y="1206665"/>
                </a:lnTo>
                <a:close/>
                <a:moveTo>
                  <a:pt x="2816238" y="1345197"/>
                </a:moveTo>
                <a:lnTo>
                  <a:pt x="2816238" y="1376401"/>
                </a:lnTo>
                <a:lnTo>
                  <a:pt x="2785034" y="1376401"/>
                </a:lnTo>
                <a:lnTo>
                  <a:pt x="2785034" y="1407947"/>
                </a:lnTo>
                <a:lnTo>
                  <a:pt x="2816238" y="1407947"/>
                </a:lnTo>
                <a:lnTo>
                  <a:pt x="2816238" y="1439151"/>
                </a:lnTo>
                <a:lnTo>
                  <a:pt x="2847785" y="1439151"/>
                </a:lnTo>
                <a:lnTo>
                  <a:pt x="2847785" y="1407947"/>
                </a:lnTo>
                <a:lnTo>
                  <a:pt x="2878988" y="1407947"/>
                </a:lnTo>
                <a:lnTo>
                  <a:pt x="2878988" y="1376401"/>
                </a:lnTo>
                <a:lnTo>
                  <a:pt x="2847785" y="1376401"/>
                </a:lnTo>
                <a:lnTo>
                  <a:pt x="2847785" y="1345197"/>
                </a:lnTo>
                <a:lnTo>
                  <a:pt x="2816238" y="1345197"/>
                </a:lnTo>
                <a:close/>
                <a:moveTo>
                  <a:pt x="2267255" y="1069505"/>
                </a:moveTo>
                <a:lnTo>
                  <a:pt x="2267255" y="1101738"/>
                </a:lnTo>
                <a:lnTo>
                  <a:pt x="2235022" y="1101738"/>
                </a:lnTo>
                <a:lnTo>
                  <a:pt x="2235022" y="1133970"/>
                </a:lnTo>
                <a:lnTo>
                  <a:pt x="2267255" y="1133970"/>
                </a:lnTo>
                <a:lnTo>
                  <a:pt x="2267255" y="1166203"/>
                </a:lnTo>
                <a:lnTo>
                  <a:pt x="2299487" y="1166203"/>
                </a:lnTo>
                <a:lnTo>
                  <a:pt x="2299487" y="1133970"/>
                </a:lnTo>
                <a:lnTo>
                  <a:pt x="2331720" y="1133970"/>
                </a:lnTo>
                <a:lnTo>
                  <a:pt x="2331720" y="1101738"/>
                </a:lnTo>
                <a:lnTo>
                  <a:pt x="2299487" y="1101738"/>
                </a:lnTo>
                <a:lnTo>
                  <a:pt x="2299487" y="1069505"/>
                </a:lnTo>
                <a:lnTo>
                  <a:pt x="2267255" y="1069505"/>
                </a:lnTo>
                <a:close/>
                <a:moveTo>
                  <a:pt x="2541575" y="1343825"/>
                </a:moveTo>
                <a:lnTo>
                  <a:pt x="2541575" y="1376058"/>
                </a:lnTo>
                <a:lnTo>
                  <a:pt x="2509342" y="1376058"/>
                </a:lnTo>
                <a:lnTo>
                  <a:pt x="2509342" y="1408290"/>
                </a:lnTo>
                <a:lnTo>
                  <a:pt x="2541575" y="1408290"/>
                </a:lnTo>
                <a:lnTo>
                  <a:pt x="2541575" y="1440523"/>
                </a:lnTo>
                <a:lnTo>
                  <a:pt x="2573807" y="1440523"/>
                </a:lnTo>
                <a:lnTo>
                  <a:pt x="2573807" y="1408290"/>
                </a:lnTo>
                <a:lnTo>
                  <a:pt x="2606040" y="1408290"/>
                </a:lnTo>
                <a:lnTo>
                  <a:pt x="2606040" y="1376058"/>
                </a:lnTo>
                <a:lnTo>
                  <a:pt x="2573807" y="1376058"/>
                </a:lnTo>
                <a:lnTo>
                  <a:pt x="2573807" y="1343825"/>
                </a:lnTo>
                <a:lnTo>
                  <a:pt x="2541575" y="1343825"/>
                </a:lnTo>
                <a:close/>
                <a:moveTo>
                  <a:pt x="2678735" y="1343825"/>
                </a:moveTo>
                <a:lnTo>
                  <a:pt x="2678735" y="1376058"/>
                </a:lnTo>
                <a:lnTo>
                  <a:pt x="2646502" y="1376058"/>
                </a:lnTo>
                <a:lnTo>
                  <a:pt x="2646502" y="1408290"/>
                </a:lnTo>
                <a:lnTo>
                  <a:pt x="2678735" y="1408290"/>
                </a:lnTo>
                <a:lnTo>
                  <a:pt x="2678735" y="1440523"/>
                </a:lnTo>
                <a:lnTo>
                  <a:pt x="2710967" y="1440523"/>
                </a:lnTo>
                <a:lnTo>
                  <a:pt x="2710967" y="1408290"/>
                </a:lnTo>
                <a:lnTo>
                  <a:pt x="2743200" y="1408290"/>
                </a:lnTo>
                <a:lnTo>
                  <a:pt x="2743200" y="1376058"/>
                </a:lnTo>
                <a:lnTo>
                  <a:pt x="2710967" y="1376058"/>
                </a:lnTo>
                <a:lnTo>
                  <a:pt x="2710967" y="1343825"/>
                </a:lnTo>
                <a:lnTo>
                  <a:pt x="2678735" y="1343825"/>
                </a:lnTo>
                <a:close/>
                <a:moveTo>
                  <a:pt x="2747315" y="1480985"/>
                </a:moveTo>
                <a:lnTo>
                  <a:pt x="2747315" y="1513218"/>
                </a:lnTo>
                <a:lnTo>
                  <a:pt x="2715082" y="1513218"/>
                </a:lnTo>
                <a:lnTo>
                  <a:pt x="2715082" y="1545450"/>
                </a:lnTo>
                <a:lnTo>
                  <a:pt x="2747315" y="1545450"/>
                </a:lnTo>
                <a:lnTo>
                  <a:pt x="2747315" y="1577683"/>
                </a:lnTo>
                <a:lnTo>
                  <a:pt x="2779547" y="1577683"/>
                </a:lnTo>
                <a:lnTo>
                  <a:pt x="2779547" y="1545450"/>
                </a:lnTo>
                <a:lnTo>
                  <a:pt x="2811780" y="1545450"/>
                </a:lnTo>
                <a:lnTo>
                  <a:pt x="2811780" y="1513218"/>
                </a:lnTo>
                <a:lnTo>
                  <a:pt x="2779547" y="1513218"/>
                </a:lnTo>
                <a:lnTo>
                  <a:pt x="2779547" y="1480985"/>
                </a:lnTo>
                <a:lnTo>
                  <a:pt x="2747315" y="1480985"/>
                </a:lnTo>
                <a:close/>
                <a:moveTo>
                  <a:pt x="2610155" y="1206665"/>
                </a:moveTo>
                <a:lnTo>
                  <a:pt x="2610155" y="1238898"/>
                </a:lnTo>
                <a:lnTo>
                  <a:pt x="2577922" y="1238898"/>
                </a:lnTo>
                <a:lnTo>
                  <a:pt x="2577922" y="1271130"/>
                </a:lnTo>
                <a:lnTo>
                  <a:pt x="2610155" y="1271130"/>
                </a:lnTo>
                <a:lnTo>
                  <a:pt x="2610155" y="1303363"/>
                </a:lnTo>
                <a:lnTo>
                  <a:pt x="2642387" y="1303363"/>
                </a:lnTo>
                <a:lnTo>
                  <a:pt x="2642387" y="1271130"/>
                </a:lnTo>
                <a:lnTo>
                  <a:pt x="2674620" y="1271130"/>
                </a:lnTo>
                <a:lnTo>
                  <a:pt x="2674620" y="1238898"/>
                </a:lnTo>
                <a:lnTo>
                  <a:pt x="2642387" y="1238898"/>
                </a:lnTo>
                <a:lnTo>
                  <a:pt x="2642387" y="1206665"/>
                </a:lnTo>
                <a:lnTo>
                  <a:pt x="2610155" y="1206665"/>
                </a:lnTo>
                <a:close/>
                <a:moveTo>
                  <a:pt x="2025167" y="2537803"/>
                </a:moveTo>
                <a:lnTo>
                  <a:pt x="2025167" y="2505570"/>
                </a:lnTo>
                <a:lnTo>
                  <a:pt x="2057400" y="2505570"/>
                </a:lnTo>
                <a:lnTo>
                  <a:pt x="2057400" y="2473338"/>
                </a:lnTo>
                <a:lnTo>
                  <a:pt x="2025167" y="2473338"/>
                </a:lnTo>
                <a:lnTo>
                  <a:pt x="2025167" y="2441105"/>
                </a:lnTo>
                <a:lnTo>
                  <a:pt x="1992935" y="2441105"/>
                </a:lnTo>
                <a:lnTo>
                  <a:pt x="1992935" y="2473338"/>
                </a:lnTo>
                <a:lnTo>
                  <a:pt x="1960702" y="2473338"/>
                </a:lnTo>
                <a:lnTo>
                  <a:pt x="1960702" y="2505570"/>
                </a:lnTo>
                <a:lnTo>
                  <a:pt x="1992935" y="2505570"/>
                </a:lnTo>
                <a:lnTo>
                  <a:pt x="1992935" y="2537803"/>
                </a:lnTo>
                <a:lnTo>
                  <a:pt x="2025167" y="2537803"/>
                </a:lnTo>
                <a:close/>
                <a:moveTo>
                  <a:pt x="1819427" y="2400643"/>
                </a:moveTo>
                <a:lnTo>
                  <a:pt x="1819427" y="2368410"/>
                </a:lnTo>
                <a:lnTo>
                  <a:pt x="1851660" y="2368410"/>
                </a:lnTo>
                <a:lnTo>
                  <a:pt x="1851660" y="2336178"/>
                </a:lnTo>
                <a:lnTo>
                  <a:pt x="1819427" y="2336178"/>
                </a:lnTo>
                <a:lnTo>
                  <a:pt x="1819427" y="2303945"/>
                </a:lnTo>
                <a:lnTo>
                  <a:pt x="1787195" y="2303945"/>
                </a:lnTo>
                <a:lnTo>
                  <a:pt x="1787195" y="2336178"/>
                </a:lnTo>
                <a:lnTo>
                  <a:pt x="1754962" y="2336178"/>
                </a:lnTo>
                <a:lnTo>
                  <a:pt x="1754962" y="2368410"/>
                </a:lnTo>
                <a:lnTo>
                  <a:pt x="1787195" y="2368410"/>
                </a:lnTo>
                <a:lnTo>
                  <a:pt x="1787195" y="2400643"/>
                </a:lnTo>
                <a:lnTo>
                  <a:pt x="1819427" y="2400643"/>
                </a:lnTo>
                <a:close/>
                <a:moveTo>
                  <a:pt x="2710967" y="2263483"/>
                </a:moveTo>
                <a:lnTo>
                  <a:pt x="2710967" y="2231250"/>
                </a:lnTo>
                <a:lnTo>
                  <a:pt x="2743200" y="2231250"/>
                </a:lnTo>
                <a:lnTo>
                  <a:pt x="2743200" y="2199018"/>
                </a:lnTo>
                <a:lnTo>
                  <a:pt x="2710967" y="2199018"/>
                </a:lnTo>
                <a:lnTo>
                  <a:pt x="2710967" y="2166785"/>
                </a:lnTo>
                <a:lnTo>
                  <a:pt x="2678735" y="2166785"/>
                </a:lnTo>
                <a:lnTo>
                  <a:pt x="2678735" y="2199018"/>
                </a:lnTo>
                <a:lnTo>
                  <a:pt x="2646502" y="2199018"/>
                </a:lnTo>
                <a:lnTo>
                  <a:pt x="2646502" y="2231250"/>
                </a:lnTo>
                <a:lnTo>
                  <a:pt x="2678735" y="2231250"/>
                </a:lnTo>
                <a:lnTo>
                  <a:pt x="2678735" y="2263483"/>
                </a:lnTo>
                <a:lnTo>
                  <a:pt x="2710967" y="2263483"/>
                </a:lnTo>
                <a:close/>
                <a:moveTo>
                  <a:pt x="1956587" y="2400643"/>
                </a:moveTo>
                <a:lnTo>
                  <a:pt x="1956587" y="2368410"/>
                </a:lnTo>
                <a:lnTo>
                  <a:pt x="1988820" y="2368410"/>
                </a:lnTo>
                <a:lnTo>
                  <a:pt x="1988820" y="2336178"/>
                </a:lnTo>
                <a:lnTo>
                  <a:pt x="1956587" y="2336178"/>
                </a:lnTo>
                <a:lnTo>
                  <a:pt x="1956587" y="2303945"/>
                </a:lnTo>
                <a:lnTo>
                  <a:pt x="1924355" y="2303945"/>
                </a:lnTo>
                <a:lnTo>
                  <a:pt x="1924355" y="2336178"/>
                </a:lnTo>
                <a:lnTo>
                  <a:pt x="1892122" y="2336178"/>
                </a:lnTo>
                <a:lnTo>
                  <a:pt x="1892122" y="2368410"/>
                </a:lnTo>
                <a:lnTo>
                  <a:pt x="1924355" y="2368410"/>
                </a:lnTo>
                <a:lnTo>
                  <a:pt x="1924355" y="2400643"/>
                </a:lnTo>
                <a:lnTo>
                  <a:pt x="1956587" y="2400643"/>
                </a:lnTo>
                <a:close/>
                <a:moveTo>
                  <a:pt x="1750847" y="2537803"/>
                </a:moveTo>
                <a:lnTo>
                  <a:pt x="1750847" y="2505570"/>
                </a:lnTo>
                <a:lnTo>
                  <a:pt x="1783080" y="2505570"/>
                </a:lnTo>
                <a:lnTo>
                  <a:pt x="1783080" y="2473338"/>
                </a:lnTo>
                <a:lnTo>
                  <a:pt x="1750847" y="2473338"/>
                </a:lnTo>
                <a:lnTo>
                  <a:pt x="1750847" y="2441105"/>
                </a:lnTo>
                <a:lnTo>
                  <a:pt x="1718615" y="2441105"/>
                </a:lnTo>
                <a:lnTo>
                  <a:pt x="1718615" y="2473338"/>
                </a:lnTo>
                <a:lnTo>
                  <a:pt x="1686382" y="2473338"/>
                </a:lnTo>
                <a:lnTo>
                  <a:pt x="1686382" y="2505570"/>
                </a:lnTo>
                <a:lnTo>
                  <a:pt x="1718615" y="2505570"/>
                </a:lnTo>
                <a:lnTo>
                  <a:pt x="1718615" y="2537803"/>
                </a:lnTo>
                <a:lnTo>
                  <a:pt x="1750847" y="2537803"/>
                </a:lnTo>
                <a:close/>
                <a:moveTo>
                  <a:pt x="1476527" y="2263483"/>
                </a:moveTo>
                <a:lnTo>
                  <a:pt x="1476527" y="2231250"/>
                </a:lnTo>
                <a:lnTo>
                  <a:pt x="1508760" y="2231250"/>
                </a:lnTo>
                <a:lnTo>
                  <a:pt x="1508760" y="2199018"/>
                </a:lnTo>
                <a:lnTo>
                  <a:pt x="1476527" y="2199018"/>
                </a:lnTo>
                <a:lnTo>
                  <a:pt x="1476527" y="2166785"/>
                </a:lnTo>
                <a:lnTo>
                  <a:pt x="1444295" y="2166785"/>
                </a:lnTo>
                <a:lnTo>
                  <a:pt x="1444295" y="2199018"/>
                </a:lnTo>
                <a:lnTo>
                  <a:pt x="1412062" y="2199018"/>
                </a:lnTo>
                <a:lnTo>
                  <a:pt x="1412062" y="2231250"/>
                </a:lnTo>
                <a:lnTo>
                  <a:pt x="1444295" y="2231250"/>
                </a:lnTo>
                <a:lnTo>
                  <a:pt x="1444295" y="2263483"/>
                </a:lnTo>
                <a:lnTo>
                  <a:pt x="1476527" y="2263483"/>
                </a:lnTo>
                <a:close/>
                <a:moveTo>
                  <a:pt x="1545107" y="2400643"/>
                </a:moveTo>
                <a:lnTo>
                  <a:pt x="1545107" y="2368410"/>
                </a:lnTo>
                <a:lnTo>
                  <a:pt x="1577340" y="2368410"/>
                </a:lnTo>
                <a:lnTo>
                  <a:pt x="1577340" y="2336178"/>
                </a:lnTo>
                <a:lnTo>
                  <a:pt x="1545107" y="2336178"/>
                </a:lnTo>
                <a:lnTo>
                  <a:pt x="1545107" y="2303945"/>
                </a:lnTo>
                <a:lnTo>
                  <a:pt x="1512875" y="2303945"/>
                </a:lnTo>
                <a:lnTo>
                  <a:pt x="1512875" y="2336178"/>
                </a:lnTo>
                <a:lnTo>
                  <a:pt x="1480642" y="2336178"/>
                </a:lnTo>
                <a:lnTo>
                  <a:pt x="1480642" y="2368410"/>
                </a:lnTo>
                <a:lnTo>
                  <a:pt x="1512875" y="2368410"/>
                </a:lnTo>
                <a:lnTo>
                  <a:pt x="1512875" y="2400643"/>
                </a:lnTo>
                <a:lnTo>
                  <a:pt x="1545107" y="2400643"/>
                </a:lnTo>
                <a:close/>
                <a:moveTo>
                  <a:pt x="1407947" y="2400643"/>
                </a:moveTo>
                <a:lnTo>
                  <a:pt x="1407947" y="2368410"/>
                </a:lnTo>
                <a:lnTo>
                  <a:pt x="1440180" y="2368410"/>
                </a:lnTo>
                <a:lnTo>
                  <a:pt x="1440180" y="2336178"/>
                </a:lnTo>
                <a:lnTo>
                  <a:pt x="1407947" y="2336178"/>
                </a:lnTo>
                <a:lnTo>
                  <a:pt x="1407947" y="2303945"/>
                </a:lnTo>
                <a:lnTo>
                  <a:pt x="1375715" y="2303945"/>
                </a:lnTo>
                <a:lnTo>
                  <a:pt x="1375715" y="2336178"/>
                </a:lnTo>
                <a:lnTo>
                  <a:pt x="1343482" y="2336178"/>
                </a:lnTo>
                <a:lnTo>
                  <a:pt x="1343482" y="2368410"/>
                </a:lnTo>
                <a:lnTo>
                  <a:pt x="1375715" y="2368410"/>
                </a:lnTo>
                <a:lnTo>
                  <a:pt x="1375715" y="2400643"/>
                </a:lnTo>
                <a:lnTo>
                  <a:pt x="1407947" y="2400643"/>
                </a:lnTo>
                <a:close/>
                <a:moveTo>
                  <a:pt x="1613687" y="2537803"/>
                </a:moveTo>
                <a:lnTo>
                  <a:pt x="1613687" y="2505570"/>
                </a:lnTo>
                <a:lnTo>
                  <a:pt x="1645920" y="2505570"/>
                </a:lnTo>
                <a:lnTo>
                  <a:pt x="1645920" y="2473338"/>
                </a:lnTo>
                <a:lnTo>
                  <a:pt x="1613687" y="2473338"/>
                </a:lnTo>
                <a:lnTo>
                  <a:pt x="1613687" y="2441105"/>
                </a:lnTo>
                <a:lnTo>
                  <a:pt x="1581455" y="2441105"/>
                </a:lnTo>
                <a:lnTo>
                  <a:pt x="1581455" y="2473338"/>
                </a:lnTo>
                <a:lnTo>
                  <a:pt x="1549222" y="2473338"/>
                </a:lnTo>
                <a:lnTo>
                  <a:pt x="1549222" y="2505570"/>
                </a:lnTo>
                <a:lnTo>
                  <a:pt x="1581455" y="2505570"/>
                </a:lnTo>
                <a:lnTo>
                  <a:pt x="1581455" y="2537803"/>
                </a:lnTo>
                <a:lnTo>
                  <a:pt x="1613687" y="2537803"/>
                </a:lnTo>
                <a:close/>
                <a:moveTo>
                  <a:pt x="1682267" y="2400643"/>
                </a:moveTo>
                <a:lnTo>
                  <a:pt x="1682267" y="2368410"/>
                </a:lnTo>
                <a:lnTo>
                  <a:pt x="1714500" y="2368410"/>
                </a:lnTo>
                <a:lnTo>
                  <a:pt x="1714500" y="2336178"/>
                </a:lnTo>
                <a:lnTo>
                  <a:pt x="1682267" y="2336178"/>
                </a:lnTo>
                <a:lnTo>
                  <a:pt x="1682267" y="2303945"/>
                </a:lnTo>
                <a:lnTo>
                  <a:pt x="1650035" y="2303945"/>
                </a:lnTo>
                <a:lnTo>
                  <a:pt x="1650035" y="2336178"/>
                </a:lnTo>
                <a:lnTo>
                  <a:pt x="1617802" y="2336178"/>
                </a:lnTo>
                <a:lnTo>
                  <a:pt x="1617802" y="2368410"/>
                </a:lnTo>
                <a:lnTo>
                  <a:pt x="1650035" y="2368410"/>
                </a:lnTo>
                <a:lnTo>
                  <a:pt x="1650035" y="2400643"/>
                </a:lnTo>
                <a:lnTo>
                  <a:pt x="1682267" y="2400643"/>
                </a:lnTo>
                <a:close/>
                <a:moveTo>
                  <a:pt x="1888007" y="2537803"/>
                </a:moveTo>
                <a:lnTo>
                  <a:pt x="1888007" y="2505570"/>
                </a:lnTo>
                <a:lnTo>
                  <a:pt x="1920240" y="2505570"/>
                </a:lnTo>
                <a:lnTo>
                  <a:pt x="1920240" y="2473338"/>
                </a:lnTo>
                <a:lnTo>
                  <a:pt x="1888007" y="2473338"/>
                </a:lnTo>
                <a:lnTo>
                  <a:pt x="1888007" y="2441105"/>
                </a:lnTo>
                <a:lnTo>
                  <a:pt x="1855775" y="2441105"/>
                </a:lnTo>
                <a:lnTo>
                  <a:pt x="1855775" y="2473338"/>
                </a:lnTo>
                <a:lnTo>
                  <a:pt x="1823542" y="2473338"/>
                </a:lnTo>
                <a:lnTo>
                  <a:pt x="1823542" y="2505570"/>
                </a:lnTo>
                <a:lnTo>
                  <a:pt x="1855775" y="2505570"/>
                </a:lnTo>
                <a:lnTo>
                  <a:pt x="1855775" y="2537803"/>
                </a:lnTo>
                <a:lnTo>
                  <a:pt x="1888007" y="2537803"/>
                </a:lnTo>
                <a:close/>
                <a:moveTo>
                  <a:pt x="2505227" y="2400643"/>
                </a:moveTo>
                <a:lnTo>
                  <a:pt x="2505227" y="2368410"/>
                </a:lnTo>
                <a:lnTo>
                  <a:pt x="2537460" y="2368410"/>
                </a:lnTo>
                <a:lnTo>
                  <a:pt x="2537460" y="2336178"/>
                </a:lnTo>
                <a:lnTo>
                  <a:pt x="2505227" y="2336178"/>
                </a:lnTo>
                <a:lnTo>
                  <a:pt x="2505227" y="2303945"/>
                </a:lnTo>
                <a:lnTo>
                  <a:pt x="2472995" y="2303945"/>
                </a:lnTo>
                <a:lnTo>
                  <a:pt x="2472995" y="2336178"/>
                </a:lnTo>
                <a:lnTo>
                  <a:pt x="2440762" y="2336178"/>
                </a:lnTo>
                <a:lnTo>
                  <a:pt x="2440762" y="2368410"/>
                </a:lnTo>
                <a:lnTo>
                  <a:pt x="2472995" y="2368410"/>
                </a:lnTo>
                <a:lnTo>
                  <a:pt x="2472995" y="2400643"/>
                </a:lnTo>
                <a:lnTo>
                  <a:pt x="2505227" y="2400643"/>
                </a:lnTo>
                <a:close/>
                <a:moveTo>
                  <a:pt x="2573807" y="2263483"/>
                </a:moveTo>
                <a:lnTo>
                  <a:pt x="2573807" y="2231250"/>
                </a:lnTo>
                <a:lnTo>
                  <a:pt x="2606040" y="2231250"/>
                </a:lnTo>
                <a:lnTo>
                  <a:pt x="2606040" y="2199018"/>
                </a:lnTo>
                <a:lnTo>
                  <a:pt x="2573807" y="2199018"/>
                </a:lnTo>
                <a:lnTo>
                  <a:pt x="2573807" y="2166785"/>
                </a:lnTo>
                <a:lnTo>
                  <a:pt x="2541575" y="2166785"/>
                </a:lnTo>
                <a:lnTo>
                  <a:pt x="2541575" y="2199018"/>
                </a:lnTo>
                <a:lnTo>
                  <a:pt x="2509342" y="2199018"/>
                </a:lnTo>
                <a:lnTo>
                  <a:pt x="2509342" y="2231250"/>
                </a:lnTo>
                <a:lnTo>
                  <a:pt x="2541575" y="2231250"/>
                </a:lnTo>
                <a:lnTo>
                  <a:pt x="2541575" y="2263483"/>
                </a:lnTo>
                <a:lnTo>
                  <a:pt x="2573807" y="2263483"/>
                </a:lnTo>
                <a:close/>
                <a:moveTo>
                  <a:pt x="2642387" y="2400643"/>
                </a:moveTo>
                <a:lnTo>
                  <a:pt x="2642387" y="2368410"/>
                </a:lnTo>
                <a:lnTo>
                  <a:pt x="2674620" y="2368410"/>
                </a:lnTo>
                <a:lnTo>
                  <a:pt x="2674620" y="2336178"/>
                </a:lnTo>
                <a:lnTo>
                  <a:pt x="2642387" y="2336178"/>
                </a:lnTo>
                <a:lnTo>
                  <a:pt x="2642387" y="2303945"/>
                </a:lnTo>
                <a:lnTo>
                  <a:pt x="2610155" y="2303945"/>
                </a:lnTo>
                <a:lnTo>
                  <a:pt x="2610155" y="2336178"/>
                </a:lnTo>
                <a:lnTo>
                  <a:pt x="2577922" y="2336178"/>
                </a:lnTo>
                <a:lnTo>
                  <a:pt x="2577922" y="2368410"/>
                </a:lnTo>
                <a:lnTo>
                  <a:pt x="2610155" y="2368410"/>
                </a:lnTo>
                <a:lnTo>
                  <a:pt x="2610155" y="2400643"/>
                </a:lnTo>
                <a:lnTo>
                  <a:pt x="2642387" y="2400643"/>
                </a:lnTo>
                <a:close/>
                <a:moveTo>
                  <a:pt x="2436647" y="2537803"/>
                </a:moveTo>
                <a:lnTo>
                  <a:pt x="2436647" y="2505570"/>
                </a:lnTo>
                <a:lnTo>
                  <a:pt x="2468880" y="2505570"/>
                </a:lnTo>
                <a:lnTo>
                  <a:pt x="2468880" y="2473338"/>
                </a:lnTo>
                <a:lnTo>
                  <a:pt x="2436647" y="2473338"/>
                </a:lnTo>
                <a:lnTo>
                  <a:pt x="2436647" y="2441105"/>
                </a:lnTo>
                <a:lnTo>
                  <a:pt x="2404415" y="2441105"/>
                </a:lnTo>
                <a:lnTo>
                  <a:pt x="2404415" y="2473338"/>
                </a:lnTo>
                <a:lnTo>
                  <a:pt x="2372182" y="2473338"/>
                </a:lnTo>
                <a:lnTo>
                  <a:pt x="2372182" y="2505570"/>
                </a:lnTo>
                <a:lnTo>
                  <a:pt x="2404415" y="2505570"/>
                </a:lnTo>
                <a:lnTo>
                  <a:pt x="2404415" y="2537803"/>
                </a:lnTo>
                <a:lnTo>
                  <a:pt x="2436647" y="2537803"/>
                </a:lnTo>
                <a:close/>
                <a:moveTo>
                  <a:pt x="2299487" y="2537803"/>
                </a:moveTo>
                <a:lnTo>
                  <a:pt x="2299487" y="2505570"/>
                </a:lnTo>
                <a:lnTo>
                  <a:pt x="2331720" y="2505570"/>
                </a:lnTo>
                <a:lnTo>
                  <a:pt x="2331720" y="2473338"/>
                </a:lnTo>
                <a:lnTo>
                  <a:pt x="2299487" y="2473338"/>
                </a:lnTo>
                <a:lnTo>
                  <a:pt x="2299487" y="2441105"/>
                </a:lnTo>
                <a:lnTo>
                  <a:pt x="2267255" y="2441105"/>
                </a:lnTo>
                <a:lnTo>
                  <a:pt x="2267255" y="2473338"/>
                </a:lnTo>
                <a:lnTo>
                  <a:pt x="2235022" y="2473338"/>
                </a:lnTo>
                <a:lnTo>
                  <a:pt x="2235022" y="2505570"/>
                </a:lnTo>
                <a:lnTo>
                  <a:pt x="2267255" y="2505570"/>
                </a:lnTo>
                <a:lnTo>
                  <a:pt x="2267255" y="2537803"/>
                </a:lnTo>
                <a:lnTo>
                  <a:pt x="2299487" y="2537803"/>
                </a:lnTo>
                <a:close/>
                <a:moveTo>
                  <a:pt x="2230907" y="2400643"/>
                </a:moveTo>
                <a:lnTo>
                  <a:pt x="2230907" y="2368410"/>
                </a:lnTo>
                <a:lnTo>
                  <a:pt x="2263140" y="2368410"/>
                </a:lnTo>
                <a:lnTo>
                  <a:pt x="2263140" y="2336178"/>
                </a:lnTo>
                <a:lnTo>
                  <a:pt x="2230907" y="2336178"/>
                </a:lnTo>
                <a:lnTo>
                  <a:pt x="2230907" y="2303945"/>
                </a:lnTo>
                <a:lnTo>
                  <a:pt x="2198675" y="2303945"/>
                </a:lnTo>
                <a:lnTo>
                  <a:pt x="2198675" y="2336178"/>
                </a:lnTo>
                <a:lnTo>
                  <a:pt x="2166442" y="2336178"/>
                </a:lnTo>
                <a:lnTo>
                  <a:pt x="2166442" y="2368410"/>
                </a:lnTo>
                <a:lnTo>
                  <a:pt x="2198675" y="2368410"/>
                </a:lnTo>
                <a:lnTo>
                  <a:pt x="2198675" y="2400643"/>
                </a:lnTo>
                <a:lnTo>
                  <a:pt x="2230907" y="2400643"/>
                </a:lnTo>
                <a:close/>
                <a:moveTo>
                  <a:pt x="2162327" y="2537803"/>
                </a:moveTo>
                <a:lnTo>
                  <a:pt x="2162327" y="2505570"/>
                </a:lnTo>
                <a:lnTo>
                  <a:pt x="2194560" y="2505570"/>
                </a:lnTo>
                <a:lnTo>
                  <a:pt x="2194560" y="2473338"/>
                </a:lnTo>
                <a:lnTo>
                  <a:pt x="2162327" y="2473338"/>
                </a:lnTo>
                <a:lnTo>
                  <a:pt x="2162327" y="2441105"/>
                </a:lnTo>
                <a:lnTo>
                  <a:pt x="2130095" y="2441105"/>
                </a:lnTo>
                <a:lnTo>
                  <a:pt x="2130095" y="2473338"/>
                </a:lnTo>
                <a:lnTo>
                  <a:pt x="2097862" y="2473338"/>
                </a:lnTo>
                <a:lnTo>
                  <a:pt x="2097862" y="2505570"/>
                </a:lnTo>
                <a:lnTo>
                  <a:pt x="2130095" y="2505570"/>
                </a:lnTo>
                <a:lnTo>
                  <a:pt x="2130095" y="2537803"/>
                </a:lnTo>
                <a:lnTo>
                  <a:pt x="2162327" y="2537803"/>
                </a:lnTo>
                <a:close/>
                <a:moveTo>
                  <a:pt x="2368067" y="2400643"/>
                </a:moveTo>
                <a:lnTo>
                  <a:pt x="2368067" y="2368410"/>
                </a:lnTo>
                <a:lnTo>
                  <a:pt x="2400300" y="2368410"/>
                </a:lnTo>
                <a:lnTo>
                  <a:pt x="2400300" y="2336178"/>
                </a:lnTo>
                <a:lnTo>
                  <a:pt x="2368067" y="2336178"/>
                </a:lnTo>
                <a:lnTo>
                  <a:pt x="2368067" y="2303945"/>
                </a:lnTo>
                <a:lnTo>
                  <a:pt x="2335835" y="2303945"/>
                </a:lnTo>
                <a:lnTo>
                  <a:pt x="2335835" y="2336178"/>
                </a:lnTo>
                <a:lnTo>
                  <a:pt x="2303602" y="2336178"/>
                </a:lnTo>
                <a:lnTo>
                  <a:pt x="2303602" y="2368410"/>
                </a:lnTo>
                <a:lnTo>
                  <a:pt x="2335835" y="2368410"/>
                </a:lnTo>
                <a:lnTo>
                  <a:pt x="2335835" y="2400643"/>
                </a:lnTo>
                <a:lnTo>
                  <a:pt x="2368067" y="2400643"/>
                </a:lnTo>
                <a:close/>
                <a:moveTo>
                  <a:pt x="2093747" y="2400643"/>
                </a:moveTo>
                <a:lnTo>
                  <a:pt x="2093747" y="2368410"/>
                </a:lnTo>
                <a:lnTo>
                  <a:pt x="2125980" y="2368410"/>
                </a:lnTo>
                <a:lnTo>
                  <a:pt x="2125980" y="2336178"/>
                </a:lnTo>
                <a:lnTo>
                  <a:pt x="2093747" y="2336178"/>
                </a:lnTo>
                <a:lnTo>
                  <a:pt x="2093747" y="2303945"/>
                </a:lnTo>
                <a:lnTo>
                  <a:pt x="2061515" y="2303945"/>
                </a:lnTo>
                <a:lnTo>
                  <a:pt x="2061515" y="2336178"/>
                </a:lnTo>
                <a:lnTo>
                  <a:pt x="2029282" y="2336178"/>
                </a:lnTo>
                <a:lnTo>
                  <a:pt x="2029282" y="2368410"/>
                </a:lnTo>
                <a:lnTo>
                  <a:pt x="2061515" y="2368410"/>
                </a:lnTo>
                <a:lnTo>
                  <a:pt x="2061515" y="2400643"/>
                </a:lnTo>
                <a:lnTo>
                  <a:pt x="2093747" y="2400643"/>
                </a:lnTo>
                <a:close/>
                <a:moveTo>
                  <a:pt x="897026" y="1347597"/>
                </a:moveTo>
                <a:lnTo>
                  <a:pt x="897026" y="1377429"/>
                </a:lnTo>
                <a:lnTo>
                  <a:pt x="867194" y="1377429"/>
                </a:lnTo>
                <a:lnTo>
                  <a:pt x="867194" y="1406919"/>
                </a:lnTo>
                <a:lnTo>
                  <a:pt x="897026" y="1406919"/>
                </a:lnTo>
                <a:lnTo>
                  <a:pt x="897026" y="1436751"/>
                </a:lnTo>
                <a:lnTo>
                  <a:pt x="926516" y="1436751"/>
                </a:lnTo>
                <a:lnTo>
                  <a:pt x="926516" y="1406919"/>
                </a:lnTo>
                <a:lnTo>
                  <a:pt x="956348" y="1406919"/>
                </a:lnTo>
                <a:lnTo>
                  <a:pt x="956348" y="1377429"/>
                </a:lnTo>
                <a:lnTo>
                  <a:pt x="926516" y="1377429"/>
                </a:lnTo>
                <a:lnTo>
                  <a:pt x="926516" y="1347597"/>
                </a:lnTo>
                <a:lnTo>
                  <a:pt x="897026" y="1347597"/>
                </a:lnTo>
                <a:close/>
                <a:moveTo>
                  <a:pt x="1131570" y="2943111"/>
                </a:moveTo>
                <a:lnTo>
                  <a:pt x="1131570" y="2914993"/>
                </a:lnTo>
                <a:lnTo>
                  <a:pt x="1159688" y="2914993"/>
                </a:lnTo>
                <a:lnTo>
                  <a:pt x="1159688" y="2886875"/>
                </a:lnTo>
                <a:lnTo>
                  <a:pt x="1131570" y="2886875"/>
                </a:lnTo>
                <a:lnTo>
                  <a:pt x="1131570" y="2858757"/>
                </a:lnTo>
                <a:lnTo>
                  <a:pt x="1103452" y="2858757"/>
                </a:lnTo>
                <a:lnTo>
                  <a:pt x="1103452" y="2886875"/>
                </a:lnTo>
                <a:lnTo>
                  <a:pt x="1075334" y="2886875"/>
                </a:lnTo>
                <a:lnTo>
                  <a:pt x="1075334" y="2914993"/>
                </a:lnTo>
                <a:lnTo>
                  <a:pt x="1103452" y="2914993"/>
                </a:lnTo>
                <a:lnTo>
                  <a:pt x="1103452" y="2943111"/>
                </a:lnTo>
                <a:lnTo>
                  <a:pt x="1131570" y="2943111"/>
                </a:lnTo>
                <a:close/>
                <a:moveTo>
                  <a:pt x="1061618" y="3076156"/>
                </a:moveTo>
                <a:lnTo>
                  <a:pt x="1061618" y="3050781"/>
                </a:lnTo>
                <a:lnTo>
                  <a:pt x="1086993" y="3050781"/>
                </a:lnTo>
                <a:lnTo>
                  <a:pt x="1086993" y="3025407"/>
                </a:lnTo>
                <a:lnTo>
                  <a:pt x="1061618" y="3025407"/>
                </a:lnTo>
                <a:lnTo>
                  <a:pt x="1061618" y="3000032"/>
                </a:lnTo>
                <a:lnTo>
                  <a:pt x="1036244" y="3000032"/>
                </a:lnTo>
                <a:lnTo>
                  <a:pt x="1036244" y="3025407"/>
                </a:lnTo>
                <a:lnTo>
                  <a:pt x="1010869" y="3025407"/>
                </a:lnTo>
                <a:lnTo>
                  <a:pt x="1010869" y="3050781"/>
                </a:lnTo>
                <a:lnTo>
                  <a:pt x="1036244" y="3050781"/>
                </a:lnTo>
                <a:lnTo>
                  <a:pt x="1036244" y="3076156"/>
                </a:lnTo>
                <a:lnTo>
                  <a:pt x="1061618" y="3076156"/>
                </a:lnTo>
                <a:close/>
                <a:moveTo>
                  <a:pt x="650138" y="2527516"/>
                </a:moveTo>
                <a:lnTo>
                  <a:pt x="650138" y="2502141"/>
                </a:lnTo>
                <a:lnTo>
                  <a:pt x="675513" y="2502141"/>
                </a:lnTo>
                <a:lnTo>
                  <a:pt x="675513" y="2476767"/>
                </a:lnTo>
                <a:lnTo>
                  <a:pt x="650138" y="2476767"/>
                </a:lnTo>
                <a:lnTo>
                  <a:pt x="650138" y="2451392"/>
                </a:lnTo>
                <a:lnTo>
                  <a:pt x="624764" y="2451392"/>
                </a:lnTo>
                <a:lnTo>
                  <a:pt x="624764" y="2476767"/>
                </a:lnTo>
                <a:lnTo>
                  <a:pt x="599389" y="2476767"/>
                </a:lnTo>
                <a:lnTo>
                  <a:pt x="599389" y="2502141"/>
                </a:lnTo>
                <a:lnTo>
                  <a:pt x="624764" y="2502141"/>
                </a:lnTo>
                <a:lnTo>
                  <a:pt x="624764" y="2527516"/>
                </a:lnTo>
                <a:lnTo>
                  <a:pt x="650138" y="2527516"/>
                </a:lnTo>
                <a:close/>
                <a:moveTo>
                  <a:pt x="1267358" y="3213316"/>
                </a:moveTo>
                <a:lnTo>
                  <a:pt x="1267358" y="3187941"/>
                </a:lnTo>
                <a:lnTo>
                  <a:pt x="1292733" y="3187941"/>
                </a:lnTo>
                <a:lnTo>
                  <a:pt x="1292733" y="3162567"/>
                </a:lnTo>
                <a:lnTo>
                  <a:pt x="1267358" y="3162567"/>
                </a:lnTo>
                <a:lnTo>
                  <a:pt x="1267358" y="3137192"/>
                </a:lnTo>
                <a:lnTo>
                  <a:pt x="1241984" y="3137192"/>
                </a:lnTo>
                <a:lnTo>
                  <a:pt x="1241984" y="3162567"/>
                </a:lnTo>
                <a:lnTo>
                  <a:pt x="1216609" y="3162567"/>
                </a:lnTo>
                <a:lnTo>
                  <a:pt x="1216609" y="3187941"/>
                </a:lnTo>
                <a:lnTo>
                  <a:pt x="1241984" y="3187941"/>
                </a:lnTo>
                <a:lnTo>
                  <a:pt x="1241984" y="3213316"/>
                </a:lnTo>
                <a:lnTo>
                  <a:pt x="1267358" y="3213316"/>
                </a:lnTo>
                <a:close/>
                <a:moveTo>
                  <a:pt x="1337310" y="3080271"/>
                </a:moveTo>
                <a:lnTo>
                  <a:pt x="1337310" y="3052153"/>
                </a:lnTo>
                <a:lnTo>
                  <a:pt x="1365428" y="3052153"/>
                </a:lnTo>
                <a:lnTo>
                  <a:pt x="1365428" y="3024035"/>
                </a:lnTo>
                <a:lnTo>
                  <a:pt x="1337310" y="3024035"/>
                </a:lnTo>
                <a:lnTo>
                  <a:pt x="1337310" y="2995917"/>
                </a:lnTo>
                <a:lnTo>
                  <a:pt x="1309192" y="2995917"/>
                </a:lnTo>
                <a:lnTo>
                  <a:pt x="1309192" y="3024035"/>
                </a:lnTo>
                <a:lnTo>
                  <a:pt x="1281074" y="3024035"/>
                </a:lnTo>
                <a:lnTo>
                  <a:pt x="1281074" y="3052153"/>
                </a:lnTo>
                <a:lnTo>
                  <a:pt x="1309192" y="3052153"/>
                </a:lnTo>
                <a:lnTo>
                  <a:pt x="1309192" y="3080271"/>
                </a:lnTo>
                <a:lnTo>
                  <a:pt x="1337310" y="3080271"/>
                </a:lnTo>
                <a:close/>
                <a:moveTo>
                  <a:pt x="993381" y="2940368"/>
                </a:moveTo>
                <a:lnTo>
                  <a:pt x="993381" y="2913964"/>
                </a:lnTo>
                <a:lnTo>
                  <a:pt x="1019785" y="2913964"/>
                </a:lnTo>
                <a:lnTo>
                  <a:pt x="1019785" y="2887904"/>
                </a:lnTo>
                <a:lnTo>
                  <a:pt x="993381" y="2887904"/>
                </a:lnTo>
                <a:lnTo>
                  <a:pt x="993381" y="2861501"/>
                </a:lnTo>
                <a:lnTo>
                  <a:pt x="967321" y="2861501"/>
                </a:lnTo>
                <a:lnTo>
                  <a:pt x="967321" y="2887904"/>
                </a:lnTo>
                <a:lnTo>
                  <a:pt x="940918" y="2887904"/>
                </a:lnTo>
                <a:lnTo>
                  <a:pt x="940918" y="2913964"/>
                </a:lnTo>
                <a:lnTo>
                  <a:pt x="967321" y="2913964"/>
                </a:lnTo>
                <a:lnTo>
                  <a:pt x="967321" y="2940368"/>
                </a:lnTo>
                <a:lnTo>
                  <a:pt x="993381" y="2940368"/>
                </a:lnTo>
                <a:close/>
                <a:moveTo>
                  <a:pt x="786955" y="2801150"/>
                </a:moveTo>
                <a:lnTo>
                  <a:pt x="786955" y="2776118"/>
                </a:lnTo>
                <a:lnTo>
                  <a:pt x="811987" y="2776118"/>
                </a:lnTo>
                <a:lnTo>
                  <a:pt x="811987" y="2751430"/>
                </a:lnTo>
                <a:lnTo>
                  <a:pt x="786955" y="2751430"/>
                </a:lnTo>
                <a:lnTo>
                  <a:pt x="786955" y="2726398"/>
                </a:lnTo>
                <a:lnTo>
                  <a:pt x="762267" y="2726398"/>
                </a:lnTo>
                <a:lnTo>
                  <a:pt x="762267" y="2751430"/>
                </a:lnTo>
                <a:lnTo>
                  <a:pt x="737235" y="2751430"/>
                </a:lnTo>
                <a:lnTo>
                  <a:pt x="737235" y="2776118"/>
                </a:lnTo>
                <a:lnTo>
                  <a:pt x="762267" y="2776118"/>
                </a:lnTo>
                <a:lnTo>
                  <a:pt x="762267" y="2801150"/>
                </a:lnTo>
                <a:lnTo>
                  <a:pt x="786955" y="2801150"/>
                </a:lnTo>
                <a:close/>
                <a:moveTo>
                  <a:pt x="925487" y="2804579"/>
                </a:moveTo>
                <a:lnTo>
                  <a:pt x="925487" y="2777490"/>
                </a:lnTo>
                <a:lnTo>
                  <a:pt x="952576" y="2777490"/>
                </a:lnTo>
                <a:lnTo>
                  <a:pt x="952576" y="2750058"/>
                </a:lnTo>
                <a:lnTo>
                  <a:pt x="925487" y="2750058"/>
                </a:lnTo>
                <a:lnTo>
                  <a:pt x="925487" y="2722969"/>
                </a:lnTo>
                <a:lnTo>
                  <a:pt x="898055" y="2722969"/>
                </a:lnTo>
                <a:lnTo>
                  <a:pt x="898055" y="2750058"/>
                </a:lnTo>
                <a:lnTo>
                  <a:pt x="870966" y="2750058"/>
                </a:lnTo>
                <a:lnTo>
                  <a:pt x="870966" y="2777490"/>
                </a:lnTo>
                <a:lnTo>
                  <a:pt x="898055" y="2777490"/>
                </a:lnTo>
                <a:lnTo>
                  <a:pt x="898055" y="2804579"/>
                </a:lnTo>
                <a:lnTo>
                  <a:pt x="925487" y="2804579"/>
                </a:lnTo>
                <a:close/>
                <a:moveTo>
                  <a:pt x="718718" y="2664676"/>
                </a:moveTo>
                <a:lnTo>
                  <a:pt x="718718" y="2639301"/>
                </a:lnTo>
                <a:lnTo>
                  <a:pt x="744093" y="2639301"/>
                </a:lnTo>
                <a:lnTo>
                  <a:pt x="744093" y="2613927"/>
                </a:lnTo>
                <a:lnTo>
                  <a:pt x="718718" y="2613927"/>
                </a:lnTo>
                <a:lnTo>
                  <a:pt x="718718" y="2588552"/>
                </a:lnTo>
                <a:lnTo>
                  <a:pt x="693344" y="2588552"/>
                </a:lnTo>
                <a:lnTo>
                  <a:pt x="693344" y="2613927"/>
                </a:lnTo>
                <a:lnTo>
                  <a:pt x="667969" y="2613927"/>
                </a:lnTo>
                <a:lnTo>
                  <a:pt x="667969" y="2639301"/>
                </a:lnTo>
                <a:lnTo>
                  <a:pt x="693344" y="2639301"/>
                </a:lnTo>
                <a:lnTo>
                  <a:pt x="693344" y="2664676"/>
                </a:lnTo>
                <a:lnTo>
                  <a:pt x="718718" y="2664676"/>
                </a:lnTo>
                <a:close/>
                <a:moveTo>
                  <a:pt x="856907" y="2668105"/>
                </a:moveTo>
                <a:lnTo>
                  <a:pt x="856907" y="2640330"/>
                </a:lnTo>
                <a:lnTo>
                  <a:pt x="884682" y="2640330"/>
                </a:lnTo>
                <a:lnTo>
                  <a:pt x="884682" y="2612898"/>
                </a:lnTo>
                <a:lnTo>
                  <a:pt x="856907" y="2612898"/>
                </a:lnTo>
                <a:lnTo>
                  <a:pt x="856907" y="2585123"/>
                </a:lnTo>
                <a:lnTo>
                  <a:pt x="829475" y="2585123"/>
                </a:lnTo>
                <a:lnTo>
                  <a:pt x="829475" y="2612898"/>
                </a:lnTo>
                <a:lnTo>
                  <a:pt x="801700" y="2612898"/>
                </a:lnTo>
                <a:lnTo>
                  <a:pt x="801700" y="2640330"/>
                </a:lnTo>
                <a:lnTo>
                  <a:pt x="829475" y="2640330"/>
                </a:lnTo>
                <a:lnTo>
                  <a:pt x="829475" y="2668105"/>
                </a:lnTo>
                <a:lnTo>
                  <a:pt x="856907" y="2668105"/>
                </a:lnTo>
                <a:close/>
                <a:moveTo>
                  <a:pt x="1199464" y="3078213"/>
                </a:moveTo>
                <a:lnTo>
                  <a:pt x="1199464" y="3051467"/>
                </a:lnTo>
                <a:lnTo>
                  <a:pt x="1226210" y="3051467"/>
                </a:lnTo>
                <a:lnTo>
                  <a:pt x="1226210" y="3024721"/>
                </a:lnTo>
                <a:lnTo>
                  <a:pt x="1199464" y="3024721"/>
                </a:lnTo>
                <a:lnTo>
                  <a:pt x="1199464" y="2997975"/>
                </a:lnTo>
                <a:lnTo>
                  <a:pt x="1172718" y="2997975"/>
                </a:lnTo>
                <a:lnTo>
                  <a:pt x="1172718" y="3024721"/>
                </a:lnTo>
                <a:lnTo>
                  <a:pt x="1145972" y="3024721"/>
                </a:lnTo>
                <a:lnTo>
                  <a:pt x="1145972" y="3051467"/>
                </a:lnTo>
                <a:lnTo>
                  <a:pt x="1172718" y="3051467"/>
                </a:lnTo>
                <a:lnTo>
                  <a:pt x="1172718" y="3078213"/>
                </a:lnTo>
                <a:lnTo>
                  <a:pt x="1199464" y="3078213"/>
                </a:lnTo>
                <a:close/>
                <a:moveTo>
                  <a:pt x="1884921" y="3351505"/>
                </a:moveTo>
                <a:lnTo>
                  <a:pt x="1884921" y="3325444"/>
                </a:lnTo>
                <a:lnTo>
                  <a:pt x="1910982" y="3325444"/>
                </a:lnTo>
                <a:lnTo>
                  <a:pt x="1910982" y="3299384"/>
                </a:lnTo>
                <a:lnTo>
                  <a:pt x="1884921" y="3299384"/>
                </a:lnTo>
                <a:lnTo>
                  <a:pt x="1884921" y="3273323"/>
                </a:lnTo>
                <a:lnTo>
                  <a:pt x="1858861" y="3273323"/>
                </a:lnTo>
                <a:lnTo>
                  <a:pt x="1858861" y="3299384"/>
                </a:lnTo>
                <a:lnTo>
                  <a:pt x="1832800" y="3299384"/>
                </a:lnTo>
                <a:lnTo>
                  <a:pt x="1832800" y="3325444"/>
                </a:lnTo>
                <a:lnTo>
                  <a:pt x="1858861" y="3325444"/>
                </a:lnTo>
                <a:lnTo>
                  <a:pt x="1858861" y="3351505"/>
                </a:lnTo>
                <a:lnTo>
                  <a:pt x="1884921" y="3351505"/>
                </a:lnTo>
                <a:close/>
                <a:moveTo>
                  <a:pt x="2022081" y="3351505"/>
                </a:moveTo>
                <a:lnTo>
                  <a:pt x="2022081" y="3325444"/>
                </a:lnTo>
                <a:lnTo>
                  <a:pt x="2048142" y="3325444"/>
                </a:lnTo>
                <a:lnTo>
                  <a:pt x="2048142" y="3299384"/>
                </a:lnTo>
                <a:lnTo>
                  <a:pt x="2022081" y="3299384"/>
                </a:lnTo>
                <a:lnTo>
                  <a:pt x="2022081" y="3273323"/>
                </a:lnTo>
                <a:lnTo>
                  <a:pt x="1996021" y="3273323"/>
                </a:lnTo>
                <a:lnTo>
                  <a:pt x="1996021" y="3299384"/>
                </a:lnTo>
                <a:lnTo>
                  <a:pt x="1969960" y="3299384"/>
                </a:lnTo>
                <a:lnTo>
                  <a:pt x="1969960" y="3325444"/>
                </a:lnTo>
                <a:lnTo>
                  <a:pt x="1996021" y="3325444"/>
                </a:lnTo>
                <a:lnTo>
                  <a:pt x="1996021" y="3351505"/>
                </a:lnTo>
                <a:lnTo>
                  <a:pt x="2022081" y="3351505"/>
                </a:lnTo>
                <a:close/>
                <a:moveTo>
                  <a:pt x="1954873" y="3218117"/>
                </a:moveTo>
                <a:lnTo>
                  <a:pt x="1954873" y="3189656"/>
                </a:lnTo>
                <a:lnTo>
                  <a:pt x="1983334" y="3189656"/>
                </a:lnTo>
                <a:lnTo>
                  <a:pt x="1983334" y="3160852"/>
                </a:lnTo>
                <a:lnTo>
                  <a:pt x="1954873" y="3160852"/>
                </a:lnTo>
                <a:lnTo>
                  <a:pt x="1954873" y="3132392"/>
                </a:lnTo>
                <a:lnTo>
                  <a:pt x="1926069" y="3132392"/>
                </a:lnTo>
                <a:lnTo>
                  <a:pt x="1926069" y="3160852"/>
                </a:lnTo>
                <a:lnTo>
                  <a:pt x="1897609" y="3160852"/>
                </a:lnTo>
                <a:lnTo>
                  <a:pt x="1897609" y="3189656"/>
                </a:lnTo>
                <a:lnTo>
                  <a:pt x="1926069" y="3189656"/>
                </a:lnTo>
                <a:lnTo>
                  <a:pt x="1926069" y="3218117"/>
                </a:lnTo>
                <a:lnTo>
                  <a:pt x="1954873" y="3218117"/>
                </a:lnTo>
                <a:close/>
                <a:moveTo>
                  <a:pt x="1747761" y="3351162"/>
                </a:moveTo>
                <a:lnTo>
                  <a:pt x="1747761" y="3325444"/>
                </a:lnTo>
                <a:lnTo>
                  <a:pt x="1773479" y="3325444"/>
                </a:lnTo>
                <a:lnTo>
                  <a:pt x="1773479" y="3299384"/>
                </a:lnTo>
                <a:lnTo>
                  <a:pt x="1747761" y="3299384"/>
                </a:lnTo>
                <a:lnTo>
                  <a:pt x="1747761" y="3273666"/>
                </a:lnTo>
                <a:lnTo>
                  <a:pt x="1721701" y="3273666"/>
                </a:lnTo>
                <a:lnTo>
                  <a:pt x="1721701" y="3299384"/>
                </a:lnTo>
                <a:lnTo>
                  <a:pt x="1695983" y="3299384"/>
                </a:lnTo>
                <a:lnTo>
                  <a:pt x="1695983" y="3325444"/>
                </a:lnTo>
                <a:lnTo>
                  <a:pt x="1721701" y="3325444"/>
                </a:lnTo>
                <a:lnTo>
                  <a:pt x="1721701" y="3351162"/>
                </a:lnTo>
                <a:lnTo>
                  <a:pt x="1747761" y="3351162"/>
                </a:lnTo>
                <a:close/>
                <a:moveTo>
                  <a:pt x="1817370" y="3217774"/>
                </a:moveTo>
                <a:lnTo>
                  <a:pt x="1817370" y="3189313"/>
                </a:lnTo>
                <a:lnTo>
                  <a:pt x="1845831" y="3189313"/>
                </a:lnTo>
                <a:lnTo>
                  <a:pt x="1845831" y="3161195"/>
                </a:lnTo>
                <a:lnTo>
                  <a:pt x="1817370" y="3161195"/>
                </a:lnTo>
                <a:lnTo>
                  <a:pt x="1817370" y="3132734"/>
                </a:lnTo>
                <a:lnTo>
                  <a:pt x="1789252" y="3132734"/>
                </a:lnTo>
                <a:lnTo>
                  <a:pt x="1789252" y="3161195"/>
                </a:lnTo>
                <a:lnTo>
                  <a:pt x="1760791" y="3161195"/>
                </a:lnTo>
                <a:lnTo>
                  <a:pt x="1760791" y="3189313"/>
                </a:lnTo>
                <a:lnTo>
                  <a:pt x="1789252" y="3189313"/>
                </a:lnTo>
                <a:lnTo>
                  <a:pt x="1789252" y="3217774"/>
                </a:lnTo>
                <a:lnTo>
                  <a:pt x="1817370" y="3217774"/>
                </a:lnTo>
                <a:close/>
                <a:moveTo>
                  <a:pt x="1475156" y="3081985"/>
                </a:moveTo>
                <a:lnTo>
                  <a:pt x="1475156" y="3052839"/>
                </a:lnTo>
                <a:lnTo>
                  <a:pt x="1504302" y="3052839"/>
                </a:lnTo>
                <a:lnTo>
                  <a:pt x="1504302" y="3023349"/>
                </a:lnTo>
                <a:lnTo>
                  <a:pt x="1475156" y="3023349"/>
                </a:lnTo>
                <a:lnTo>
                  <a:pt x="1475156" y="2994203"/>
                </a:lnTo>
                <a:lnTo>
                  <a:pt x="1445666" y="2994203"/>
                </a:lnTo>
                <a:lnTo>
                  <a:pt x="1445666" y="3023349"/>
                </a:lnTo>
                <a:lnTo>
                  <a:pt x="1416520" y="3023349"/>
                </a:lnTo>
                <a:lnTo>
                  <a:pt x="1416520" y="3052839"/>
                </a:lnTo>
                <a:lnTo>
                  <a:pt x="1445666" y="3052839"/>
                </a:lnTo>
                <a:lnTo>
                  <a:pt x="1445666" y="3081985"/>
                </a:lnTo>
                <a:lnTo>
                  <a:pt x="1475156" y="3081985"/>
                </a:lnTo>
                <a:close/>
                <a:moveTo>
                  <a:pt x="1680210" y="3217431"/>
                </a:moveTo>
                <a:lnTo>
                  <a:pt x="1680210" y="3189313"/>
                </a:lnTo>
                <a:lnTo>
                  <a:pt x="1708328" y="3189313"/>
                </a:lnTo>
                <a:lnTo>
                  <a:pt x="1708328" y="3161195"/>
                </a:lnTo>
                <a:lnTo>
                  <a:pt x="1680210" y="3161195"/>
                </a:lnTo>
                <a:lnTo>
                  <a:pt x="1680210" y="3133077"/>
                </a:lnTo>
                <a:lnTo>
                  <a:pt x="1652092" y="3133077"/>
                </a:lnTo>
                <a:lnTo>
                  <a:pt x="1652092" y="3161195"/>
                </a:lnTo>
                <a:lnTo>
                  <a:pt x="1623974" y="3161195"/>
                </a:lnTo>
                <a:lnTo>
                  <a:pt x="1623974" y="3189313"/>
                </a:lnTo>
                <a:lnTo>
                  <a:pt x="1652092" y="3189313"/>
                </a:lnTo>
                <a:lnTo>
                  <a:pt x="1652092" y="3217431"/>
                </a:lnTo>
                <a:lnTo>
                  <a:pt x="1680210" y="3217431"/>
                </a:lnTo>
                <a:close/>
                <a:moveTo>
                  <a:pt x="1542707" y="3216402"/>
                </a:moveTo>
                <a:lnTo>
                  <a:pt x="1542707" y="3188970"/>
                </a:lnTo>
                <a:lnTo>
                  <a:pt x="1570139" y="3188970"/>
                </a:lnTo>
                <a:lnTo>
                  <a:pt x="1570139" y="3161538"/>
                </a:lnTo>
                <a:lnTo>
                  <a:pt x="1542707" y="3161538"/>
                </a:lnTo>
                <a:lnTo>
                  <a:pt x="1542707" y="3134106"/>
                </a:lnTo>
                <a:lnTo>
                  <a:pt x="1515275" y="3134106"/>
                </a:lnTo>
                <a:lnTo>
                  <a:pt x="1515275" y="3161538"/>
                </a:lnTo>
                <a:lnTo>
                  <a:pt x="1487843" y="3161538"/>
                </a:lnTo>
                <a:lnTo>
                  <a:pt x="1487843" y="3188970"/>
                </a:lnTo>
                <a:lnTo>
                  <a:pt x="1515275" y="3188970"/>
                </a:lnTo>
                <a:lnTo>
                  <a:pt x="1515275" y="3216402"/>
                </a:lnTo>
                <a:lnTo>
                  <a:pt x="1542707" y="3216402"/>
                </a:lnTo>
                <a:close/>
                <a:moveTo>
                  <a:pt x="1610258" y="3350476"/>
                </a:moveTo>
                <a:lnTo>
                  <a:pt x="1610258" y="3325101"/>
                </a:lnTo>
                <a:lnTo>
                  <a:pt x="1635633" y="3325101"/>
                </a:lnTo>
                <a:lnTo>
                  <a:pt x="1635633" y="3299727"/>
                </a:lnTo>
                <a:lnTo>
                  <a:pt x="1610258" y="3299727"/>
                </a:lnTo>
                <a:lnTo>
                  <a:pt x="1610258" y="3274352"/>
                </a:lnTo>
                <a:lnTo>
                  <a:pt x="1584884" y="3274352"/>
                </a:lnTo>
                <a:lnTo>
                  <a:pt x="1584884" y="3299727"/>
                </a:lnTo>
                <a:lnTo>
                  <a:pt x="1559509" y="3299727"/>
                </a:lnTo>
                <a:lnTo>
                  <a:pt x="1559509" y="3325101"/>
                </a:lnTo>
                <a:lnTo>
                  <a:pt x="1584884" y="3325101"/>
                </a:lnTo>
                <a:lnTo>
                  <a:pt x="1584884" y="3350476"/>
                </a:lnTo>
                <a:lnTo>
                  <a:pt x="1610258" y="3350476"/>
                </a:lnTo>
                <a:close/>
                <a:moveTo>
                  <a:pt x="1405204" y="3215030"/>
                </a:moveTo>
                <a:lnTo>
                  <a:pt x="1405204" y="3188627"/>
                </a:lnTo>
                <a:lnTo>
                  <a:pt x="1431607" y="3188627"/>
                </a:lnTo>
                <a:lnTo>
                  <a:pt x="1431607" y="3161881"/>
                </a:lnTo>
                <a:lnTo>
                  <a:pt x="1405204" y="3161881"/>
                </a:lnTo>
                <a:lnTo>
                  <a:pt x="1405204" y="3135478"/>
                </a:lnTo>
                <a:lnTo>
                  <a:pt x="1378458" y="3135478"/>
                </a:lnTo>
                <a:lnTo>
                  <a:pt x="1378458" y="3161881"/>
                </a:lnTo>
                <a:lnTo>
                  <a:pt x="1352055" y="3161881"/>
                </a:lnTo>
                <a:lnTo>
                  <a:pt x="1352055" y="3188627"/>
                </a:lnTo>
                <a:lnTo>
                  <a:pt x="1378458" y="3188627"/>
                </a:lnTo>
                <a:lnTo>
                  <a:pt x="1378458" y="3215030"/>
                </a:lnTo>
                <a:lnTo>
                  <a:pt x="1405204" y="3215030"/>
                </a:lnTo>
                <a:close/>
                <a:moveTo>
                  <a:pt x="1172718" y="803415"/>
                </a:moveTo>
                <a:lnTo>
                  <a:pt x="1172718" y="830161"/>
                </a:lnTo>
                <a:lnTo>
                  <a:pt x="1145972" y="830161"/>
                </a:lnTo>
                <a:lnTo>
                  <a:pt x="1145972" y="856907"/>
                </a:lnTo>
                <a:lnTo>
                  <a:pt x="1172718" y="856907"/>
                </a:lnTo>
                <a:lnTo>
                  <a:pt x="1172718" y="883653"/>
                </a:lnTo>
                <a:lnTo>
                  <a:pt x="1199464" y="883653"/>
                </a:lnTo>
                <a:lnTo>
                  <a:pt x="1199464" y="856907"/>
                </a:lnTo>
                <a:lnTo>
                  <a:pt x="1226210" y="856907"/>
                </a:lnTo>
                <a:lnTo>
                  <a:pt x="1226210" y="830161"/>
                </a:lnTo>
                <a:lnTo>
                  <a:pt x="1199464" y="830161"/>
                </a:lnTo>
                <a:lnTo>
                  <a:pt x="1199464" y="803415"/>
                </a:lnTo>
                <a:lnTo>
                  <a:pt x="1172718" y="803415"/>
                </a:lnTo>
                <a:close/>
                <a:moveTo>
                  <a:pt x="1241984" y="668312"/>
                </a:moveTo>
                <a:lnTo>
                  <a:pt x="1241984" y="693687"/>
                </a:lnTo>
                <a:lnTo>
                  <a:pt x="1216609" y="693687"/>
                </a:lnTo>
                <a:lnTo>
                  <a:pt x="1216609" y="719061"/>
                </a:lnTo>
                <a:lnTo>
                  <a:pt x="1241984" y="719061"/>
                </a:lnTo>
                <a:lnTo>
                  <a:pt x="1241984" y="744436"/>
                </a:lnTo>
                <a:lnTo>
                  <a:pt x="1267358" y="744436"/>
                </a:lnTo>
                <a:lnTo>
                  <a:pt x="1267358" y="719061"/>
                </a:lnTo>
                <a:lnTo>
                  <a:pt x="1292733" y="719061"/>
                </a:lnTo>
                <a:lnTo>
                  <a:pt x="1292733" y="693687"/>
                </a:lnTo>
                <a:lnTo>
                  <a:pt x="1267358" y="693687"/>
                </a:lnTo>
                <a:lnTo>
                  <a:pt x="1267358" y="668312"/>
                </a:lnTo>
                <a:lnTo>
                  <a:pt x="1241984" y="668312"/>
                </a:lnTo>
                <a:close/>
                <a:moveTo>
                  <a:pt x="1309192" y="801357"/>
                </a:moveTo>
                <a:lnTo>
                  <a:pt x="1309192" y="829475"/>
                </a:lnTo>
                <a:lnTo>
                  <a:pt x="1281074" y="829475"/>
                </a:lnTo>
                <a:lnTo>
                  <a:pt x="1281074" y="857593"/>
                </a:lnTo>
                <a:lnTo>
                  <a:pt x="1309192" y="857593"/>
                </a:lnTo>
                <a:lnTo>
                  <a:pt x="1309192" y="885711"/>
                </a:lnTo>
                <a:lnTo>
                  <a:pt x="1337310" y="885711"/>
                </a:lnTo>
                <a:lnTo>
                  <a:pt x="1337310" y="857593"/>
                </a:lnTo>
                <a:lnTo>
                  <a:pt x="1365428" y="857593"/>
                </a:lnTo>
                <a:lnTo>
                  <a:pt x="1365428" y="829475"/>
                </a:lnTo>
                <a:lnTo>
                  <a:pt x="1337310" y="829475"/>
                </a:lnTo>
                <a:lnTo>
                  <a:pt x="1337310" y="801357"/>
                </a:lnTo>
                <a:lnTo>
                  <a:pt x="1309192" y="801357"/>
                </a:lnTo>
                <a:close/>
                <a:moveTo>
                  <a:pt x="1103452" y="938517"/>
                </a:moveTo>
                <a:lnTo>
                  <a:pt x="1103452" y="966635"/>
                </a:lnTo>
                <a:lnTo>
                  <a:pt x="1075334" y="966635"/>
                </a:lnTo>
                <a:lnTo>
                  <a:pt x="1075334" y="994753"/>
                </a:lnTo>
                <a:lnTo>
                  <a:pt x="1103452" y="994753"/>
                </a:lnTo>
                <a:lnTo>
                  <a:pt x="1103452" y="1022871"/>
                </a:lnTo>
                <a:lnTo>
                  <a:pt x="1131570" y="1022871"/>
                </a:lnTo>
                <a:lnTo>
                  <a:pt x="1131570" y="994753"/>
                </a:lnTo>
                <a:lnTo>
                  <a:pt x="1159688" y="994753"/>
                </a:lnTo>
                <a:lnTo>
                  <a:pt x="1159688" y="966635"/>
                </a:lnTo>
                <a:lnTo>
                  <a:pt x="1131570" y="966635"/>
                </a:lnTo>
                <a:lnTo>
                  <a:pt x="1131570" y="938517"/>
                </a:lnTo>
                <a:lnTo>
                  <a:pt x="1103452" y="938517"/>
                </a:lnTo>
                <a:close/>
                <a:moveTo>
                  <a:pt x="581215" y="2389670"/>
                </a:moveTo>
                <a:lnTo>
                  <a:pt x="581215" y="2364638"/>
                </a:lnTo>
                <a:lnTo>
                  <a:pt x="606247" y="2364638"/>
                </a:lnTo>
                <a:lnTo>
                  <a:pt x="606247" y="2339950"/>
                </a:lnTo>
                <a:lnTo>
                  <a:pt x="581215" y="2339950"/>
                </a:lnTo>
                <a:lnTo>
                  <a:pt x="581215" y="2314918"/>
                </a:lnTo>
                <a:lnTo>
                  <a:pt x="556527" y="2314918"/>
                </a:lnTo>
                <a:lnTo>
                  <a:pt x="556527" y="2339950"/>
                </a:lnTo>
                <a:lnTo>
                  <a:pt x="531495" y="2339950"/>
                </a:lnTo>
                <a:lnTo>
                  <a:pt x="531495" y="2364638"/>
                </a:lnTo>
                <a:lnTo>
                  <a:pt x="556527" y="2364638"/>
                </a:lnTo>
                <a:lnTo>
                  <a:pt x="556527" y="2389670"/>
                </a:lnTo>
                <a:lnTo>
                  <a:pt x="581215" y="2389670"/>
                </a:lnTo>
                <a:close/>
                <a:moveTo>
                  <a:pt x="1036244" y="805472"/>
                </a:moveTo>
                <a:lnTo>
                  <a:pt x="1036244" y="830847"/>
                </a:lnTo>
                <a:lnTo>
                  <a:pt x="1010869" y="830847"/>
                </a:lnTo>
                <a:lnTo>
                  <a:pt x="1010869" y="856221"/>
                </a:lnTo>
                <a:lnTo>
                  <a:pt x="1036244" y="856221"/>
                </a:lnTo>
                <a:lnTo>
                  <a:pt x="1036244" y="881596"/>
                </a:lnTo>
                <a:lnTo>
                  <a:pt x="1061618" y="881596"/>
                </a:lnTo>
                <a:lnTo>
                  <a:pt x="1061618" y="856221"/>
                </a:lnTo>
                <a:lnTo>
                  <a:pt x="1086993" y="856221"/>
                </a:lnTo>
                <a:lnTo>
                  <a:pt x="1086993" y="830847"/>
                </a:lnTo>
                <a:lnTo>
                  <a:pt x="1061618" y="830847"/>
                </a:lnTo>
                <a:lnTo>
                  <a:pt x="1061618" y="805472"/>
                </a:lnTo>
                <a:lnTo>
                  <a:pt x="1036244" y="805472"/>
                </a:lnTo>
                <a:close/>
                <a:moveTo>
                  <a:pt x="1515275" y="665226"/>
                </a:moveTo>
                <a:lnTo>
                  <a:pt x="1515275" y="692658"/>
                </a:lnTo>
                <a:lnTo>
                  <a:pt x="1487843" y="692658"/>
                </a:lnTo>
                <a:lnTo>
                  <a:pt x="1487843" y="720090"/>
                </a:lnTo>
                <a:lnTo>
                  <a:pt x="1515275" y="720090"/>
                </a:lnTo>
                <a:lnTo>
                  <a:pt x="1515275" y="747522"/>
                </a:lnTo>
                <a:lnTo>
                  <a:pt x="1542707" y="747522"/>
                </a:lnTo>
                <a:lnTo>
                  <a:pt x="1542707" y="720090"/>
                </a:lnTo>
                <a:lnTo>
                  <a:pt x="1570139" y="720090"/>
                </a:lnTo>
                <a:lnTo>
                  <a:pt x="1570139" y="692658"/>
                </a:lnTo>
                <a:lnTo>
                  <a:pt x="1542707" y="692658"/>
                </a:lnTo>
                <a:lnTo>
                  <a:pt x="1542707" y="665226"/>
                </a:lnTo>
                <a:lnTo>
                  <a:pt x="1515275" y="665226"/>
                </a:lnTo>
                <a:close/>
                <a:moveTo>
                  <a:pt x="1650035" y="932688"/>
                </a:moveTo>
                <a:lnTo>
                  <a:pt x="1650035" y="964578"/>
                </a:lnTo>
                <a:lnTo>
                  <a:pt x="1618145" y="964578"/>
                </a:lnTo>
                <a:lnTo>
                  <a:pt x="1618145" y="996810"/>
                </a:lnTo>
                <a:lnTo>
                  <a:pt x="1650035" y="996810"/>
                </a:lnTo>
                <a:lnTo>
                  <a:pt x="1650035" y="1028700"/>
                </a:lnTo>
                <a:lnTo>
                  <a:pt x="1682267" y="1028700"/>
                </a:lnTo>
                <a:lnTo>
                  <a:pt x="1682267" y="996810"/>
                </a:lnTo>
                <a:lnTo>
                  <a:pt x="1714157" y="996810"/>
                </a:lnTo>
                <a:lnTo>
                  <a:pt x="1714157" y="964578"/>
                </a:lnTo>
                <a:lnTo>
                  <a:pt x="1682267" y="964578"/>
                </a:lnTo>
                <a:lnTo>
                  <a:pt x="1682267" y="932688"/>
                </a:lnTo>
                <a:lnTo>
                  <a:pt x="1650035" y="932688"/>
                </a:lnTo>
                <a:close/>
                <a:moveTo>
                  <a:pt x="1448067" y="532524"/>
                </a:moveTo>
                <a:lnTo>
                  <a:pt x="1448067" y="556870"/>
                </a:lnTo>
                <a:lnTo>
                  <a:pt x="1423721" y="556870"/>
                </a:lnTo>
                <a:lnTo>
                  <a:pt x="1423721" y="581558"/>
                </a:lnTo>
                <a:lnTo>
                  <a:pt x="1448067" y="581558"/>
                </a:lnTo>
                <a:lnTo>
                  <a:pt x="1448067" y="605904"/>
                </a:lnTo>
                <a:lnTo>
                  <a:pt x="1472755" y="605904"/>
                </a:lnTo>
                <a:lnTo>
                  <a:pt x="1472755" y="581558"/>
                </a:lnTo>
                <a:lnTo>
                  <a:pt x="1497101" y="581558"/>
                </a:lnTo>
                <a:lnTo>
                  <a:pt x="1497101" y="556870"/>
                </a:lnTo>
                <a:lnTo>
                  <a:pt x="1472755" y="556870"/>
                </a:lnTo>
                <a:lnTo>
                  <a:pt x="1472755" y="532524"/>
                </a:lnTo>
                <a:lnTo>
                  <a:pt x="1448067" y="532524"/>
                </a:lnTo>
                <a:close/>
                <a:moveTo>
                  <a:pt x="1378458" y="666598"/>
                </a:moveTo>
                <a:lnTo>
                  <a:pt x="1378458" y="693001"/>
                </a:lnTo>
                <a:lnTo>
                  <a:pt x="1352055" y="693001"/>
                </a:lnTo>
                <a:lnTo>
                  <a:pt x="1352055" y="719747"/>
                </a:lnTo>
                <a:lnTo>
                  <a:pt x="1378458" y="719747"/>
                </a:lnTo>
                <a:lnTo>
                  <a:pt x="1378458" y="746150"/>
                </a:lnTo>
                <a:lnTo>
                  <a:pt x="1405204" y="746150"/>
                </a:lnTo>
                <a:lnTo>
                  <a:pt x="1405204" y="719747"/>
                </a:lnTo>
                <a:lnTo>
                  <a:pt x="1431607" y="719747"/>
                </a:lnTo>
                <a:lnTo>
                  <a:pt x="1431607" y="693001"/>
                </a:lnTo>
                <a:lnTo>
                  <a:pt x="1405204" y="693001"/>
                </a:lnTo>
                <a:lnTo>
                  <a:pt x="1405204" y="666598"/>
                </a:lnTo>
                <a:lnTo>
                  <a:pt x="1378458" y="666598"/>
                </a:lnTo>
                <a:close/>
                <a:moveTo>
                  <a:pt x="967321" y="941261"/>
                </a:moveTo>
                <a:lnTo>
                  <a:pt x="967321" y="967664"/>
                </a:lnTo>
                <a:lnTo>
                  <a:pt x="940918" y="967664"/>
                </a:lnTo>
                <a:lnTo>
                  <a:pt x="940918" y="993724"/>
                </a:lnTo>
                <a:lnTo>
                  <a:pt x="967321" y="993724"/>
                </a:lnTo>
                <a:lnTo>
                  <a:pt x="967321" y="1020128"/>
                </a:lnTo>
                <a:lnTo>
                  <a:pt x="993381" y="1020128"/>
                </a:lnTo>
                <a:lnTo>
                  <a:pt x="993381" y="993724"/>
                </a:lnTo>
                <a:lnTo>
                  <a:pt x="1019785" y="993724"/>
                </a:lnTo>
                <a:lnTo>
                  <a:pt x="1019785" y="967664"/>
                </a:lnTo>
                <a:lnTo>
                  <a:pt x="993381" y="967664"/>
                </a:lnTo>
                <a:lnTo>
                  <a:pt x="993381" y="941261"/>
                </a:lnTo>
                <a:lnTo>
                  <a:pt x="967321" y="941261"/>
                </a:lnTo>
                <a:close/>
                <a:moveTo>
                  <a:pt x="556527" y="1491958"/>
                </a:moveTo>
                <a:lnTo>
                  <a:pt x="556527" y="1516990"/>
                </a:lnTo>
                <a:lnTo>
                  <a:pt x="531495" y="1516990"/>
                </a:lnTo>
                <a:lnTo>
                  <a:pt x="531495" y="1541678"/>
                </a:lnTo>
                <a:lnTo>
                  <a:pt x="556527" y="1541678"/>
                </a:lnTo>
                <a:lnTo>
                  <a:pt x="556527" y="1566710"/>
                </a:lnTo>
                <a:lnTo>
                  <a:pt x="581215" y="1566710"/>
                </a:lnTo>
                <a:lnTo>
                  <a:pt x="581215" y="1541678"/>
                </a:lnTo>
                <a:lnTo>
                  <a:pt x="606247" y="1541678"/>
                </a:lnTo>
                <a:lnTo>
                  <a:pt x="606247" y="1516990"/>
                </a:lnTo>
                <a:lnTo>
                  <a:pt x="581215" y="1516990"/>
                </a:lnTo>
                <a:lnTo>
                  <a:pt x="581215" y="1491958"/>
                </a:lnTo>
                <a:lnTo>
                  <a:pt x="556527" y="1491958"/>
                </a:lnTo>
                <a:close/>
                <a:moveTo>
                  <a:pt x="512635" y="1977847"/>
                </a:moveTo>
                <a:lnTo>
                  <a:pt x="512635" y="1953158"/>
                </a:lnTo>
                <a:lnTo>
                  <a:pt x="537324" y="1953158"/>
                </a:lnTo>
                <a:lnTo>
                  <a:pt x="537324" y="1928470"/>
                </a:lnTo>
                <a:lnTo>
                  <a:pt x="512635" y="1928470"/>
                </a:lnTo>
                <a:lnTo>
                  <a:pt x="512635" y="1903781"/>
                </a:lnTo>
                <a:lnTo>
                  <a:pt x="487947" y="1903781"/>
                </a:lnTo>
                <a:lnTo>
                  <a:pt x="487947" y="1928470"/>
                </a:lnTo>
                <a:lnTo>
                  <a:pt x="463258" y="1928470"/>
                </a:lnTo>
                <a:lnTo>
                  <a:pt x="463258" y="1953158"/>
                </a:lnTo>
                <a:lnTo>
                  <a:pt x="487947" y="1953158"/>
                </a:lnTo>
                <a:lnTo>
                  <a:pt x="487947" y="1977847"/>
                </a:lnTo>
                <a:lnTo>
                  <a:pt x="512635" y="1977847"/>
                </a:lnTo>
                <a:close/>
                <a:moveTo>
                  <a:pt x="898055" y="1077049"/>
                </a:moveTo>
                <a:lnTo>
                  <a:pt x="898055" y="1104138"/>
                </a:lnTo>
                <a:lnTo>
                  <a:pt x="870966" y="1104138"/>
                </a:lnTo>
                <a:lnTo>
                  <a:pt x="870966" y="1131570"/>
                </a:lnTo>
                <a:lnTo>
                  <a:pt x="898055" y="1131570"/>
                </a:lnTo>
                <a:lnTo>
                  <a:pt x="898055" y="1158659"/>
                </a:lnTo>
                <a:lnTo>
                  <a:pt x="925487" y="1158659"/>
                </a:lnTo>
                <a:lnTo>
                  <a:pt x="925487" y="1131570"/>
                </a:lnTo>
                <a:lnTo>
                  <a:pt x="952576" y="1131570"/>
                </a:lnTo>
                <a:lnTo>
                  <a:pt x="952576" y="1104138"/>
                </a:lnTo>
                <a:lnTo>
                  <a:pt x="925487" y="1104138"/>
                </a:lnTo>
                <a:lnTo>
                  <a:pt x="925487" y="1077049"/>
                </a:lnTo>
                <a:lnTo>
                  <a:pt x="898055" y="1077049"/>
                </a:lnTo>
                <a:close/>
                <a:moveTo>
                  <a:pt x="512293" y="2251481"/>
                </a:moveTo>
                <a:lnTo>
                  <a:pt x="512293" y="2227136"/>
                </a:lnTo>
                <a:lnTo>
                  <a:pt x="536638" y="2227136"/>
                </a:lnTo>
                <a:lnTo>
                  <a:pt x="536638" y="2203133"/>
                </a:lnTo>
                <a:lnTo>
                  <a:pt x="512293" y="2203133"/>
                </a:lnTo>
                <a:lnTo>
                  <a:pt x="512293" y="2178787"/>
                </a:lnTo>
                <a:lnTo>
                  <a:pt x="488290" y="2178787"/>
                </a:lnTo>
                <a:lnTo>
                  <a:pt x="488290" y="2203133"/>
                </a:lnTo>
                <a:lnTo>
                  <a:pt x="463944" y="2203133"/>
                </a:lnTo>
                <a:lnTo>
                  <a:pt x="463944" y="2227136"/>
                </a:lnTo>
                <a:lnTo>
                  <a:pt x="488290" y="2227136"/>
                </a:lnTo>
                <a:lnTo>
                  <a:pt x="488290" y="2251481"/>
                </a:lnTo>
                <a:lnTo>
                  <a:pt x="512293" y="2251481"/>
                </a:lnTo>
                <a:close/>
                <a:moveTo>
                  <a:pt x="488290" y="1630147"/>
                </a:moveTo>
                <a:lnTo>
                  <a:pt x="488290" y="1654493"/>
                </a:lnTo>
                <a:lnTo>
                  <a:pt x="463944" y="1654493"/>
                </a:lnTo>
                <a:lnTo>
                  <a:pt x="463944" y="1678496"/>
                </a:lnTo>
                <a:lnTo>
                  <a:pt x="488290" y="1678496"/>
                </a:lnTo>
                <a:lnTo>
                  <a:pt x="488290" y="1702841"/>
                </a:lnTo>
                <a:lnTo>
                  <a:pt x="512293" y="1702841"/>
                </a:lnTo>
                <a:lnTo>
                  <a:pt x="512293" y="1678496"/>
                </a:lnTo>
                <a:lnTo>
                  <a:pt x="536638" y="1678496"/>
                </a:lnTo>
                <a:lnTo>
                  <a:pt x="536638" y="1654493"/>
                </a:lnTo>
                <a:lnTo>
                  <a:pt x="512293" y="1654493"/>
                </a:lnTo>
                <a:lnTo>
                  <a:pt x="512293" y="1630147"/>
                </a:lnTo>
                <a:lnTo>
                  <a:pt x="488290" y="1630147"/>
                </a:lnTo>
                <a:close/>
                <a:moveTo>
                  <a:pt x="830847" y="944004"/>
                </a:moveTo>
                <a:lnTo>
                  <a:pt x="830847" y="968350"/>
                </a:lnTo>
                <a:lnTo>
                  <a:pt x="806501" y="968350"/>
                </a:lnTo>
                <a:lnTo>
                  <a:pt x="806501" y="993038"/>
                </a:lnTo>
                <a:lnTo>
                  <a:pt x="830847" y="993038"/>
                </a:lnTo>
                <a:lnTo>
                  <a:pt x="830847" y="1017384"/>
                </a:lnTo>
                <a:lnTo>
                  <a:pt x="855535" y="1017384"/>
                </a:lnTo>
                <a:lnTo>
                  <a:pt x="855535" y="993038"/>
                </a:lnTo>
                <a:lnTo>
                  <a:pt x="879881" y="993038"/>
                </a:lnTo>
                <a:lnTo>
                  <a:pt x="879881" y="968350"/>
                </a:lnTo>
                <a:lnTo>
                  <a:pt x="855535" y="968350"/>
                </a:lnTo>
                <a:lnTo>
                  <a:pt x="855535" y="944004"/>
                </a:lnTo>
                <a:lnTo>
                  <a:pt x="830847" y="944004"/>
                </a:lnTo>
                <a:close/>
                <a:moveTo>
                  <a:pt x="761924" y="1080135"/>
                </a:moveTo>
                <a:lnTo>
                  <a:pt x="761924" y="1105167"/>
                </a:lnTo>
                <a:lnTo>
                  <a:pt x="736892" y="1105167"/>
                </a:lnTo>
                <a:lnTo>
                  <a:pt x="736892" y="1130541"/>
                </a:lnTo>
                <a:lnTo>
                  <a:pt x="761924" y="1130541"/>
                </a:lnTo>
                <a:lnTo>
                  <a:pt x="761924" y="1155573"/>
                </a:lnTo>
                <a:lnTo>
                  <a:pt x="787298" y="1155573"/>
                </a:lnTo>
                <a:lnTo>
                  <a:pt x="787298" y="1130541"/>
                </a:lnTo>
                <a:lnTo>
                  <a:pt x="812330" y="1130541"/>
                </a:lnTo>
                <a:lnTo>
                  <a:pt x="812330" y="1105167"/>
                </a:lnTo>
                <a:lnTo>
                  <a:pt x="787298" y="1105167"/>
                </a:lnTo>
                <a:lnTo>
                  <a:pt x="787298" y="1080135"/>
                </a:lnTo>
                <a:lnTo>
                  <a:pt x="761924" y="1080135"/>
                </a:lnTo>
                <a:close/>
                <a:moveTo>
                  <a:pt x="624764" y="1354112"/>
                </a:moveTo>
                <a:lnTo>
                  <a:pt x="624764" y="1379487"/>
                </a:lnTo>
                <a:lnTo>
                  <a:pt x="599389" y="1379487"/>
                </a:lnTo>
                <a:lnTo>
                  <a:pt x="599389" y="1404861"/>
                </a:lnTo>
                <a:lnTo>
                  <a:pt x="624764" y="1404861"/>
                </a:lnTo>
                <a:lnTo>
                  <a:pt x="624764" y="1430236"/>
                </a:lnTo>
                <a:lnTo>
                  <a:pt x="650138" y="1430236"/>
                </a:lnTo>
                <a:lnTo>
                  <a:pt x="650138" y="1404861"/>
                </a:lnTo>
                <a:lnTo>
                  <a:pt x="675513" y="1404861"/>
                </a:lnTo>
                <a:lnTo>
                  <a:pt x="675513" y="1379487"/>
                </a:lnTo>
                <a:lnTo>
                  <a:pt x="650138" y="1379487"/>
                </a:lnTo>
                <a:lnTo>
                  <a:pt x="650138" y="1354112"/>
                </a:lnTo>
                <a:lnTo>
                  <a:pt x="624764" y="1354112"/>
                </a:lnTo>
                <a:close/>
                <a:moveTo>
                  <a:pt x="693344" y="1216952"/>
                </a:moveTo>
                <a:lnTo>
                  <a:pt x="693344" y="1242327"/>
                </a:lnTo>
                <a:lnTo>
                  <a:pt x="667969" y="1242327"/>
                </a:lnTo>
                <a:lnTo>
                  <a:pt x="667969" y="1267701"/>
                </a:lnTo>
                <a:lnTo>
                  <a:pt x="693344" y="1267701"/>
                </a:lnTo>
                <a:lnTo>
                  <a:pt x="693344" y="1293076"/>
                </a:lnTo>
                <a:lnTo>
                  <a:pt x="718718" y="1293076"/>
                </a:lnTo>
                <a:lnTo>
                  <a:pt x="718718" y="1267701"/>
                </a:lnTo>
                <a:lnTo>
                  <a:pt x="744093" y="1267701"/>
                </a:lnTo>
                <a:lnTo>
                  <a:pt x="744093" y="1242327"/>
                </a:lnTo>
                <a:lnTo>
                  <a:pt x="718718" y="1242327"/>
                </a:lnTo>
                <a:lnTo>
                  <a:pt x="718718" y="1216952"/>
                </a:lnTo>
                <a:lnTo>
                  <a:pt x="693344" y="1216952"/>
                </a:lnTo>
                <a:close/>
                <a:moveTo>
                  <a:pt x="3577819" y="1280732"/>
                </a:moveTo>
                <a:lnTo>
                  <a:pt x="3594964" y="1280732"/>
                </a:lnTo>
                <a:lnTo>
                  <a:pt x="3594964" y="1263587"/>
                </a:lnTo>
                <a:lnTo>
                  <a:pt x="3612109" y="1263587"/>
                </a:lnTo>
                <a:lnTo>
                  <a:pt x="3612109" y="1246442"/>
                </a:lnTo>
                <a:lnTo>
                  <a:pt x="3594964" y="1246442"/>
                </a:lnTo>
                <a:lnTo>
                  <a:pt x="3594964" y="1229297"/>
                </a:lnTo>
                <a:lnTo>
                  <a:pt x="3577819" y="1229297"/>
                </a:lnTo>
                <a:lnTo>
                  <a:pt x="3577819" y="1246442"/>
                </a:lnTo>
                <a:lnTo>
                  <a:pt x="3560674" y="1246442"/>
                </a:lnTo>
                <a:lnTo>
                  <a:pt x="3560674" y="1263587"/>
                </a:lnTo>
                <a:lnTo>
                  <a:pt x="3577819" y="1263587"/>
                </a:lnTo>
                <a:lnTo>
                  <a:pt x="3577819" y="1280732"/>
                </a:lnTo>
                <a:close/>
                <a:moveTo>
                  <a:pt x="3507867" y="1421663"/>
                </a:moveTo>
                <a:lnTo>
                  <a:pt x="3527755" y="1421663"/>
                </a:lnTo>
                <a:lnTo>
                  <a:pt x="3527755" y="1402118"/>
                </a:lnTo>
                <a:lnTo>
                  <a:pt x="3547301" y="1402118"/>
                </a:lnTo>
                <a:lnTo>
                  <a:pt x="3547301" y="1382230"/>
                </a:lnTo>
                <a:lnTo>
                  <a:pt x="3527755" y="1382230"/>
                </a:lnTo>
                <a:lnTo>
                  <a:pt x="3527755" y="1362685"/>
                </a:lnTo>
                <a:lnTo>
                  <a:pt x="3507867" y="1362685"/>
                </a:lnTo>
                <a:lnTo>
                  <a:pt x="3507867" y="1382230"/>
                </a:lnTo>
                <a:lnTo>
                  <a:pt x="3488322" y="1382230"/>
                </a:lnTo>
                <a:lnTo>
                  <a:pt x="3488322" y="1402118"/>
                </a:lnTo>
                <a:lnTo>
                  <a:pt x="3507867" y="1402118"/>
                </a:lnTo>
                <a:lnTo>
                  <a:pt x="3507867" y="1421663"/>
                </a:lnTo>
                <a:close/>
                <a:moveTo>
                  <a:pt x="3509239" y="1143572"/>
                </a:moveTo>
                <a:lnTo>
                  <a:pt x="3526384" y="1143572"/>
                </a:lnTo>
                <a:lnTo>
                  <a:pt x="3526384" y="1126427"/>
                </a:lnTo>
                <a:lnTo>
                  <a:pt x="3543529" y="1126427"/>
                </a:lnTo>
                <a:lnTo>
                  <a:pt x="3543529" y="1109282"/>
                </a:lnTo>
                <a:lnTo>
                  <a:pt x="3526384" y="1109282"/>
                </a:lnTo>
                <a:lnTo>
                  <a:pt x="3526384" y="1092137"/>
                </a:lnTo>
                <a:lnTo>
                  <a:pt x="3509239" y="1092137"/>
                </a:lnTo>
                <a:lnTo>
                  <a:pt x="3509239" y="1109282"/>
                </a:lnTo>
                <a:lnTo>
                  <a:pt x="3492094" y="1109282"/>
                </a:lnTo>
                <a:lnTo>
                  <a:pt x="3492094" y="1126427"/>
                </a:lnTo>
                <a:lnTo>
                  <a:pt x="3509239" y="1126427"/>
                </a:lnTo>
                <a:lnTo>
                  <a:pt x="3509239" y="1143572"/>
                </a:lnTo>
                <a:close/>
                <a:moveTo>
                  <a:pt x="3510953" y="864108"/>
                </a:moveTo>
                <a:lnTo>
                  <a:pt x="3524669" y="864108"/>
                </a:lnTo>
                <a:lnTo>
                  <a:pt x="3524669" y="850392"/>
                </a:lnTo>
                <a:lnTo>
                  <a:pt x="3538385" y="850392"/>
                </a:lnTo>
                <a:lnTo>
                  <a:pt x="3538385" y="836676"/>
                </a:lnTo>
                <a:lnTo>
                  <a:pt x="3524669" y="836676"/>
                </a:lnTo>
                <a:lnTo>
                  <a:pt x="3524669" y="822960"/>
                </a:lnTo>
                <a:lnTo>
                  <a:pt x="3510953" y="822960"/>
                </a:lnTo>
                <a:lnTo>
                  <a:pt x="3510953" y="836676"/>
                </a:lnTo>
                <a:lnTo>
                  <a:pt x="3497237" y="836676"/>
                </a:lnTo>
                <a:lnTo>
                  <a:pt x="3497237" y="850392"/>
                </a:lnTo>
                <a:lnTo>
                  <a:pt x="3510953" y="850392"/>
                </a:lnTo>
                <a:lnTo>
                  <a:pt x="3510953" y="864108"/>
                </a:lnTo>
                <a:close/>
                <a:moveTo>
                  <a:pt x="3507181" y="1698384"/>
                </a:moveTo>
                <a:lnTo>
                  <a:pt x="3528441" y="1698384"/>
                </a:lnTo>
                <a:lnTo>
                  <a:pt x="3528441" y="1677124"/>
                </a:lnTo>
                <a:lnTo>
                  <a:pt x="3549701" y="1677124"/>
                </a:lnTo>
                <a:lnTo>
                  <a:pt x="3549701" y="1655864"/>
                </a:lnTo>
                <a:lnTo>
                  <a:pt x="3528441" y="1655864"/>
                </a:lnTo>
                <a:lnTo>
                  <a:pt x="3528441" y="1634604"/>
                </a:lnTo>
                <a:lnTo>
                  <a:pt x="3507181" y="1634604"/>
                </a:lnTo>
                <a:lnTo>
                  <a:pt x="3507181" y="1655864"/>
                </a:lnTo>
                <a:lnTo>
                  <a:pt x="3485921" y="1655864"/>
                </a:lnTo>
                <a:lnTo>
                  <a:pt x="3485921" y="1677124"/>
                </a:lnTo>
                <a:lnTo>
                  <a:pt x="3507181" y="1677124"/>
                </a:lnTo>
                <a:lnTo>
                  <a:pt x="3507181" y="1698384"/>
                </a:lnTo>
                <a:close/>
                <a:moveTo>
                  <a:pt x="1652092" y="664540"/>
                </a:moveTo>
                <a:lnTo>
                  <a:pt x="1652092" y="692315"/>
                </a:lnTo>
                <a:lnTo>
                  <a:pt x="1624317" y="692315"/>
                </a:lnTo>
                <a:lnTo>
                  <a:pt x="1624317" y="720433"/>
                </a:lnTo>
                <a:lnTo>
                  <a:pt x="1652092" y="720433"/>
                </a:lnTo>
                <a:lnTo>
                  <a:pt x="1652092" y="748208"/>
                </a:lnTo>
                <a:lnTo>
                  <a:pt x="1680210" y="748208"/>
                </a:lnTo>
                <a:lnTo>
                  <a:pt x="1680210" y="720433"/>
                </a:lnTo>
                <a:lnTo>
                  <a:pt x="1707985" y="720433"/>
                </a:lnTo>
                <a:lnTo>
                  <a:pt x="1707985" y="692315"/>
                </a:lnTo>
                <a:lnTo>
                  <a:pt x="1680210" y="692315"/>
                </a:lnTo>
                <a:lnTo>
                  <a:pt x="1680210" y="664540"/>
                </a:lnTo>
                <a:lnTo>
                  <a:pt x="1652092" y="664540"/>
                </a:lnTo>
                <a:close/>
                <a:moveTo>
                  <a:pt x="3576790" y="1557795"/>
                </a:moveTo>
                <a:lnTo>
                  <a:pt x="3595993" y="1557795"/>
                </a:lnTo>
                <a:lnTo>
                  <a:pt x="3595993" y="1538935"/>
                </a:lnTo>
                <a:lnTo>
                  <a:pt x="3614852" y="1538935"/>
                </a:lnTo>
                <a:lnTo>
                  <a:pt x="3614852" y="1519733"/>
                </a:lnTo>
                <a:lnTo>
                  <a:pt x="3595993" y="1519733"/>
                </a:lnTo>
                <a:lnTo>
                  <a:pt x="3595993" y="1500873"/>
                </a:lnTo>
                <a:lnTo>
                  <a:pt x="3576790" y="1500873"/>
                </a:lnTo>
                <a:lnTo>
                  <a:pt x="3576790" y="1519733"/>
                </a:lnTo>
                <a:lnTo>
                  <a:pt x="3557930" y="1519733"/>
                </a:lnTo>
                <a:lnTo>
                  <a:pt x="3557930" y="1538935"/>
                </a:lnTo>
                <a:lnTo>
                  <a:pt x="3576790" y="1538935"/>
                </a:lnTo>
                <a:lnTo>
                  <a:pt x="3576790" y="1557795"/>
                </a:lnTo>
                <a:close/>
                <a:moveTo>
                  <a:pt x="3439287" y="1284846"/>
                </a:moveTo>
                <a:lnTo>
                  <a:pt x="3459175" y="1284846"/>
                </a:lnTo>
                <a:lnTo>
                  <a:pt x="3459175" y="1264958"/>
                </a:lnTo>
                <a:lnTo>
                  <a:pt x="3479063" y="1264958"/>
                </a:lnTo>
                <a:lnTo>
                  <a:pt x="3479063" y="1245070"/>
                </a:lnTo>
                <a:lnTo>
                  <a:pt x="3459175" y="1245070"/>
                </a:lnTo>
                <a:lnTo>
                  <a:pt x="3459175" y="1225182"/>
                </a:lnTo>
                <a:lnTo>
                  <a:pt x="3439287" y="1225182"/>
                </a:lnTo>
                <a:lnTo>
                  <a:pt x="3439287" y="1245070"/>
                </a:lnTo>
                <a:lnTo>
                  <a:pt x="3419399" y="1245070"/>
                </a:lnTo>
                <a:lnTo>
                  <a:pt x="3419399" y="1264958"/>
                </a:lnTo>
                <a:lnTo>
                  <a:pt x="3439287" y="1264958"/>
                </a:lnTo>
                <a:lnTo>
                  <a:pt x="3439287" y="1284846"/>
                </a:lnTo>
                <a:close/>
                <a:moveTo>
                  <a:pt x="3438259" y="1562595"/>
                </a:moveTo>
                <a:lnTo>
                  <a:pt x="3460204" y="1562595"/>
                </a:lnTo>
                <a:lnTo>
                  <a:pt x="3460204" y="1540307"/>
                </a:lnTo>
                <a:lnTo>
                  <a:pt x="3482492" y="1540307"/>
                </a:lnTo>
                <a:lnTo>
                  <a:pt x="3482492" y="1518361"/>
                </a:lnTo>
                <a:lnTo>
                  <a:pt x="3460204" y="1518361"/>
                </a:lnTo>
                <a:lnTo>
                  <a:pt x="3460204" y="1496073"/>
                </a:lnTo>
                <a:lnTo>
                  <a:pt x="3438259" y="1496073"/>
                </a:lnTo>
                <a:lnTo>
                  <a:pt x="3438259" y="1518361"/>
                </a:lnTo>
                <a:lnTo>
                  <a:pt x="3415970" y="1518361"/>
                </a:lnTo>
                <a:lnTo>
                  <a:pt x="3415970" y="1540307"/>
                </a:lnTo>
                <a:lnTo>
                  <a:pt x="3438259" y="1540307"/>
                </a:lnTo>
                <a:lnTo>
                  <a:pt x="3438259" y="1562595"/>
                </a:lnTo>
                <a:close/>
                <a:moveTo>
                  <a:pt x="3442716" y="725576"/>
                </a:moveTo>
                <a:lnTo>
                  <a:pt x="3455746" y="725576"/>
                </a:lnTo>
                <a:lnTo>
                  <a:pt x="3455746" y="712889"/>
                </a:lnTo>
                <a:lnTo>
                  <a:pt x="3468434" y="712889"/>
                </a:lnTo>
                <a:lnTo>
                  <a:pt x="3468434" y="699859"/>
                </a:lnTo>
                <a:lnTo>
                  <a:pt x="3455746" y="699859"/>
                </a:lnTo>
                <a:lnTo>
                  <a:pt x="3455746" y="687172"/>
                </a:lnTo>
                <a:lnTo>
                  <a:pt x="3442716" y="687172"/>
                </a:lnTo>
                <a:lnTo>
                  <a:pt x="3442716" y="699859"/>
                </a:lnTo>
                <a:lnTo>
                  <a:pt x="3430029" y="699859"/>
                </a:lnTo>
                <a:lnTo>
                  <a:pt x="3430029" y="712889"/>
                </a:lnTo>
                <a:lnTo>
                  <a:pt x="3442716" y="712889"/>
                </a:lnTo>
                <a:lnTo>
                  <a:pt x="3442716" y="725576"/>
                </a:lnTo>
                <a:close/>
                <a:moveTo>
                  <a:pt x="3440659" y="1006069"/>
                </a:moveTo>
                <a:lnTo>
                  <a:pt x="3457804" y="1006069"/>
                </a:lnTo>
                <a:lnTo>
                  <a:pt x="3457804" y="989267"/>
                </a:lnTo>
                <a:lnTo>
                  <a:pt x="3474606" y="989267"/>
                </a:lnTo>
                <a:lnTo>
                  <a:pt x="3474606" y="972122"/>
                </a:lnTo>
                <a:lnTo>
                  <a:pt x="3457804" y="972122"/>
                </a:lnTo>
                <a:lnTo>
                  <a:pt x="3457804" y="955319"/>
                </a:lnTo>
                <a:lnTo>
                  <a:pt x="3440659" y="955319"/>
                </a:lnTo>
                <a:lnTo>
                  <a:pt x="3440659" y="972122"/>
                </a:lnTo>
                <a:lnTo>
                  <a:pt x="3423857" y="972122"/>
                </a:lnTo>
                <a:lnTo>
                  <a:pt x="3423857" y="989267"/>
                </a:lnTo>
                <a:lnTo>
                  <a:pt x="3440659" y="989267"/>
                </a:lnTo>
                <a:lnTo>
                  <a:pt x="3440659" y="1006069"/>
                </a:lnTo>
                <a:close/>
                <a:moveTo>
                  <a:pt x="3579533" y="1001611"/>
                </a:moveTo>
                <a:lnTo>
                  <a:pt x="3593249" y="1001611"/>
                </a:lnTo>
                <a:lnTo>
                  <a:pt x="3593249" y="987552"/>
                </a:lnTo>
                <a:lnTo>
                  <a:pt x="3607308" y="987552"/>
                </a:lnTo>
                <a:lnTo>
                  <a:pt x="3607308" y="973836"/>
                </a:lnTo>
                <a:lnTo>
                  <a:pt x="3593249" y="973836"/>
                </a:lnTo>
                <a:lnTo>
                  <a:pt x="3593249" y="959777"/>
                </a:lnTo>
                <a:lnTo>
                  <a:pt x="3579533" y="959777"/>
                </a:lnTo>
                <a:lnTo>
                  <a:pt x="3579533" y="973836"/>
                </a:lnTo>
                <a:lnTo>
                  <a:pt x="3565474" y="973836"/>
                </a:lnTo>
                <a:lnTo>
                  <a:pt x="3565474" y="987552"/>
                </a:lnTo>
                <a:lnTo>
                  <a:pt x="3579533" y="987552"/>
                </a:lnTo>
                <a:lnTo>
                  <a:pt x="3579533" y="1001611"/>
                </a:lnTo>
                <a:close/>
                <a:moveTo>
                  <a:pt x="3368307" y="1903781"/>
                </a:moveTo>
                <a:lnTo>
                  <a:pt x="3368307" y="1928470"/>
                </a:lnTo>
                <a:lnTo>
                  <a:pt x="3343618" y="1928470"/>
                </a:lnTo>
                <a:lnTo>
                  <a:pt x="3343618" y="1953158"/>
                </a:lnTo>
                <a:lnTo>
                  <a:pt x="3368307" y="1953158"/>
                </a:lnTo>
                <a:lnTo>
                  <a:pt x="3368307" y="1977847"/>
                </a:lnTo>
                <a:lnTo>
                  <a:pt x="3392996" y="1977847"/>
                </a:lnTo>
                <a:lnTo>
                  <a:pt x="3392996" y="1953158"/>
                </a:lnTo>
                <a:lnTo>
                  <a:pt x="3417685" y="1953158"/>
                </a:lnTo>
                <a:lnTo>
                  <a:pt x="3417685" y="1928470"/>
                </a:lnTo>
                <a:lnTo>
                  <a:pt x="3392996" y="1928470"/>
                </a:lnTo>
                <a:lnTo>
                  <a:pt x="3392996" y="1903781"/>
                </a:lnTo>
                <a:lnTo>
                  <a:pt x="3368307" y="1903781"/>
                </a:lnTo>
                <a:close/>
                <a:moveTo>
                  <a:pt x="3716693" y="1275931"/>
                </a:moveTo>
                <a:lnTo>
                  <a:pt x="3730409" y="1275931"/>
                </a:lnTo>
                <a:lnTo>
                  <a:pt x="3730409" y="1261872"/>
                </a:lnTo>
                <a:lnTo>
                  <a:pt x="3744468" y="1261872"/>
                </a:lnTo>
                <a:lnTo>
                  <a:pt x="3744468" y="1248156"/>
                </a:lnTo>
                <a:lnTo>
                  <a:pt x="3730409" y="1248156"/>
                </a:lnTo>
                <a:lnTo>
                  <a:pt x="3730409" y="1234097"/>
                </a:lnTo>
                <a:lnTo>
                  <a:pt x="3716693" y="1234097"/>
                </a:lnTo>
                <a:lnTo>
                  <a:pt x="3716693" y="1248156"/>
                </a:lnTo>
                <a:lnTo>
                  <a:pt x="3702634" y="1248156"/>
                </a:lnTo>
                <a:lnTo>
                  <a:pt x="3702634" y="1261872"/>
                </a:lnTo>
                <a:lnTo>
                  <a:pt x="3716693" y="1261872"/>
                </a:lnTo>
                <a:lnTo>
                  <a:pt x="3716693" y="1275931"/>
                </a:lnTo>
                <a:close/>
                <a:moveTo>
                  <a:pt x="3784588" y="1688783"/>
                </a:moveTo>
                <a:lnTo>
                  <a:pt x="3799675" y="1688783"/>
                </a:lnTo>
                <a:lnTo>
                  <a:pt x="3799675" y="1674038"/>
                </a:lnTo>
                <a:lnTo>
                  <a:pt x="3814420" y="1674038"/>
                </a:lnTo>
                <a:lnTo>
                  <a:pt x="3814420" y="1658950"/>
                </a:lnTo>
                <a:lnTo>
                  <a:pt x="3799675" y="1658950"/>
                </a:lnTo>
                <a:lnTo>
                  <a:pt x="3799675" y="1644206"/>
                </a:lnTo>
                <a:lnTo>
                  <a:pt x="3784588" y="1644206"/>
                </a:lnTo>
                <a:lnTo>
                  <a:pt x="3784588" y="1658950"/>
                </a:lnTo>
                <a:lnTo>
                  <a:pt x="3769843" y="1658950"/>
                </a:lnTo>
                <a:lnTo>
                  <a:pt x="3769843" y="1674038"/>
                </a:lnTo>
                <a:lnTo>
                  <a:pt x="3784588" y="1674038"/>
                </a:lnTo>
                <a:lnTo>
                  <a:pt x="3784588" y="1688783"/>
                </a:lnTo>
                <a:close/>
                <a:moveTo>
                  <a:pt x="3854539" y="1548194"/>
                </a:moveTo>
                <a:lnTo>
                  <a:pt x="3866884" y="1548194"/>
                </a:lnTo>
                <a:lnTo>
                  <a:pt x="3866884" y="1535506"/>
                </a:lnTo>
                <a:lnTo>
                  <a:pt x="3879571" y="1535506"/>
                </a:lnTo>
                <a:lnTo>
                  <a:pt x="3879571" y="1523162"/>
                </a:lnTo>
                <a:lnTo>
                  <a:pt x="3866884" y="1523162"/>
                </a:lnTo>
                <a:lnTo>
                  <a:pt x="3866884" y="1510475"/>
                </a:lnTo>
                <a:lnTo>
                  <a:pt x="3854539" y="1510475"/>
                </a:lnTo>
                <a:lnTo>
                  <a:pt x="3854539" y="1523162"/>
                </a:lnTo>
                <a:lnTo>
                  <a:pt x="3841852" y="1523162"/>
                </a:lnTo>
                <a:lnTo>
                  <a:pt x="3841852" y="1535506"/>
                </a:lnTo>
                <a:lnTo>
                  <a:pt x="3854539" y="1535506"/>
                </a:lnTo>
                <a:lnTo>
                  <a:pt x="3854539" y="1548194"/>
                </a:lnTo>
                <a:close/>
                <a:moveTo>
                  <a:pt x="2091690" y="3217774"/>
                </a:moveTo>
                <a:lnTo>
                  <a:pt x="2091690" y="3189313"/>
                </a:lnTo>
                <a:lnTo>
                  <a:pt x="2120151" y="3189313"/>
                </a:lnTo>
                <a:lnTo>
                  <a:pt x="2120151" y="3161195"/>
                </a:lnTo>
                <a:lnTo>
                  <a:pt x="2091690" y="3161195"/>
                </a:lnTo>
                <a:lnTo>
                  <a:pt x="2091690" y="3132734"/>
                </a:lnTo>
                <a:lnTo>
                  <a:pt x="2063572" y="3132734"/>
                </a:lnTo>
                <a:lnTo>
                  <a:pt x="2063572" y="3161195"/>
                </a:lnTo>
                <a:lnTo>
                  <a:pt x="2035111" y="3161195"/>
                </a:lnTo>
                <a:lnTo>
                  <a:pt x="2035111" y="3189313"/>
                </a:lnTo>
                <a:lnTo>
                  <a:pt x="2063572" y="3189313"/>
                </a:lnTo>
                <a:lnTo>
                  <a:pt x="2063572" y="3217774"/>
                </a:lnTo>
                <a:lnTo>
                  <a:pt x="2091690" y="3217774"/>
                </a:lnTo>
                <a:close/>
                <a:moveTo>
                  <a:pt x="3645713" y="1693926"/>
                </a:moveTo>
                <a:lnTo>
                  <a:pt x="3664229" y="1693926"/>
                </a:lnTo>
                <a:lnTo>
                  <a:pt x="3664229" y="1675752"/>
                </a:lnTo>
                <a:lnTo>
                  <a:pt x="3682403" y="1675752"/>
                </a:lnTo>
                <a:lnTo>
                  <a:pt x="3682403" y="1657236"/>
                </a:lnTo>
                <a:lnTo>
                  <a:pt x="3664229" y="1657236"/>
                </a:lnTo>
                <a:lnTo>
                  <a:pt x="3664229" y="1639062"/>
                </a:lnTo>
                <a:lnTo>
                  <a:pt x="3645713" y="1639062"/>
                </a:lnTo>
                <a:lnTo>
                  <a:pt x="3645713" y="1657236"/>
                </a:lnTo>
                <a:lnTo>
                  <a:pt x="3627539" y="1657236"/>
                </a:lnTo>
                <a:lnTo>
                  <a:pt x="3627539" y="1675752"/>
                </a:lnTo>
                <a:lnTo>
                  <a:pt x="3645713" y="1675752"/>
                </a:lnTo>
                <a:lnTo>
                  <a:pt x="3645713" y="1693926"/>
                </a:lnTo>
                <a:close/>
                <a:moveTo>
                  <a:pt x="3646742" y="1417206"/>
                </a:moveTo>
                <a:lnTo>
                  <a:pt x="3663201" y="1417206"/>
                </a:lnTo>
                <a:lnTo>
                  <a:pt x="3663201" y="1400404"/>
                </a:lnTo>
                <a:lnTo>
                  <a:pt x="3680003" y="1400404"/>
                </a:lnTo>
                <a:lnTo>
                  <a:pt x="3680003" y="1383944"/>
                </a:lnTo>
                <a:lnTo>
                  <a:pt x="3663201" y="1383944"/>
                </a:lnTo>
                <a:lnTo>
                  <a:pt x="3663201" y="1367142"/>
                </a:lnTo>
                <a:lnTo>
                  <a:pt x="3646742" y="1367142"/>
                </a:lnTo>
                <a:lnTo>
                  <a:pt x="3646742" y="1383944"/>
                </a:lnTo>
                <a:lnTo>
                  <a:pt x="3629939" y="1383944"/>
                </a:lnTo>
                <a:lnTo>
                  <a:pt x="3629939" y="1400404"/>
                </a:lnTo>
                <a:lnTo>
                  <a:pt x="3646742" y="1400404"/>
                </a:lnTo>
                <a:lnTo>
                  <a:pt x="3646742" y="1417206"/>
                </a:lnTo>
                <a:close/>
                <a:moveTo>
                  <a:pt x="3715664" y="1552994"/>
                </a:moveTo>
                <a:lnTo>
                  <a:pt x="3731438" y="1552994"/>
                </a:lnTo>
                <a:lnTo>
                  <a:pt x="3731438" y="1537221"/>
                </a:lnTo>
                <a:lnTo>
                  <a:pt x="3747211" y="1537221"/>
                </a:lnTo>
                <a:lnTo>
                  <a:pt x="3747211" y="1521447"/>
                </a:lnTo>
                <a:lnTo>
                  <a:pt x="3731438" y="1521447"/>
                </a:lnTo>
                <a:lnTo>
                  <a:pt x="3731438" y="1505674"/>
                </a:lnTo>
                <a:lnTo>
                  <a:pt x="3715664" y="1505674"/>
                </a:lnTo>
                <a:lnTo>
                  <a:pt x="3715664" y="1521447"/>
                </a:lnTo>
                <a:lnTo>
                  <a:pt x="3699891" y="1521447"/>
                </a:lnTo>
                <a:lnTo>
                  <a:pt x="3699891" y="1537221"/>
                </a:lnTo>
                <a:lnTo>
                  <a:pt x="3715664" y="1537221"/>
                </a:lnTo>
                <a:lnTo>
                  <a:pt x="3715664" y="1552994"/>
                </a:lnTo>
                <a:close/>
                <a:moveTo>
                  <a:pt x="3647770" y="1139114"/>
                </a:moveTo>
                <a:lnTo>
                  <a:pt x="3662172" y="1139114"/>
                </a:lnTo>
                <a:lnTo>
                  <a:pt x="3662172" y="1125055"/>
                </a:lnTo>
                <a:lnTo>
                  <a:pt x="3676231" y="1125055"/>
                </a:lnTo>
                <a:lnTo>
                  <a:pt x="3676231" y="1110653"/>
                </a:lnTo>
                <a:lnTo>
                  <a:pt x="3662172" y="1110653"/>
                </a:lnTo>
                <a:lnTo>
                  <a:pt x="3662172" y="1096594"/>
                </a:lnTo>
                <a:lnTo>
                  <a:pt x="3647770" y="1096594"/>
                </a:lnTo>
                <a:lnTo>
                  <a:pt x="3647770" y="1110653"/>
                </a:lnTo>
                <a:lnTo>
                  <a:pt x="3633712" y="1110653"/>
                </a:lnTo>
                <a:lnTo>
                  <a:pt x="3633712" y="1125055"/>
                </a:lnTo>
                <a:lnTo>
                  <a:pt x="3647770" y="1125055"/>
                </a:lnTo>
                <a:lnTo>
                  <a:pt x="3647770" y="1139114"/>
                </a:lnTo>
                <a:close/>
                <a:moveTo>
                  <a:pt x="3785273" y="1412405"/>
                </a:moveTo>
                <a:lnTo>
                  <a:pt x="3798989" y="1412405"/>
                </a:lnTo>
                <a:lnTo>
                  <a:pt x="3798989" y="1399032"/>
                </a:lnTo>
                <a:lnTo>
                  <a:pt x="3812362" y="1399032"/>
                </a:lnTo>
                <a:lnTo>
                  <a:pt x="3812362" y="1385316"/>
                </a:lnTo>
                <a:lnTo>
                  <a:pt x="3798989" y="1385316"/>
                </a:lnTo>
                <a:lnTo>
                  <a:pt x="3798989" y="1371943"/>
                </a:lnTo>
                <a:lnTo>
                  <a:pt x="3785273" y="1371943"/>
                </a:lnTo>
                <a:lnTo>
                  <a:pt x="3785273" y="1385316"/>
                </a:lnTo>
                <a:lnTo>
                  <a:pt x="3771900" y="1385316"/>
                </a:lnTo>
                <a:lnTo>
                  <a:pt x="3771900" y="1399032"/>
                </a:lnTo>
                <a:lnTo>
                  <a:pt x="3785273" y="1399032"/>
                </a:lnTo>
                <a:lnTo>
                  <a:pt x="3785273" y="1412405"/>
                </a:lnTo>
                <a:close/>
                <a:moveTo>
                  <a:pt x="2571750" y="3080271"/>
                </a:moveTo>
                <a:lnTo>
                  <a:pt x="2571750" y="3052153"/>
                </a:lnTo>
                <a:lnTo>
                  <a:pt x="2599868" y="3052153"/>
                </a:lnTo>
                <a:lnTo>
                  <a:pt x="2599868" y="3024035"/>
                </a:lnTo>
                <a:lnTo>
                  <a:pt x="2571750" y="3024035"/>
                </a:lnTo>
                <a:lnTo>
                  <a:pt x="2571750" y="2995917"/>
                </a:lnTo>
                <a:lnTo>
                  <a:pt x="2543632" y="2995917"/>
                </a:lnTo>
                <a:lnTo>
                  <a:pt x="2543632" y="3024035"/>
                </a:lnTo>
                <a:lnTo>
                  <a:pt x="2515514" y="3024035"/>
                </a:lnTo>
                <a:lnTo>
                  <a:pt x="2515514" y="3052153"/>
                </a:lnTo>
                <a:lnTo>
                  <a:pt x="2543632" y="3052153"/>
                </a:lnTo>
                <a:lnTo>
                  <a:pt x="2543632" y="3080271"/>
                </a:lnTo>
                <a:lnTo>
                  <a:pt x="2571750" y="3080271"/>
                </a:lnTo>
                <a:close/>
                <a:moveTo>
                  <a:pt x="2502142" y="3214688"/>
                </a:moveTo>
                <a:lnTo>
                  <a:pt x="2502142" y="3188284"/>
                </a:lnTo>
                <a:lnTo>
                  <a:pt x="2528545" y="3188284"/>
                </a:lnTo>
                <a:lnTo>
                  <a:pt x="2528545" y="3162224"/>
                </a:lnTo>
                <a:lnTo>
                  <a:pt x="2502142" y="3162224"/>
                </a:lnTo>
                <a:lnTo>
                  <a:pt x="2502142" y="3135821"/>
                </a:lnTo>
                <a:lnTo>
                  <a:pt x="2476081" y="3135821"/>
                </a:lnTo>
                <a:lnTo>
                  <a:pt x="2476081" y="3162224"/>
                </a:lnTo>
                <a:lnTo>
                  <a:pt x="2449678" y="3162224"/>
                </a:lnTo>
                <a:lnTo>
                  <a:pt x="2449678" y="3188284"/>
                </a:lnTo>
                <a:lnTo>
                  <a:pt x="2476081" y="3188284"/>
                </a:lnTo>
                <a:lnTo>
                  <a:pt x="2476081" y="3214688"/>
                </a:lnTo>
                <a:lnTo>
                  <a:pt x="2502142" y="3214688"/>
                </a:lnTo>
                <a:close/>
                <a:moveTo>
                  <a:pt x="2638958" y="3213316"/>
                </a:moveTo>
                <a:lnTo>
                  <a:pt x="2638958" y="3187941"/>
                </a:lnTo>
                <a:lnTo>
                  <a:pt x="2664333" y="3187941"/>
                </a:lnTo>
                <a:lnTo>
                  <a:pt x="2664333" y="3162567"/>
                </a:lnTo>
                <a:lnTo>
                  <a:pt x="2638958" y="3162567"/>
                </a:lnTo>
                <a:lnTo>
                  <a:pt x="2638958" y="3137192"/>
                </a:lnTo>
                <a:lnTo>
                  <a:pt x="2613584" y="3137192"/>
                </a:lnTo>
                <a:lnTo>
                  <a:pt x="2613584" y="3162567"/>
                </a:lnTo>
                <a:lnTo>
                  <a:pt x="2588209" y="3162567"/>
                </a:lnTo>
                <a:lnTo>
                  <a:pt x="2588209" y="3187941"/>
                </a:lnTo>
                <a:lnTo>
                  <a:pt x="2613584" y="3187941"/>
                </a:lnTo>
                <a:lnTo>
                  <a:pt x="2613584" y="3213316"/>
                </a:lnTo>
                <a:lnTo>
                  <a:pt x="2638958" y="3213316"/>
                </a:lnTo>
                <a:close/>
                <a:moveTo>
                  <a:pt x="2432876" y="3349104"/>
                </a:moveTo>
                <a:lnTo>
                  <a:pt x="2432876" y="3324758"/>
                </a:lnTo>
                <a:lnTo>
                  <a:pt x="2457221" y="3324758"/>
                </a:lnTo>
                <a:lnTo>
                  <a:pt x="2457221" y="3300070"/>
                </a:lnTo>
                <a:lnTo>
                  <a:pt x="2432876" y="3300070"/>
                </a:lnTo>
                <a:lnTo>
                  <a:pt x="2432876" y="3275724"/>
                </a:lnTo>
                <a:lnTo>
                  <a:pt x="2408187" y="3275724"/>
                </a:lnTo>
                <a:lnTo>
                  <a:pt x="2408187" y="3300070"/>
                </a:lnTo>
                <a:lnTo>
                  <a:pt x="2383841" y="3300070"/>
                </a:lnTo>
                <a:lnTo>
                  <a:pt x="2383841" y="3324758"/>
                </a:lnTo>
                <a:lnTo>
                  <a:pt x="2408187" y="3324758"/>
                </a:lnTo>
                <a:lnTo>
                  <a:pt x="2408187" y="3349104"/>
                </a:lnTo>
                <a:lnTo>
                  <a:pt x="2432876" y="3349104"/>
                </a:lnTo>
                <a:close/>
                <a:moveTo>
                  <a:pt x="2708224" y="3078213"/>
                </a:moveTo>
                <a:lnTo>
                  <a:pt x="2708224" y="3051467"/>
                </a:lnTo>
                <a:lnTo>
                  <a:pt x="2734970" y="3051467"/>
                </a:lnTo>
                <a:lnTo>
                  <a:pt x="2734970" y="3024721"/>
                </a:lnTo>
                <a:lnTo>
                  <a:pt x="2708224" y="3024721"/>
                </a:lnTo>
                <a:lnTo>
                  <a:pt x="2708224" y="2997975"/>
                </a:lnTo>
                <a:lnTo>
                  <a:pt x="2681478" y="2997975"/>
                </a:lnTo>
                <a:lnTo>
                  <a:pt x="2681478" y="3024721"/>
                </a:lnTo>
                <a:lnTo>
                  <a:pt x="2654732" y="3024721"/>
                </a:lnTo>
                <a:lnTo>
                  <a:pt x="2654732" y="3051467"/>
                </a:lnTo>
                <a:lnTo>
                  <a:pt x="2681478" y="3051467"/>
                </a:lnTo>
                <a:lnTo>
                  <a:pt x="2681478" y="3078213"/>
                </a:lnTo>
                <a:lnTo>
                  <a:pt x="2708224" y="3078213"/>
                </a:lnTo>
                <a:close/>
                <a:moveTo>
                  <a:pt x="2365667" y="3216402"/>
                </a:moveTo>
                <a:lnTo>
                  <a:pt x="2365667" y="3188970"/>
                </a:lnTo>
                <a:lnTo>
                  <a:pt x="2393099" y="3188970"/>
                </a:lnTo>
                <a:lnTo>
                  <a:pt x="2393099" y="3161538"/>
                </a:lnTo>
                <a:lnTo>
                  <a:pt x="2365667" y="3161538"/>
                </a:lnTo>
                <a:lnTo>
                  <a:pt x="2365667" y="3134106"/>
                </a:lnTo>
                <a:lnTo>
                  <a:pt x="2338235" y="3134106"/>
                </a:lnTo>
                <a:lnTo>
                  <a:pt x="2338235" y="3161538"/>
                </a:lnTo>
                <a:lnTo>
                  <a:pt x="2310803" y="3161538"/>
                </a:lnTo>
                <a:lnTo>
                  <a:pt x="2310803" y="3188970"/>
                </a:lnTo>
                <a:lnTo>
                  <a:pt x="2338235" y="3188970"/>
                </a:lnTo>
                <a:lnTo>
                  <a:pt x="2338235" y="3216402"/>
                </a:lnTo>
                <a:lnTo>
                  <a:pt x="2365667" y="3216402"/>
                </a:lnTo>
                <a:close/>
                <a:moveTo>
                  <a:pt x="2159242" y="3351162"/>
                </a:moveTo>
                <a:lnTo>
                  <a:pt x="2159242" y="3325444"/>
                </a:lnTo>
                <a:lnTo>
                  <a:pt x="2184959" y="3325444"/>
                </a:lnTo>
                <a:lnTo>
                  <a:pt x="2184959" y="3299384"/>
                </a:lnTo>
                <a:lnTo>
                  <a:pt x="2159242" y="3299384"/>
                </a:lnTo>
                <a:lnTo>
                  <a:pt x="2159242" y="3273666"/>
                </a:lnTo>
                <a:lnTo>
                  <a:pt x="2133181" y="3273666"/>
                </a:lnTo>
                <a:lnTo>
                  <a:pt x="2133181" y="3299384"/>
                </a:lnTo>
                <a:lnTo>
                  <a:pt x="2107463" y="3299384"/>
                </a:lnTo>
                <a:lnTo>
                  <a:pt x="2107463" y="3325444"/>
                </a:lnTo>
                <a:lnTo>
                  <a:pt x="2133181" y="3325444"/>
                </a:lnTo>
                <a:lnTo>
                  <a:pt x="2133181" y="3351162"/>
                </a:lnTo>
                <a:lnTo>
                  <a:pt x="2159242" y="3351162"/>
                </a:lnTo>
                <a:close/>
                <a:moveTo>
                  <a:pt x="2228850" y="3217088"/>
                </a:moveTo>
                <a:lnTo>
                  <a:pt x="2228850" y="3189313"/>
                </a:lnTo>
                <a:lnTo>
                  <a:pt x="2256625" y="3189313"/>
                </a:lnTo>
                <a:lnTo>
                  <a:pt x="2256625" y="3161195"/>
                </a:lnTo>
                <a:lnTo>
                  <a:pt x="2228850" y="3161195"/>
                </a:lnTo>
                <a:lnTo>
                  <a:pt x="2228850" y="3133420"/>
                </a:lnTo>
                <a:lnTo>
                  <a:pt x="2200732" y="3133420"/>
                </a:lnTo>
                <a:lnTo>
                  <a:pt x="2200732" y="3161195"/>
                </a:lnTo>
                <a:lnTo>
                  <a:pt x="2172958" y="3161195"/>
                </a:lnTo>
                <a:lnTo>
                  <a:pt x="2172958" y="3189313"/>
                </a:lnTo>
                <a:lnTo>
                  <a:pt x="2200732" y="3189313"/>
                </a:lnTo>
                <a:lnTo>
                  <a:pt x="2200732" y="3217088"/>
                </a:lnTo>
                <a:lnTo>
                  <a:pt x="2228850" y="3217088"/>
                </a:lnTo>
                <a:close/>
                <a:moveTo>
                  <a:pt x="2296058" y="3350476"/>
                </a:moveTo>
                <a:lnTo>
                  <a:pt x="2296058" y="3325101"/>
                </a:lnTo>
                <a:lnTo>
                  <a:pt x="2321433" y="3325101"/>
                </a:lnTo>
                <a:lnTo>
                  <a:pt x="2321433" y="3299727"/>
                </a:lnTo>
                <a:lnTo>
                  <a:pt x="2296058" y="3299727"/>
                </a:lnTo>
                <a:lnTo>
                  <a:pt x="2296058" y="3274352"/>
                </a:lnTo>
                <a:lnTo>
                  <a:pt x="2270684" y="3274352"/>
                </a:lnTo>
                <a:lnTo>
                  <a:pt x="2270684" y="3299727"/>
                </a:lnTo>
                <a:lnTo>
                  <a:pt x="2245309" y="3299727"/>
                </a:lnTo>
                <a:lnTo>
                  <a:pt x="2245309" y="3325101"/>
                </a:lnTo>
                <a:lnTo>
                  <a:pt x="2270684" y="3325101"/>
                </a:lnTo>
                <a:lnTo>
                  <a:pt x="2270684" y="3350476"/>
                </a:lnTo>
                <a:lnTo>
                  <a:pt x="2296058" y="3350476"/>
                </a:lnTo>
                <a:close/>
                <a:moveTo>
                  <a:pt x="2844698" y="3076156"/>
                </a:moveTo>
                <a:lnTo>
                  <a:pt x="2844698" y="3050781"/>
                </a:lnTo>
                <a:lnTo>
                  <a:pt x="2870073" y="3050781"/>
                </a:lnTo>
                <a:lnTo>
                  <a:pt x="2870073" y="3025407"/>
                </a:lnTo>
                <a:lnTo>
                  <a:pt x="2844698" y="3025407"/>
                </a:lnTo>
                <a:lnTo>
                  <a:pt x="2844698" y="3000032"/>
                </a:lnTo>
                <a:lnTo>
                  <a:pt x="2819324" y="3000032"/>
                </a:lnTo>
                <a:lnTo>
                  <a:pt x="2819324" y="3025407"/>
                </a:lnTo>
                <a:lnTo>
                  <a:pt x="2793949" y="3025407"/>
                </a:lnTo>
                <a:lnTo>
                  <a:pt x="2793949" y="3050781"/>
                </a:lnTo>
                <a:lnTo>
                  <a:pt x="2819324" y="3050781"/>
                </a:lnTo>
                <a:lnTo>
                  <a:pt x="2819324" y="3076156"/>
                </a:lnTo>
                <a:lnTo>
                  <a:pt x="2844698" y="3076156"/>
                </a:lnTo>
                <a:close/>
                <a:moveTo>
                  <a:pt x="3256178" y="2527516"/>
                </a:moveTo>
                <a:lnTo>
                  <a:pt x="3256178" y="2502141"/>
                </a:lnTo>
                <a:lnTo>
                  <a:pt x="3281553" y="2502141"/>
                </a:lnTo>
                <a:lnTo>
                  <a:pt x="3281553" y="2476767"/>
                </a:lnTo>
                <a:lnTo>
                  <a:pt x="3256178" y="2476767"/>
                </a:lnTo>
                <a:lnTo>
                  <a:pt x="3256178" y="2451392"/>
                </a:lnTo>
                <a:lnTo>
                  <a:pt x="3230804" y="2451392"/>
                </a:lnTo>
                <a:lnTo>
                  <a:pt x="3230804" y="2476767"/>
                </a:lnTo>
                <a:lnTo>
                  <a:pt x="3205429" y="2476767"/>
                </a:lnTo>
                <a:lnTo>
                  <a:pt x="3205429" y="2502141"/>
                </a:lnTo>
                <a:lnTo>
                  <a:pt x="3230804" y="2502141"/>
                </a:lnTo>
                <a:lnTo>
                  <a:pt x="3230804" y="2527516"/>
                </a:lnTo>
                <a:lnTo>
                  <a:pt x="3256178" y="2527516"/>
                </a:lnTo>
                <a:close/>
                <a:moveTo>
                  <a:pt x="3187598" y="2664676"/>
                </a:moveTo>
                <a:lnTo>
                  <a:pt x="3187598" y="2639301"/>
                </a:lnTo>
                <a:lnTo>
                  <a:pt x="3212973" y="2639301"/>
                </a:lnTo>
                <a:lnTo>
                  <a:pt x="3212973" y="2613927"/>
                </a:lnTo>
                <a:lnTo>
                  <a:pt x="3187598" y="2613927"/>
                </a:lnTo>
                <a:lnTo>
                  <a:pt x="3187598" y="2588552"/>
                </a:lnTo>
                <a:lnTo>
                  <a:pt x="3162224" y="2588552"/>
                </a:lnTo>
                <a:lnTo>
                  <a:pt x="3162224" y="2613927"/>
                </a:lnTo>
                <a:lnTo>
                  <a:pt x="3136849" y="2613927"/>
                </a:lnTo>
                <a:lnTo>
                  <a:pt x="3136849" y="2639301"/>
                </a:lnTo>
                <a:lnTo>
                  <a:pt x="3162224" y="2639301"/>
                </a:lnTo>
                <a:lnTo>
                  <a:pt x="3162224" y="2664676"/>
                </a:lnTo>
                <a:lnTo>
                  <a:pt x="3187598" y="2664676"/>
                </a:lnTo>
                <a:close/>
                <a:moveTo>
                  <a:pt x="3324416" y="2389670"/>
                </a:moveTo>
                <a:lnTo>
                  <a:pt x="3324416" y="2364638"/>
                </a:lnTo>
                <a:lnTo>
                  <a:pt x="3349447" y="2364638"/>
                </a:lnTo>
                <a:lnTo>
                  <a:pt x="3349447" y="2339950"/>
                </a:lnTo>
                <a:lnTo>
                  <a:pt x="3324416" y="2339950"/>
                </a:lnTo>
                <a:lnTo>
                  <a:pt x="3324416" y="2314918"/>
                </a:lnTo>
                <a:lnTo>
                  <a:pt x="3299727" y="2314918"/>
                </a:lnTo>
                <a:lnTo>
                  <a:pt x="3299727" y="2339950"/>
                </a:lnTo>
                <a:lnTo>
                  <a:pt x="3274695" y="2339950"/>
                </a:lnTo>
                <a:lnTo>
                  <a:pt x="3274695" y="2364638"/>
                </a:lnTo>
                <a:lnTo>
                  <a:pt x="3299727" y="2364638"/>
                </a:lnTo>
                <a:lnTo>
                  <a:pt x="3299727" y="2389670"/>
                </a:lnTo>
                <a:lnTo>
                  <a:pt x="3324416" y="2389670"/>
                </a:lnTo>
                <a:close/>
                <a:moveTo>
                  <a:pt x="3118676" y="2801150"/>
                </a:moveTo>
                <a:lnTo>
                  <a:pt x="3118676" y="2776118"/>
                </a:lnTo>
                <a:lnTo>
                  <a:pt x="3143707" y="2776118"/>
                </a:lnTo>
                <a:lnTo>
                  <a:pt x="3143707" y="2751430"/>
                </a:lnTo>
                <a:lnTo>
                  <a:pt x="3118676" y="2751430"/>
                </a:lnTo>
                <a:lnTo>
                  <a:pt x="3118676" y="2726398"/>
                </a:lnTo>
                <a:lnTo>
                  <a:pt x="3093987" y="2726398"/>
                </a:lnTo>
                <a:lnTo>
                  <a:pt x="3093987" y="2751430"/>
                </a:lnTo>
                <a:lnTo>
                  <a:pt x="3068955" y="2751430"/>
                </a:lnTo>
                <a:lnTo>
                  <a:pt x="3068955" y="2776118"/>
                </a:lnTo>
                <a:lnTo>
                  <a:pt x="3093987" y="2776118"/>
                </a:lnTo>
                <a:lnTo>
                  <a:pt x="3093987" y="2801150"/>
                </a:lnTo>
                <a:lnTo>
                  <a:pt x="3118676" y="2801150"/>
                </a:lnTo>
                <a:close/>
                <a:moveTo>
                  <a:pt x="2913622" y="2940368"/>
                </a:moveTo>
                <a:lnTo>
                  <a:pt x="2913622" y="2913964"/>
                </a:lnTo>
                <a:lnTo>
                  <a:pt x="2940025" y="2913964"/>
                </a:lnTo>
                <a:lnTo>
                  <a:pt x="2940025" y="2887904"/>
                </a:lnTo>
                <a:lnTo>
                  <a:pt x="2913622" y="2887904"/>
                </a:lnTo>
                <a:lnTo>
                  <a:pt x="2913622" y="2861501"/>
                </a:lnTo>
                <a:lnTo>
                  <a:pt x="2887561" y="2861501"/>
                </a:lnTo>
                <a:lnTo>
                  <a:pt x="2887561" y="2887904"/>
                </a:lnTo>
                <a:lnTo>
                  <a:pt x="2861158" y="2887904"/>
                </a:lnTo>
                <a:lnTo>
                  <a:pt x="2861158" y="2913964"/>
                </a:lnTo>
                <a:lnTo>
                  <a:pt x="2887561" y="2913964"/>
                </a:lnTo>
                <a:lnTo>
                  <a:pt x="2887561" y="2940368"/>
                </a:lnTo>
                <a:lnTo>
                  <a:pt x="2913622" y="2940368"/>
                </a:lnTo>
                <a:close/>
                <a:moveTo>
                  <a:pt x="3050096" y="2937624"/>
                </a:moveTo>
                <a:lnTo>
                  <a:pt x="3050096" y="2913278"/>
                </a:lnTo>
                <a:lnTo>
                  <a:pt x="3074441" y="2913278"/>
                </a:lnTo>
                <a:lnTo>
                  <a:pt x="3074441" y="2888590"/>
                </a:lnTo>
                <a:lnTo>
                  <a:pt x="3050096" y="2888590"/>
                </a:lnTo>
                <a:lnTo>
                  <a:pt x="3050096" y="2864244"/>
                </a:lnTo>
                <a:lnTo>
                  <a:pt x="3025407" y="2864244"/>
                </a:lnTo>
                <a:lnTo>
                  <a:pt x="3025407" y="2888590"/>
                </a:lnTo>
                <a:lnTo>
                  <a:pt x="3001061" y="2888590"/>
                </a:lnTo>
                <a:lnTo>
                  <a:pt x="3001061" y="2913278"/>
                </a:lnTo>
                <a:lnTo>
                  <a:pt x="3025407" y="2913278"/>
                </a:lnTo>
                <a:lnTo>
                  <a:pt x="3025407" y="2937624"/>
                </a:lnTo>
                <a:lnTo>
                  <a:pt x="3050096" y="2937624"/>
                </a:lnTo>
                <a:close/>
                <a:moveTo>
                  <a:pt x="3392653" y="2251481"/>
                </a:moveTo>
                <a:lnTo>
                  <a:pt x="3392653" y="2227136"/>
                </a:lnTo>
                <a:lnTo>
                  <a:pt x="3416999" y="2227136"/>
                </a:lnTo>
                <a:lnTo>
                  <a:pt x="3416999" y="2203133"/>
                </a:lnTo>
                <a:lnTo>
                  <a:pt x="3392653" y="2203133"/>
                </a:lnTo>
                <a:lnTo>
                  <a:pt x="3392653" y="2178787"/>
                </a:lnTo>
                <a:lnTo>
                  <a:pt x="3368650" y="2178787"/>
                </a:lnTo>
                <a:lnTo>
                  <a:pt x="3368650" y="2203133"/>
                </a:lnTo>
                <a:lnTo>
                  <a:pt x="3344304" y="2203133"/>
                </a:lnTo>
                <a:lnTo>
                  <a:pt x="3344304" y="2227136"/>
                </a:lnTo>
                <a:lnTo>
                  <a:pt x="3368650" y="2227136"/>
                </a:lnTo>
                <a:lnTo>
                  <a:pt x="3368650" y="2251481"/>
                </a:lnTo>
                <a:lnTo>
                  <a:pt x="3392653" y="2251481"/>
                </a:lnTo>
                <a:close/>
                <a:moveTo>
                  <a:pt x="2777490" y="2943111"/>
                </a:moveTo>
                <a:lnTo>
                  <a:pt x="2777490" y="2914993"/>
                </a:lnTo>
                <a:lnTo>
                  <a:pt x="2805608" y="2914993"/>
                </a:lnTo>
                <a:lnTo>
                  <a:pt x="2805608" y="2886875"/>
                </a:lnTo>
                <a:lnTo>
                  <a:pt x="2777490" y="2886875"/>
                </a:lnTo>
                <a:lnTo>
                  <a:pt x="2777490" y="2858757"/>
                </a:lnTo>
                <a:lnTo>
                  <a:pt x="2749372" y="2858757"/>
                </a:lnTo>
                <a:lnTo>
                  <a:pt x="2749372" y="2886875"/>
                </a:lnTo>
                <a:lnTo>
                  <a:pt x="2721254" y="2886875"/>
                </a:lnTo>
                <a:lnTo>
                  <a:pt x="2721254" y="2914993"/>
                </a:lnTo>
                <a:lnTo>
                  <a:pt x="2749372" y="2914993"/>
                </a:lnTo>
                <a:lnTo>
                  <a:pt x="2749372" y="2943111"/>
                </a:lnTo>
                <a:lnTo>
                  <a:pt x="2777490" y="2943111"/>
                </a:lnTo>
                <a:close/>
                <a:moveTo>
                  <a:pt x="2982544" y="2804236"/>
                </a:moveTo>
                <a:lnTo>
                  <a:pt x="2982544" y="2777147"/>
                </a:lnTo>
                <a:lnTo>
                  <a:pt x="3009634" y="2777147"/>
                </a:lnTo>
                <a:lnTo>
                  <a:pt x="3009634" y="2750401"/>
                </a:lnTo>
                <a:lnTo>
                  <a:pt x="2982544" y="2750401"/>
                </a:lnTo>
                <a:lnTo>
                  <a:pt x="2982544" y="2723312"/>
                </a:lnTo>
                <a:lnTo>
                  <a:pt x="2955798" y="2723312"/>
                </a:lnTo>
                <a:lnTo>
                  <a:pt x="2955798" y="2750401"/>
                </a:lnTo>
                <a:lnTo>
                  <a:pt x="2928709" y="2750401"/>
                </a:lnTo>
                <a:lnTo>
                  <a:pt x="2928709" y="2777147"/>
                </a:lnTo>
                <a:lnTo>
                  <a:pt x="2955798" y="2777147"/>
                </a:lnTo>
                <a:lnTo>
                  <a:pt x="2955798" y="2804236"/>
                </a:lnTo>
                <a:lnTo>
                  <a:pt x="2982544" y="2804236"/>
                </a:lnTo>
                <a:close/>
                <a:moveTo>
                  <a:pt x="1584884" y="531152"/>
                </a:moveTo>
                <a:lnTo>
                  <a:pt x="1584884" y="556527"/>
                </a:lnTo>
                <a:lnTo>
                  <a:pt x="1559509" y="556527"/>
                </a:lnTo>
                <a:lnTo>
                  <a:pt x="1559509" y="581901"/>
                </a:lnTo>
                <a:lnTo>
                  <a:pt x="1584884" y="581901"/>
                </a:lnTo>
                <a:lnTo>
                  <a:pt x="1584884" y="607276"/>
                </a:lnTo>
                <a:lnTo>
                  <a:pt x="1610258" y="607276"/>
                </a:lnTo>
                <a:lnTo>
                  <a:pt x="1610258" y="581901"/>
                </a:lnTo>
                <a:lnTo>
                  <a:pt x="1635633" y="581901"/>
                </a:lnTo>
                <a:lnTo>
                  <a:pt x="1635633" y="556527"/>
                </a:lnTo>
                <a:lnTo>
                  <a:pt x="1610258" y="556527"/>
                </a:lnTo>
                <a:lnTo>
                  <a:pt x="1610258" y="531152"/>
                </a:lnTo>
                <a:lnTo>
                  <a:pt x="1584884" y="531152"/>
                </a:lnTo>
                <a:close/>
                <a:moveTo>
                  <a:pt x="1544764" y="2947911"/>
                </a:moveTo>
                <a:lnTo>
                  <a:pt x="1544764" y="2916707"/>
                </a:lnTo>
                <a:lnTo>
                  <a:pt x="1575968" y="2916707"/>
                </a:lnTo>
                <a:lnTo>
                  <a:pt x="1575968" y="2885161"/>
                </a:lnTo>
                <a:lnTo>
                  <a:pt x="1544764" y="2885161"/>
                </a:lnTo>
                <a:lnTo>
                  <a:pt x="1544764" y="2853957"/>
                </a:lnTo>
                <a:lnTo>
                  <a:pt x="1513218" y="2853957"/>
                </a:lnTo>
                <a:lnTo>
                  <a:pt x="1513218" y="2885161"/>
                </a:lnTo>
                <a:lnTo>
                  <a:pt x="1482014" y="2885161"/>
                </a:lnTo>
                <a:lnTo>
                  <a:pt x="1482014" y="2916707"/>
                </a:lnTo>
                <a:lnTo>
                  <a:pt x="1513218" y="2916707"/>
                </a:lnTo>
                <a:lnTo>
                  <a:pt x="1513218" y="2947911"/>
                </a:lnTo>
                <a:lnTo>
                  <a:pt x="1544764" y="2947911"/>
                </a:lnTo>
                <a:close/>
                <a:moveTo>
                  <a:pt x="1339024" y="2811094"/>
                </a:moveTo>
                <a:lnTo>
                  <a:pt x="1339024" y="2779547"/>
                </a:lnTo>
                <a:lnTo>
                  <a:pt x="1370571" y="2779547"/>
                </a:lnTo>
                <a:lnTo>
                  <a:pt x="1370571" y="2748001"/>
                </a:lnTo>
                <a:lnTo>
                  <a:pt x="1339024" y="2748001"/>
                </a:lnTo>
                <a:lnTo>
                  <a:pt x="1339024" y="2716454"/>
                </a:lnTo>
                <a:lnTo>
                  <a:pt x="1307478" y="2716454"/>
                </a:lnTo>
                <a:lnTo>
                  <a:pt x="1307478" y="2748001"/>
                </a:lnTo>
                <a:lnTo>
                  <a:pt x="1275931" y="2748001"/>
                </a:lnTo>
                <a:lnTo>
                  <a:pt x="1275931" y="2779547"/>
                </a:lnTo>
                <a:lnTo>
                  <a:pt x="1307478" y="2779547"/>
                </a:lnTo>
                <a:lnTo>
                  <a:pt x="1307478" y="2811094"/>
                </a:lnTo>
                <a:lnTo>
                  <a:pt x="1339024" y="2811094"/>
                </a:lnTo>
                <a:close/>
                <a:moveTo>
                  <a:pt x="1201179" y="2809380"/>
                </a:moveTo>
                <a:lnTo>
                  <a:pt x="1201179" y="2778862"/>
                </a:lnTo>
                <a:lnTo>
                  <a:pt x="1231697" y="2778862"/>
                </a:lnTo>
                <a:lnTo>
                  <a:pt x="1231697" y="2748686"/>
                </a:lnTo>
                <a:lnTo>
                  <a:pt x="1201179" y="2748686"/>
                </a:lnTo>
                <a:lnTo>
                  <a:pt x="1201179" y="2718168"/>
                </a:lnTo>
                <a:lnTo>
                  <a:pt x="1171003" y="2718168"/>
                </a:lnTo>
                <a:lnTo>
                  <a:pt x="1171003" y="2748686"/>
                </a:lnTo>
                <a:lnTo>
                  <a:pt x="1140485" y="2748686"/>
                </a:lnTo>
                <a:lnTo>
                  <a:pt x="1140485" y="2778862"/>
                </a:lnTo>
                <a:lnTo>
                  <a:pt x="1171003" y="2778862"/>
                </a:lnTo>
                <a:lnTo>
                  <a:pt x="1171003" y="2809380"/>
                </a:lnTo>
                <a:lnTo>
                  <a:pt x="1201179" y="2809380"/>
                </a:lnTo>
                <a:close/>
                <a:moveTo>
                  <a:pt x="1476527" y="2812123"/>
                </a:moveTo>
                <a:lnTo>
                  <a:pt x="1476527" y="2779890"/>
                </a:lnTo>
                <a:lnTo>
                  <a:pt x="1508760" y="2779890"/>
                </a:lnTo>
                <a:lnTo>
                  <a:pt x="1508760" y="2747658"/>
                </a:lnTo>
                <a:lnTo>
                  <a:pt x="1476527" y="2747658"/>
                </a:lnTo>
                <a:lnTo>
                  <a:pt x="1476527" y="2715425"/>
                </a:lnTo>
                <a:lnTo>
                  <a:pt x="1444295" y="2715425"/>
                </a:lnTo>
                <a:lnTo>
                  <a:pt x="1444295" y="2747658"/>
                </a:lnTo>
                <a:lnTo>
                  <a:pt x="1412062" y="2747658"/>
                </a:lnTo>
                <a:lnTo>
                  <a:pt x="1412062" y="2779890"/>
                </a:lnTo>
                <a:lnTo>
                  <a:pt x="1444295" y="2779890"/>
                </a:lnTo>
                <a:lnTo>
                  <a:pt x="1444295" y="2812123"/>
                </a:lnTo>
                <a:lnTo>
                  <a:pt x="1476527" y="2812123"/>
                </a:lnTo>
                <a:close/>
                <a:moveTo>
                  <a:pt x="1406919" y="2946540"/>
                </a:moveTo>
                <a:lnTo>
                  <a:pt x="1406919" y="2916022"/>
                </a:lnTo>
                <a:lnTo>
                  <a:pt x="1437437" y="2916022"/>
                </a:lnTo>
                <a:lnTo>
                  <a:pt x="1437437" y="2885846"/>
                </a:lnTo>
                <a:lnTo>
                  <a:pt x="1406919" y="2885846"/>
                </a:lnTo>
                <a:lnTo>
                  <a:pt x="1406919" y="2855328"/>
                </a:lnTo>
                <a:lnTo>
                  <a:pt x="1376743" y="2855328"/>
                </a:lnTo>
                <a:lnTo>
                  <a:pt x="1376743" y="2885846"/>
                </a:lnTo>
                <a:lnTo>
                  <a:pt x="1346225" y="2885846"/>
                </a:lnTo>
                <a:lnTo>
                  <a:pt x="1346225" y="2916022"/>
                </a:lnTo>
                <a:lnTo>
                  <a:pt x="1376743" y="2916022"/>
                </a:lnTo>
                <a:lnTo>
                  <a:pt x="1376743" y="2946540"/>
                </a:lnTo>
                <a:lnTo>
                  <a:pt x="1406919" y="2946540"/>
                </a:lnTo>
                <a:close/>
                <a:moveTo>
                  <a:pt x="1269416" y="2945168"/>
                </a:moveTo>
                <a:lnTo>
                  <a:pt x="1269416" y="2915679"/>
                </a:lnTo>
                <a:lnTo>
                  <a:pt x="1298905" y="2915679"/>
                </a:lnTo>
                <a:lnTo>
                  <a:pt x="1298905" y="2886189"/>
                </a:lnTo>
                <a:lnTo>
                  <a:pt x="1269416" y="2886189"/>
                </a:lnTo>
                <a:lnTo>
                  <a:pt x="1269416" y="2856700"/>
                </a:lnTo>
                <a:lnTo>
                  <a:pt x="1239926" y="2856700"/>
                </a:lnTo>
                <a:lnTo>
                  <a:pt x="1239926" y="2886189"/>
                </a:lnTo>
                <a:lnTo>
                  <a:pt x="1210437" y="2886189"/>
                </a:lnTo>
                <a:lnTo>
                  <a:pt x="1210437" y="2915679"/>
                </a:lnTo>
                <a:lnTo>
                  <a:pt x="1239926" y="2915679"/>
                </a:lnTo>
                <a:lnTo>
                  <a:pt x="1239926" y="2945168"/>
                </a:lnTo>
                <a:lnTo>
                  <a:pt x="1269416" y="2945168"/>
                </a:lnTo>
                <a:close/>
                <a:moveTo>
                  <a:pt x="926516" y="2534031"/>
                </a:moveTo>
                <a:lnTo>
                  <a:pt x="926516" y="2504199"/>
                </a:lnTo>
                <a:lnTo>
                  <a:pt x="956348" y="2504199"/>
                </a:lnTo>
                <a:lnTo>
                  <a:pt x="956348" y="2474709"/>
                </a:lnTo>
                <a:lnTo>
                  <a:pt x="926516" y="2474709"/>
                </a:lnTo>
                <a:lnTo>
                  <a:pt x="926516" y="2444877"/>
                </a:lnTo>
                <a:lnTo>
                  <a:pt x="897026" y="2444877"/>
                </a:lnTo>
                <a:lnTo>
                  <a:pt x="897026" y="2474709"/>
                </a:lnTo>
                <a:lnTo>
                  <a:pt x="867194" y="2474709"/>
                </a:lnTo>
                <a:lnTo>
                  <a:pt x="867194" y="2504199"/>
                </a:lnTo>
                <a:lnTo>
                  <a:pt x="897026" y="2504199"/>
                </a:lnTo>
                <a:lnTo>
                  <a:pt x="897026" y="2534031"/>
                </a:lnTo>
                <a:lnTo>
                  <a:pt x="926516" y="2534031"/>
                </a:lnTo>
                <a:close/>
                <a:moveTo>
                  <a:pt x="995096" y="2670848"/>
                </a:moveTo>
                <a:lnTo>
                  <a:pt x="995096" y="2641359"/>
                </a:lnTo>
                <a:lnTo>
                  <a:pt x="1024585" y="2641359"/>
                </a:lnTo>
                <a:lnTo>
                  <a:pt x="1024585" y="2611869"/>
                </a:lnTo>
                <a:lnTo>
                  <a:pt x="995096" y="2611869"/>
                </a:lnTo>
                <a:lnTo>
                  <a:pt x="995096" y="2582380"/>
                </a:lnTo>
                <a:lnTo>
                  <a:pt x="965606" y="2582380"/>
                </a:lnTo>
                <a:lnTo>
                  <a:pt x="965606" y="2611869"/>
                </a:lnTo>
                <a:lnTo>
                  <a:pt x="936117" y="2611869"/>
                </a:lnTo>
                <a:lnTo>
                  <a:pt x="936117" y="2641359"/>
                </a:lnTo>
                <a:lnTo>
                  <a:pt x="965606" y="2641359"/>
                </a:lnTo>
                <a:lnTo>
                  <a:pt x="965606" y="2670848"/>
                </a:lnTo>
                <a:lnTo>
                  <a:pt x="995096" y="2670848"/>
                </a:lnTo>
                <a:close/>
                <a:moveTo>
                  <a:pt x="1132942" y="2673248"/>
                </a:moveTo>
                <a:lnTo>
                  <a:pt x="1132942" y="2642045"/>
                </a:lnTo>
                <a:lnTo>
                  <a:pt x="1164145" y="2642045"/>
                </a:lnTo>
                <a:lnTo>
                  <a:pt x="1164145" y="2611184"/>
                </a:lnTo>
                <a:lnTo>
                  <a:pt x="1132942" y="2611184"/>
                </a:lnTo>
                <a:lnTo>
                  <a:pt x="1132942" y="2579980"/>
                </a:lnTo>
                <a:lnTo>
                  <a:pt x="1102081" y="2579980"/>
                </a:lnTo>
                <a:lnTo>
                  <a:pt x="1102081" y="2611184"/>
                </a:lnTo>
                <a:lnTo>
                  <a:pt x="1070877" y="2611184"/>
                </a:lnTo>
                <a:lnTo>
                  <a:pt x="1070877" y="2642045"/>
                </a:lnTo>
                <a:lnTo>
                  <a:pt x="1102081" y="2642045"/>
                </a:lnTo>
                <a:lnTo>
                  <a:pt x="1102081" y="2673248"/>
                </a:lnTo>
                <a:lnTo>
                  <a:pt x="1132942" y="2673248"/>
                </a:lnTo>
                <a:close/>
                <a:moveTo>
                  <a:pt x="1063333" y="2807322"/>
                </a:moveTo>
                <a:lnTo>
                  <a:pt x="1063333" y="2778176"/>
                </a:lnTo>
                <a:lnTo>
                  <a:pt x="1092479" y="2778176"/>
                </a:lnTo>
                <a:lnTo>
                  <a:pt x="1092479" y="2749372"/>
                </a:lnTo>
                <a:lnTo>
                  <a:pt x="1063333" y="2749372"/>
                </a:lnTo>
                <a:lnTo>
                  <a:pt x="1063333" y="2720226"/>
                </a:lnTo>
                <a:lnTo>
                  <a:pt x="1034529" y="2720226"/>
                </a:lnTo>
                <a:lnTo>
                  <a:pt x="1034529" y="2749372"/>
                </a:lnTo>
                <a:lnTo>
                  <a:pt x="1005383" y="2749372"/>
                </a:lnTo>
                <a:lnTo>
                  <a:pt x="1005383" y="2778176"/>
                </a:lnTo>
                <a:lnTo>
                  <a:pt x="1034529" y="2778176"/>
                </a:lnTo>
                <a:lnTo>
                  <a:pt x="1034529" y="2807322"/>
                </a:lnTo>
                <a:lnTo>
                  <a:pt x="1063333" y="2807322"/>
                </a:lnTo>
                <a:close/>
                <a:moveTo>
                  <a:pt x="2161299" y="3083700"/>
                </a:moveTo>
                <a:lnTo>
                  <a:pt x="2161299" y="3053182"/>
                </a:lnTo>
                <a:lnTo>
                  <a:pt x="2191817" y="3053182"/>
                </a:lnTo>
                <a:lnTo>
                  <a:pt x="2191817" y="3023006"/>
                </a:lnTo>
                <a:lnTo>
                  <a:pt x="2161299" y="3023006"/>
                </a:lnTo>
                <a:lnTo>
                  <a:pt x="2161299" y="2992488"/>
                </a:lnTo>
                <a:lnTo>
                  <a:pt x="2131124" y="2992488"/>
                </a:lnTo>
                <a:lnTo>
                  <a:pt x="2131124" y="3023006"/>
                </a:lnTo>
                <a:lnTo>
                  <a:pt x="2100605" y="3023006"/>
                </a:lnTo>
                <a:lnTo>
                  <a:pt x="2100605" y="3053182"/>
                </a:lnTo>
                <a:lnTo>
                  <a:pt x="2131124" y="3053182"/>
                </a:lnTo>
                <a:lnTo>
                  <a:pt x="2131124" y="3083700"/>
                </a:lnTo>
                <a:lnTo>
                  <a:pt x="2161299" y="3083700"/>
                </a:lnTo>
                <a:close/>
                <a:moveTo>
                  <a:pt x="2093747" y="2949283"/>
                </a:moveTo>
                <a:lnTo>
                  <a:pt x="2093747" y="2917050"/>
                </a:lnTo>
                <a:lnTo>
                  <a:pt x="2125980" y="2917050"/>
                </a:lnTo>
                <a:lnTo>
                  <a:pt x="2125980" y="2884818"/>
                </a:lnTo>
                <a:lnTo>
                  <a:pt x="2093747" y="2884818"/>
                </a:lnTo>
                <a:lnTo>
                  <a:pt x="2093747" y="2852585"/>
                </a:lnTo>
                <a:lnTo>
                  <a:pt x="2061515" y="2852585"/>
                </a:lnTo>
                <a:lnTo>
                  <a:pt x="2061515" y="2884818"/>
                </a:lnTo>
                <a:lnTo>
                  <a:pt x="2029282" y="2884818"/>
                </a:lnTo>
                <a:lnTo>
                  <a:pt x="2029282" y="2917050"/>
                </a:lnTo>
                <a:lnTo>
                  <a:pt x="2061515" y="2917050"/>
                </a:lnTo>
                <a:lnTo>
                  <a:pt x="2061515" y="2949283"/>
                </a:lnTo>
                <a:lnTo>
                  <a:pt x="2093747" y="2949283"/>
                </a:lnTo>
                <a:close/>
                <a:moveTo>
                  <a:pt x="2230565" y="2948597"/>
                </a:moveTo>
                <a:lnTo>
                  <a:pt x="2230565" y="2916707"/>
                </a:lnTo>
                <a:lnTo>
                  <a:pt x="2262454" y="2916707"/>
                </a:lnTo>
                <a:lnTo>
                  <a:pt x="2262454" y="2885161"/>
                </a:lnTo>
                <a:lnTo>
                  <a:pt x="2230565" y="2885161"/>
                </a:lnTo>
                <a:lnTo>
                  <a:pt x="2230565" y="2853271"/>
                </a:lnTo>
                <a:lnTo>
                  <a:pt x="2199018" y="2853271"/>
                </a:lnTo>
                <a:lnTo>
                  <a:pt x="2199018" y="2885161"/>
                </a:lnTo>
                <a:lnTo>
                  <a:pt x="2167128" y="2885161"/>
                </a:lnTo>
                <a:lnTo>
                  <a:pt x="2167128" y="2916707"/>
                </a:lnTo>
                <a:lnTo>
                  <a:pt x="2199018" y="2916707"/>
                </a:lnTo>
                <a:lnTo>
                  <a:pt x="2199018" y="2948597"/>
                </a:lnTo>
                <a:lnTo>
                  <a:pt x="2230565" y="2948597"/>
                </a:lnTo>
                <a:close/>
                <a:moveTo>
                  <a:pt x="857936" y="2396871"/>
                </a:moveTo>
                <a:lnTo>
                  <a:pt x="857936" y="2367039"/>
                </a:lnTo>
                <a:lnTo>
                  <a:pt x="887768" y="2367039"/>
                </a:lnTo>
                <a:lnTo>
                  <a:pt x="887768" y="2337549"/>
                </a:lnTo>
                <a:lnTo>
                  <a:pt x="857936" y="2337549"/>
                </a:lnTo>
                <a:lnTo>
                  <a:pt x="857936" y="2307717"/>
                </a:lnTo>
                <a:lnTo>
                  <a:pt x="828446" y="2307717"/>
                </a:lnTo>
                <a:lnTo>
                  <a:pt x="828446" y="2337549"/>
                </a:lnTo>
                <a:lnTo>
                  <a:pt x="798614" y="2337549"/>
                </a:lnTo>
                <a:lnTo>
                  <a:pt x="798614" y="2367039"/>
                </a:lnTo>
                <a:lnTo>
                  <a:pt x="828446" y="2367039"/>
                </a:lnTo>
                <a:lnTo>
                  <a:pt x="828446" y="2396871"/>
                </a:lnTo>
                <a:lnTo>
                  <a:pt x="857936" y="2396871"/>
                </a:lnTo>
                <a:close/>
                <a:moveTo>
                  <a:pt x="1956587" y="2949283"/>
                </a:moveTo>
                <a:lnTo>
                  <a:pt x="1956587" y="2917050"/>
                </a:lnTo>
                <a:lnTo>
                  <a:pt x="1988820" y="2917050"/>
                </a:lnTo>
                <a:lnTo>
                  <a:pt x="1988820" y="2884818"/>
                </a:lnTo>
                <a:lnTo>
                  <a:pt x="1956587" y="2884818"/>
                </a:lnTo>
                <a:lnTo>
                  <a:pt x="1956587" y="2852585"/>
                </a:lnTo>
                <a:lnTo>
                  <a:pt x="1924355" y="2852585"/>
                </a:lnTo>
                <a:lnTo>
                  <a:pt x="1924355" y="2884818"/>
                </a:lnTo>
                <a:lnTo>
                  <a:pt x="1892122" y="2884818"/>
                </a:lnTo>
                <a:lnTo>
                  <a:pt x="1892122" y="2917050"/>
                </a:lnTo>
                <a:lnTo>
                  <a:pt x="1924355" y="2917050"/>
                </a:lnTo>
                <a:lnTo>
                  <a:pt x="1924355" y="2949283"/>
                </a:lnTo>
                <a:lnTo>
                  <a:pt x="1956587" y="2949283"/>
                </a:lnTo>
                <a:close/>
                <a:moveTo>
                  <a:pt x="1681924" y="2948597"/>
                </a:moveTo>
                <a:lnTo>
                  <a:pt x="1681924" y="2916707"/>
                </a:lnTo>
                <a:lnTo>
                  <a:pt x="1713814" y="2916707"/>
                </a:lnTo>
                <a:lnTo>
                  <a:pt x="1713814" y="2885161"/>
                </a:lnTo>
                <a:lnTo>
                  <a:pt x="1681924" y="2885161"/>
                </a:lnTo>
                <a:lnTo>
                  <a:pt x="1681924" y="2853271"/>
                </a:lnTo>
                <a:lnTo>
                  <a:pt x="1650378" y="2853271"/>
                </a:lnTo>
                <a:lnTo>
                  <a:pt x="1650378" y="2885161"/>
                </a:lnTo>
                <a:lnTo>
                  <a:pt x="1618488" y="2885161"/>
                </a:lnTo>
                <a:lnTo>
                  <a:pt x="1618488" y="2916707"/>
                </a:lnTo>
                <a:lnTo>
                  <a:pt x="1650378" y="2916707"/>
                </a:lnTo>
                <a:lnTo>
                  <a:pt x="1650378" y="2948597"/>
                </a:lnTo>
                <a:lnTo>
                  <a:pt x="1681924" y="2948597"/>
                </a:lnTo>
                <a:close/>
                <a:moveTo>
                  <a:pt x="1612659" y="3083014"/>
                </a:moveTo>
                <a:lnTo>
                  <a:pt x="1612659" y="3053182"/>
                </a:lnTo>
                <a:lnTo>
                  <a:pt x="1642491" y="3053182"/>
                </a:lnTo>
                <a:lnTo>
                  <a:pt x="1642491" y="3023006"/>
                </a:lnTo>
                <a:lnTo>
                  <a:pt x="1612659" y="3023006"/>
                </a:lnTo>
                <a:lnTo>
                  <a:pt x="1612659" y="2993174"/>
                </a:lnTo>
                <a:lnTo>
                  <a:pt x="1582483" y="2993174"/>
                </a:lnTo>
                <a:lnTo>
                  <a:pt x="1582483" y="3023006"/>
                </a:lnTo>
                <a:lnTo>
                  <a:pt x="1552651" y="3023006"/>
                </a:lnTo>
                <a:lnTo>
                  <a:pt x="1552651" y="3053182"/>
                </a:lnTo>
                <a:lnTo>
                  <a:pt x="1582483" y="3053182"/>
                </a:lnTo>
                <a:lnTo>
                  <a:pt x="1582483" y="3083014"/>
                </a:lnTo>
                <a:lnTo>
                  <a:pt x="1612659" y="3083014"/>
                </a:lnTo>
                <a:close/>
                <a:moveTo>
                  <a:pt x="1887322" y="3084043"/>
                </a:moveTo>
                <a:lnTo>
                  <a:pt x="1887322" y="3053525"/>
                </a:lnTo>
                <a:lnTo>
                  <a:pt x="1917840" y="3053525"/>
                </a:lnTo>
                <a:lnTo>
                  <a:pt x="1917840" y="3022664"/>
                </a:lnTo>
                <a:lnTo>
                  <a:pt x="1887322" y="3022664"/>
                </a:lnTo>
                <a:lnTo>
                  <a:pt x="1887322" y="2992145"/>
                </a:lnTo>
                <a:lnTo>
                  <a:pt x="1856461" y="2992145"/>
                </a:lnTo>
                <a:lnTo>
                  <a:pt x="1856461" y="3022664"/>
                </a:lnTo>
                <a:lnTo>
                  <a:pt x="1825942" y="3022664"/>
                </a:lnTo>
                <a:lnTo>
                  <a:pt x="1825942" y="3053525"/>
                </a:lnTo>
                <a:lnTo>
                  <a:pt x="1856461" y="3053525"/>
                </a:lnTo>
                <a:lnTo>
                  <a:pt x="1856461" y="3084043"/>
                </a:lnTo>
                <a:lnTo>
                  <a:pt x="1887322" y="3084043"/>
                </a:lnTo>
                <a:close/>
                <a:moveTo>
                  <a:pt x="1749819" y="3083700"/>
                </a:moveTo>
                <a:lnTo>
                  <a:pt x="1749819" y="3053182"/>
                </a:lnTo>
                <a:lnTo>
                  <a:pt x="1780337" y="3053182"/>
                </a:lnTo>
                <a:lnTo>
                  <a:pt x="1780337" y="3023006"/>
                </a:lnTo>
                <a:lnTo>
                  <a:pt x="1749819" y="3023006"/>
                </a:lnTo>
                <a:lnTo>
                  <a:pt x="1749819" y="2992488"/>
                </a:lnTo>
                <a:lnTo>
                  <a:pt x="1719643" y="2992488"/>
                </a:lnTo>
                <a:lnTo>
                  <a:pt x="1719643" y="3023006"/>
                </a:lnTo>
                <a:lnTo>
                  <a:pt x="1689125" y="3023006"/>
                </a:lnTo>
                <a:lnTo>
                  <a:pt x="1689125" y="3053182"/>
                </a:lnTo>
                <a:lnTo>
                  <a:pt x="1719643" y="3053182"/>
                </a:lnTo>
                <a:lnTo>
                  <a:pt x="1719643" y="3083700"/>
                </a:lnTo>
                <a:lnTo>
                  <a:pt x="1749819" y="3083700"/>
                </a:lnTo>
                <a:close/>
                <a:moveTo>
                  <a:pt x="1819427" y="2949283"/>
                </a:moveTo>
                <a:lnTo>
                  <a:pt x="1819427" y="2917050"/>
                </a:lnTo>
                <a:lnTo>
                  <a:pt x="1851660" y="2917050"/>
                </a:lnTo>
                <a:lnTo>
                  <a:pt x="1851660" y="2884818"/>
                </a:lnTo>
                <a:lnTo>
                  <a:pt x="1819427" y="2884818"/>
                </a:lnTo>
                <a:lnTo>
                  <a:pt x="1819427" y="2852585"/>
                </a:lnTo>
                <a:lnTo>
                  <a:pt x="1787195" y="2852585"/>
                </a:lnTo>
                <a:lnTo>
                  <a:pt x="1787195" y="2884818"/>
                </a:lnTo>
                <a:lnTo>
                  <a:pt x="1754962" y="2884818"/>
                </a:lnTo>
                <a:lnTo>
                  <a:pt x="1754962" y="2917050"/>
                </a:lnTo>
                <a:lnTo>
                  <a:pt x="1787195" y="2917050"/>
                </a:lnTo>
                <a:lnTo>
                  <a:pt x="1787195" y="2949283"/>
                </a:lnTo>
                <a:lnTo>
                  <a:pt x="1819427" y="2949283"/>
                </a:lnTo>
                <a:close/>
                <a:moveTo>
                  <a:pt x="2024482" y="3084043"/>
                </a:moveTo>
                <a:lnTo>
                  <a:pt x="2024482" y="3053525"/>
                </a:lnTo>
                <a:lnTo>
                  <a:pt x="2055000" y="3053525"/>
                </a:lnTo>
                <a:lnTo>
                  <a:pt x="2055000" y="3022664"/>
                </a:lnTo>
                <a:lnTo>
                  <a:pt x="2024482" y="3022664"/>
                </a:lnTo>
                <a:lnTo>
                  <a:pt x="2024482" y="2992145"/>
                </a:lnTo>
                <a:lnTo>
                  <a:pt x="1993621" y="2992145"/>
                </a:lnTo>
                <a:lnTo>
                  <a:pt x="1993621" y="3022664"/>
                </a:lnTo>
                <a:lnTo>
                  <a:pt x="1963102" y="3022664"/>
                </a:lnTo>
                <a:lnTo>
                  <a:pt x="1963102" y="3053525"/>
                </a:lnTo>
                <a:lnTo>
                  <a:pt x="1993621" y="3053525"/>
                </a:lnTo>
                <a:lnTo>
                  <a:pt x="1993621" y="3084043"/>
                </a:lnTo>
                <a:lnTo>
                  <a:pt x="2024482" y="3084043"/>
                </a:lnTo>
                <a:close/>
                <a:moveTo>
                  <a:pt x="1171003" y="1072248"/>
                </a:moveTo>
                <a:lnTo>
                  <a:pt x="1171003" y="1102766"/>
                </a:lnTo>
                <a:lnTo>
                  <a:pt x="1140485" y="1102766"/>
                </a:lnTo>
                <a:lnTo>
                  <a:pt x="1140485" y="1132942"/>
                </a:lnTo>
                <a:lnTo>
                  <a:pt x="1171003" y="1132942"/>
                </a:lnTo>
                <a:lnTo>
                  <a:pt x="1171003" y="1163460"/>
                </a:lnTo>
                <a:lnTo>
                  <a:pt x="1201179" y="1163460"/>
                </a:lnTo>
                <a:lnTo>
                  <a:pt x="1201179" y="1132942"/>
                </a:lnTo>
                <a:lnTo>
                  <a:pt x="1231697" y="1132942"/>
                </a:lnTo>
                <a:lnTo>
                  <a:pt x="1231697" y="1102766"/>
                </a:lnTo>
                <a:lnTo>
                  <a:pt x="1201179" y="1102766"/>
                </a:lnTo>
                <a:lnTo>
                  <a:pt x="1201179" y="1072248"/>
                </a:lnTo>
                <a:lnTo>
                  <a:pt x="1171003" y="1072248"/>
                </a:lnTo>
                <a:close/>
                <a:moveTo>
                  <a:pt x="965606" y="1210780"/>
                </a:moveTo>
                <a:lnTo>
                  <a:pt x="965606" y="1240269"/>
                </a:lnTo>
                <a:lnTo>
                  <a:pt x="936117" y="1240269"/>
                </a:lnTo>
                <a:lnTo>
                  <a:pt x="936117" y="1269759"/>
                </a:lnTo>
                <a:lnTo>
                  <a:pt x="965606" y="1269759"/>
                </a:lnTo>
                <a:lnTo>
                  <a:pt x="965606" y="1299248"/>
                </a:lnTo>
                <a:lnTo>
                  <a:pt x="995096" y="1299248"/>
                </a:lnTo>
                <a:lnTo>
                  <a:pt x="995096" y="1269759"/>
                </a:lnTo>
                <a:lnTo>
                  <a:pt x="1024585" y="1269759"/>
                </a:lnTo>
                <a:lnTo>
                  <a:pt x="1024585" y="1240269"/>
                </a:lnTo>
                <a:lnTo>
                  <a:pt x="995096" y="1240269"/>
                </a:lnTo>
                <a:lnTo>
                  <a:pt x="995096" y="1210780"/>
                </a:lnTo>
                <a:lnTo>
                  <a:pt x="965606" y="1210780"/>
                </a:lnTo>
                <a:close/>
                <a:moveTo>
                  <a:pt x="1034529" y="1074306"/>
                </a:moveTo>
                <a:lnTo>
                  <a:pt x="1034529" y="1103452"/>
                </a:lnTo>
                <a:lnTo>
                  <a:pt x="1005383" y="1103452"/>
                </a:lnTo>
                <a:lnTo>
                  <a:pt x="1005383" y="1132256"/>
                </a:lnTo>
                <a:lnTo>
                  <a:pt x="1034529" y="1132256"/>
                </a:lnTo>
                <a:lnTo>
                  <a:pt x="1034529" y="1161402"/>
                </a:lnTo>
                <a:lnTo>
                  <a:pt x="1063333" y="1161402"/>
                </a:lnTo>
                <a:lnTo>
                  <a:pt x="1063333" y="1132256"/>
                </a:lnTo>
                <a:lnTo>
                  <a:pt x="1092479" y="1132256"/>
                </a:lnTo>
                <a:lnTo>
                  <a:pt x="1092479" y="1103452"/>
                </a:lnTo>
                <a:lnTo>
                  <a:pt x="1063333" y="1103452"/>
                </a:lnTo>
                <a:lnTo>
                  <a:pt x="1063333" y="1074306"/>
                </a:lnTo>
                <a:lnTo>
                  <a:pt x="1034529" y="1074306"/>
                </a:lnTo>
                <a:close/>
                <a:moveTo>
                  <a:pt x="1307478" y="1070534"/>
                </a:moveTo>
                <a:lnTo>
                  <a:pt x="1307478" y="1102081"/>
                </a:lnTo>
                <a:lnTo>
                  <a:pt x="1275931" y="1102081"/>
                </a:lnTo>
                <a:lnTo>
                  <a:pt x="1275931" y="1133627"/>
                </a:lnTo>
                <a:lnTo>
                  <a:pt x="1307478" y="1133627"/>
                </a:lnTo>
                <a:lnTo>
                  <a:pt x="1307478" y="1165174"/>
                </a:lnTo>
                <a:lnTo>
                  <a:pt x="1339024" y="1165174"/>
                </a:lnTo>
                <a:lnTo>
                  <a:pt x="1339024" y="1133627"/>
                </a:lnTo>
                <a:lnTo>
                  <a:pt x="1370571" y="1133627"/>
                </a:lnTo>
                <a:lnTo>
                  <a:pt x="1370571" y="1102081"/>
                </a:lnTo>
                <a:lnTo>
                  <a:pt x="1339024" y="1102081"/>
                </a:lnTo>
                <a:lnTo>
                  <a:pt x="1339024" y="1070534"/>
                </a:lnTo>
                <a:lnTo>
                  <a:pt x="1307478" y="1070534"/>
                </a:lnTo>
                <a:close/>
                <a:moveTo>
                  <a:pt x="1102081" y="1208380"/>
                </a:moveTo>
                <a:lnTo>
                  <a:pt x="1102081" y="1239584"/>
                </a:lnTo>
                <a:lnTo>
                  <a:pt x="1070877" y="1239584"/>
                </a:lnTo>
                <a:lnTo>
                  <a:pt x="1070877" y="1270445"/>
                </a:lnTo>
                <a:lnTo>
                  <a:pt x="1102081" y="1270445"/>
                </a:lnTo>
                <a:lnTo>
                  <a:pt x="1102081" y="1301648"/>
                </a:lnTo>
                <a:lnTo>
                  <a:pt x="1132942" y="1301648"/>
                </a:lnTo>
                <a:lnTo>
                  <a:pt x="1132942" y="1270445"/>
                </a:lnTo>
                <a:lnTo>
                  <a:pt x="1164145" y="1270445"/>
                </a:lnTo>
                <a:lnTo>
                  <a:pt x="1164145" y="1239584"/>
                </a:lnTo>
                <a:lnTo>
                  <a:pt x="1132942" y="1239584"/>
                </a:lnTo>
                <a:lnTo>
                  <a:pt x="1132942" y="1208380"/>
                </a:lnTo>
                <a:lnTo>
                  <a:pt x="1102081" y="1208380"/>
                </a:lnTo>
                <a:close/>
                <a:moveTo>
                  <a:pt x="1239926" y="936460"/>
                </a:moveTo>
                <a:lnTo>
                  <a:pt x="1239926" y="965949"/>
                </a:lnTo>
                <a:lnTo>
                  <a:pt x="1210437" y="965949"/>
                </a:lnTo>
                <a:lnTo>
                  <a:pt x="1210437" y="995439"/>
                </a:lnTo>
                <a:lnTo>
                  <a:pt x="1239926" y="995439"/>
                </a:lnTo>
                <a:lnTo>
                  <a:pt x="1239926" y="1024928"/>
                </a:lnTo>
                <a:lnTo>
                  <a:pt x="1269416" y="1024928"/>
                </a:lnTo>
                <a:lnTo>
                  <a:pt x="1269416" y="995439"/>
                </a:lnTo>
                <a:lnTo>
                  <a:pt x="1298905" y="995439"/>
                </a:lnTo>
                <a:lnTo>
                  <a:pt x="1298905" y="965949"/>
                </a:lnTo>
                <a:lnTo>
                  <a:pt x="1269416" y="965949"/>
                </a:lnTo>
                <a:lnTo>
                  <a:pt x="1269416" y="936460"/>
                </a:lnTo>
                <a:lnTo>
                  <a:pt x="1239926" y="936460"/>
                </a:lnTo>
                <a:close/>
                <a:moveTo>
                  <a:pt x="1376743" y="935088"/>
                </a:moveTo>
                <a:lnTo>
                  <a:pt x="1376743" y="965606"/>
                </a:lnTo>
                <a:lnTo>
                  <a:pt x="1346225" y="965606"/>
                </a:lnTo>
                <a:lnTo>
                  <a:pt x="1346225" y="995782"/>
                </a:lnTo>
                <a:lnTo>
                  <a:pt x="1376743" y="995782"/>
                </a:lnTo>
                <a:lnTo>
                  <a:pt x="1376743" y="1026300"/>
                </a:lnTo>
                <a:lnTo>
                  <a:pt x="1406919" y="1026300"/>
                </a:lnTo>
                <a:lnTo>
                  <a:pt x="1406919" y="995782"/>
                </a:lnTo>
                <a:lnTo>
                  <a:pt x="1437437" y="995782"/>
                </a:lnTo>
                <a:lnTo>
                  <a:pt x="1437437" y="965606"/>
                </a:lnTo>
                <a:lnTo>
                  <a:pt x="1406919" y="965606"/>
                </a:lnTo>
                <a:lnTo>
                  <a:pt x="1406919" y="935088"/>
                </a:lnTo>
                <a:lnTo>
                  <a:pt x="1376743" y="935088"/>
                </a:lnTo>
                <a:close/>
                <a:moveTo>
                  <a:pt x="1513218" y="933717"/>
                </a:moveTo>
                <a:lnTo>
                  <a:pt x="1513218" y="964921"/>
                </a:lnTo>
                <a:lnTo>
                  <a:pt x="1482014" y="964921"/>
                </a:lnTo>
                <a:lnTo>
                  <a:pt x="1482014" y="996467"/>
                </a:lnTo>
                <a:lnTo>
                  <a:pt x="1513218" y="996467"/>
                </a:lnTo>
                <a:lnTo>
                  <a:pt x="1513218" y="1027671"/>
                </a:lnTo>
                <a:lnTo>
                  <a:pt x="1544764" y="1027671"/>
                </a:lnTo>
                <a:lnTo>
                  <a:pt x="1544764" y="996467"/>
                </a:lnTo>
                <a:lnTo>
                  <a:pt x="1575968" y="996467"/>
                </a:lnTo>
                <a:lnTo>
                  <a:pt x="1575968" y="964921"/>
                </a:lnTo>
                <a:lnTo>
                  <a:pt x="1544764" y="964921"/>
                </a:lnTo>
                <a:lnTo>
                  <a:pt x="1544764" y="933717"/>
                </a:lnTo>
                <a:lnTo>
                  <a:pt x="1513218" y="933717"/>
                </a:lnTo>
                <a:close/>
                <a:moveTo>
                  <a:pt x="1582483" y="798614"/>
                </a:moveTo>
                <a:lnTo>
                  <a:pt x="1582483" y="828446"/>
                </a:lnTo>
                <a:lnTo>
                  <a:pt x="1552651" y="828446"/>
                </a:lnTo>
                <a:lnTo>
                  <a:pt x="1552651" y="858622"/>
                </a:lnTo>
                <a:lnTo>
                  <a:pt x="1582483" y="858622"/>
                </a:lnTo>
                <a:lnTo>
                  <a:pt x="1582483" y="888454"/>
                </a:lnTo>
                <a:lnTo>
                  <a:pt x="1612659" y="888454"/>
                </a:lnTo>
                <a:lnTo>
                  <a:pt x="1612659" y="858622"/>
                </a:lnTo>
                <a:lnTo>
                  <a:pt x="1642491" y="858622"/>
                </a:lnTo>
                <a:lnTo>
                  <a:pt x="1642491" y="828446"/>
                </a:lnTo>
                <a:lnTo>
                  <a:pt x="1612659" y="828446"/>
                </a:lnTo>
                <a:lnTo>
                  <a:pt x="1612659" y="798614"/>
                </a:lnTo>
                <a:lnTo>
                  <a:pt x="1582483" y="798614"/>
                </a:lnTo>
                <a:close/>
                <a:moveTo>
                  <a:pt x="1445666" y="799643"/>
                </a:moveTo>
                <a:lnTo>
                  <a:pt x="1445666" y="828789"/>
                </a:lnTo>
                <a:lnTo>
                  <a:pt x="1416520" y="828789"/>
                </a:lnTo>
                <a:lnTo>
                  <a:pt x="1416520" y="858279"/>
                </a:lnTo>
                <a:lnTo>
                  <a:pt x="1445666" y="858279"/>
                </a:lnTo>
                <a:lnTo>
                  <a:pt x="1445666" y="887425"/>
                </a:lnTo>
                <a:lnTo>
                  <a:pt x="1475156" y="887425"/>
                </a:lnTo>
                <a:lnTo>
                  <a:pt x="1475156" y="858279"/>
                </a:lnTo>
                <a:lnTo>
                  <a:pt x="1504302" y="858279"/>
                </a:lnTo>
                <a:lnTo>
                  <a:pt x="1504302" y="828789"/>
                </a:lnTo>
                <a:lnTo>
                  <a:pt x="1475156" y="828789"/>
                </a:lnTo>
                <a:lnTo>
                  <a:pt x="1475156" y="799643"/>
                </a:lnTo>
                <a:lnTo>
                  <a:pt x="1445666" y="799643"/>
                </a:lnTo>
                <a:close/>
                <a:moveTo>
                  <a:pt x="555841" y="1764563"/>
                </a:moveTo>
                <a:lnTo>
                  <a:pt x="555841" y="1790624"/>
                </a:lnTo>
                <a:lnTo>
                  <a:pt x="529780" y="1790624"/>
                </a:lnTo>
                <a:lnTo>
                  <a:pt x="529780" y="1816684"/>
                </a:lnTo>
                <a:lnTo>
                  <a:pt x="555841" y="1816684"/>
                </a:lnTo>
                <a:lnTo>
                  <a:pt x="555841" y="1842745"/>
                </a:lnTo>
                <a:lnTo>
                  <a:pt x="581901" y="1842745"/>
                </a:lnTo>
                <a:lnTo>
                  <a:pt x="581901" y="1816684"/>
                </a:lnTo>
                <a:lnTo>
                  <a:pt x="607962" y="1816684"/>
                </a:lnTo>
                <a:lnTo>
                  <a:pt x="607962" y="1790624"/>
                </a:lnTo>
                <a:lnTo>
                  <a:pt x="581901" y="1790624"/>
                </a:lnTo>
                <a:lnTo>
                  <a:pt x="581901" y="1764563"/>
                </a:lnTo>
                <a:lnTo>
                  <a:pt x="555841" y="1764563"/>
                </a:lnTo>
                <a:close/>
                <a:moveTo>
                  <a:pt x="650824" y="2255596"/>
                </a:moveTo>
                <a:lnTo>
                  <a:pt x="650824" y="2228507"/>
                </a:lnTo>
                <a:lnTo>
                  <a:pt x="677913" y="2228507"/>
                </a:lnTo>
                <a:lnTo>
                  <a:pt x="677913" y="2201761"/>
                </a:lnTo>
                <a:lnTo>
                  <a:pt x="650824" y="2201761"/>
                </a:lnTo>
                <a:lnTo>
                  <a:pt x="650824" y="2174672"/>
                </a:lnTo>
                <a:lnTo>
                  <a:pt x="624078" y="2174672"/>
                </a:lnTo>
                <a:lnTo>
                  <a:pt x="624078" y="2201761"/>
                </a:lnTo>
                <a:lnTo>
                  <a:pt x="596989" y="2201761"/>
                </a:lnTo>
                <a:lnTo>
                  <a:pt x="596989" y="2228507"/>
                </a:lnTo>
                <a:lnTo>
                  <a:pt x="624078" y="2228507"/>
                </a:lnTo>
                <a:lnTo>
                  <a:pt x="624078" y="2255596"/>
                </a:lnTo>
                <a:lnTo>
                  <a:pt x="650824" y="2255596"/>
                </a:lnTo>
                <a:close/>
                <a:moveTo>
                  <a:pt x="2573807" y="1989163"/>
                </a:moveTo>
                <a:lnTo>
                  <a:pt x="2573807" y="1956930"/>
                </a:lnTo>
                <a:lnTo>
                  <a:pt x="2606040" y="1956930"/>
                </a:lnTo>
                <a:lnTo>
                  <a:pt x="2606040" y="1924698"/>
                </a:lnTo>
                <a:lnTo>
                  <a:pt x="2573807" y="1924698"/>
                </a:lnTo>
                <a:lnTo>
                  <a:pt x="2573807" y="1892465"/>
                </a:lnTo>
                <a:lnTo>
                  <a:pt x="2541575" y="1892465"/>
                </a:lnTo>
                <a:lnTo>
                  <a:pt x="2541575" y="1924698"/>
                </a:lnTo>
                <a:lnTo>
                  <a:pt x="2509342" y="1924698"/>
                </a:lnTo>
                <a:lnTo>
                  <a:pt x="2509342" y="1956930"/>
                </a:lnTo>
                <a:lnTo>
                  <a:pt x="2541575" y="1956930"/>
                </a:lnTo>
                <a:lnTo>
                  <a:pt x="2541575" y="1989163"/>
                </a:lnTo>
                <a:lnTo>
                  <a:pt x="2573807" y="1989163"/>
                </a:lnTo>
                <a:close/>
                <a:moveTo>
                  <a:pt x="788327" y="2530945"/>
                </a:moveTo>
                <a:lnTo>
                  <a:pt x="788327" y="2503170"/>
                </a:lnTo>
                <a:lnTo>
                  <a:pt x="816102" y="2503170"/>
                </a:lnTo>
                <a:lnTo>
                  <a:pt x="816102" y="2475738"/>
                </a:lnTo>
                <a:lnTo>
                  <a:pt x="788327" y="2475738"/>
                </a:lnTo>
                <a:lnTo>
                  <a:pt x="788327" y="2447963"/>
                </a:lnTo>
                <a:lnTo>
                  <a:pt x="760895" y="2447963"/>
                </a:lnTo>
                <a:lnTo>
                  <a:pt x="760895" y="2475738"/>
                </a:lnTo>
                <a:lnTo>
                  <a:pt x="733120" y="2475738"/>
                </a:lnTo>
                <a:lnTo>
                  <a:pt x="733120" y="2503170"/>
                </a:lnTo>
                <a:lnTo>
                  <a:pt x="760895" y="2503170"/>
                </a:lnTo>
                <a:lnTo>
                  <a:pt x="760895" y="2530945"/>
                </a:lnTo>
                <a:lnTo>
                  <a:pt x="788327" y="2530945"/>
                </a:lnTo>
                <a:close/>
                <a:moveTo>
                  <a:pt x="719747" y="2393442"/>
                </a:moveTo>
                <a:lnTo>
                  <a:pt x="719747" y="2366010"/>
                </a:lnTo>
                <a:lnTo>
                  <a:pt x="747179" y="2366010"/>
                </a:lnTo>
                <a:lnTo>
                  <a:pt x="747179" y="2338578"/>
                </a:lnTo>
                <a:lnTo>
                  <a:pt x="719747" y="2338578"/>
                </a:lnTo>
                <a:lnTo>
                  <a:pt x="719747" y="2311146"/>
                </a:lnTo>
                <a:lnTo>
                  <a:pt x="692315" y="2311146"/>
                </a:lnTo>
                <a:lnTo>
                  <a:pt x="692315" y="2338578"/>
                </a:lnTo>
                <a:lnTo>
                  <a:pt x="664883" y="2338578"/>
                </a:lnTo>
                <a:lnTo>
                  <a:pt x="664883" y="2366010"/>
                </a:lnTo>
                <a:lnTo>
                  <a:pt x="692315" y="2366010"/>
                </a:lnTo>
                <a:lnTo>
                  <a:pt x="692315" y="2393442"/>
                </a:lnTo>
                <a:lnTo>
                  <a:pt x="719747" y="2393442"/>
                </a:lnTo>
                <a:close/>
                <a:moveTo>
                  <a:pt x="581901" y="2117065"/>
                </a:moveTo>
                <a:lnTo>
                  <a:pt x="581901" y="2091004"/>
                </a:lnTo>
                <a:lnTo>
                  <a:pt x="607962" y="2091004"/>
                </a:lnTo>
                <a:lnTo>
                  <a:pt x="607962" y="2064944"/>
                </a:lnTo>
                <a:lnTo>
                  <a:pt x="581901" y="2064944"/>
                </a:lnTo>
                <a:lnTo>
                  <a:pt x="581901" y="2038883"/>
                </a:lnTo>
                <a:lnTo>
                  <a:pt x="555841" y="2038883"/>
                </a:lnTo>
                <a:lnTo>
                  <a:pt x="555841" y="2064944"/>
                </a:lnTo>
                <a:lnTo>
                  <a:pt x="529780" y="2064944"/>
                </a:lnTo>
                <a:lnTo>
                  <a:pt x="529780" y="2091004"/>
                </a:lnTo>
                <a:lnTo>
                  <a:pt x="555841" y="2091004"/>
                </a:lnTo>
                <a:lnTo>
                  <a:pt x="555841" y="2117065"/>
                </a:lnTo>
                <a:lnTo>
                  <a:pt x="581901" y="2117065"/>
                </a:lnTo>
                <a:close/>
                <a:moveTo>
                  <a:pt x="829475" y="1213866"/>
                </a:moveTo>
                <a:lnTo>
                  <a:pt x="829475" y="1241298"/>
                </a:lnTo>
                <a:lnTo>
                  <a:pt x="802043" y="1241298"/>
                </a:lnTo>
                <a:lnTo>
                  <a:pt x="802043" y="1268730"/>
                </a:lnTo>
                <a:lnTo>
                  <a:pt x="829475" y="1268730"/>
                </a:lnTo>
                <a:lnTo>
                  <a:pt x="829475" y="1296162"/>
                </a:lnTo>
                <a:lnTo>
                  <a:pt x="856907" y="1296162"/>
                </a:lnTo>
                <a:lnTo>
                  <a:pt x="856907" y="1268730"/>
                </a:lnTo>
                <a:lnTo>
                  <a:pt x="884339" y="1268730"/>
                </a:lnTo>
                <a:lnTo>
                  <a:pt x="884339" y="1241298"/>
                </a:lnTo>
                <a:lnTo>
                  <a:pt x="856907" y="1241298"/>
                </a:lnTo>
                <a:lnTo>
                  <a:pt x="856907" y="1213866"/>
                </a:lnTo>
                <a:lnTo>
                  <a:pt x="829475" y="1213866"/>
                </a:lnTo>
                <a:close/>
                <a:moveTo>
                  <a:pt x="624078" y="1626375"/>
                </a:moveTo>
                <a:lnTo>
                  <a:pt x="624078" y="1653121"/>
                </a:lnTo>
                <a:lnTo>
                  <a:pt x="597332" y="1653121"/>
                </a:lnTo>
                <a:lnTo>
                  <a:pt x="597332" y="1679867"/>
                </a:lnTo>
                <a:lnTo>
                  <a:pt x="624078" y="1679867"/>
                </a:lnTo>
                <a:lnTo>
                  <a:pt x="624078" y="1706613"/>
                </a:lnTo>
                <a:lnTo>
                  <a:pt x="650824" y="1706613"/>
                </a:lnTo>
                <a:lnTo>
                  <a:pt x="650824" y="1679867"/>
                </a:lnTo>
                <a:lnTo>
                  <a:pt x="677570" y="1679867"/>
                </a:lnTo>
                <a:lnTo>
                  <a:pt x="677570" y="1653121"/>
                </a:lnTo>
                <a:lnTo>
                  <a:pt x="650824" y="1653121"/>
                </a:lnTo>
                <a:lnTo>
                  <a:pt x="650824" y="1626375"/>
                </a:lnTo>
                <a:lnTo>
                  <a:pt x="624078" y="1626375"/>
                </a:lnTo>
                <a:close/>
                <a:moveTo>
                  <a:pt x="760895" y="1350683"/>
                </a:moveTo>
                <a:lnTo>
                  <a:pt x="760895" y="1378458"/>
                </a:lnTo>
                <a:lnTo>
                  <a:pt x="733120" y="1378458"/>
                </a:lnTo>
                <a:lnTo>
                  <a:pt x="733120" y="1405890"/>
                </a:lnTo>
                <a:lnTo>
                  <a:pt x="760895" y="1405890"/>
                </a:lnTo>
                <a:lnTo>
                  <a:pt x="760895" y="1433665"/>
                </a:lnTo>
                <a:lnTo>
                  <a:pt x="788327" y="1433665"/>
                </a:lnTo>
                <a:lnTo>
                  <a:pt x="788327" y="1405890"/>
                </a:lnTo>
                <a:lnTo>
                  <a:pt x="816102" y="1405890"/>
                </a:lnTo>
                <a:lnTo>
                  <a:pt x="816102" y="1378458"/>
                </a:lnTo>
                <a:lnTo>
                  <a:pt x="788327" y="1378458"/>
                </a:lnTo>
                <a:lnTo>
                  <a:pt x="788327" y="1350683"/>
                </a:lnTo>
                <a:lnTo>
                  <a:pt x="760895" y="1350683"/>
                </a:lnTo>
                <a:close/>
                <a:moveTo>
                  <a:pt x="692315" y="1488186"/>
                </a:moveTo>
                <a:lnTo>
                  <a:pt x="692315" y="1515618"/>
                </a:lnTo>
                <a:lnTo>
                  <a:pt x="664883" y="1515618"/>
                </a:lnTo>
                <a:lnTo>
                  <a:pt x="664883" y="1543050"/>
                </a:lnTo>
                <a:lnTo>
                  <a:pt x="692315" y="1543050"/>
                </a:lnTo>
                <a:lnTo>
                  <a:pt x="692315" y="1570482"/>
                </a:lnTo>
                <a:lnTo>
                  <a:pt x="719747" y="1570482"/>
                </a:lnTo>
                <a:lnTo>
                  <a:pt x="719747" y="1543050"/>
                </a:lnTo>
                <a:lnTo>
                  <a:pt x="747179" y="1543050"/>
                </a:lnTo>
                <a:lnTo>
                  <a:pt x="747179" y="1515618"/>
                </a:lnTo>
                <a:lnTo>
                  <a:pt x="719747" y="1515618"/>
                </a:lnTo>
                <a:lnTo>
                  <a:pt x="719747" y="1488186"/>
                </a:lnTo>
                <a:lnTo>
                  <a:pt x="692315" y="1488186"/>
                </a:lnTo>
                <a:close/>
                <a:moveTo>
                  <a:pt x="1789252" y="663854"/>
                </a:moveTo>
                <a:lnTo>
                  <a:pt x="1789252" y="692315"/>
                </a:lnTo>
                <a:lnTo>
                  <a:pt x="1760791" y="692315"/>
                </a:lnTo>
                <a:lnTo>
                  <a:pt x="1760791" y="720433"/>
                </a:lnTo>
                <a:lnTo>
                  <a:pt x="1789252" y="720433"/>
                </a:lnTo>
                <a:lnTo>
                  <a:pt x="1789252" y="748894"/>
                </a:lnTo>
                <a:lnTo>
                  <a:pt x="1817370" y="748894"/>
                </a:lnTo>
                <a:lnTo>
                  <a:pt x="1817370" y="720433"/>
                </a:lnTo>
                <a:lnTo>
                  <a:pt x="1845831" y="720433"/>
                </a:lnTo>
                <a:lnTo>
                  <a:pt x="1845831" y="692315"/>
                </a:lnTo>
                <a:lnTo>
                  <a:pt x="1817370" y="692315"/>
                </a:lnTo>
                <a:lnTo>
                  <a:pt x="1817370" y="663854"/>
                </a:lnTo>
                <a:lnTo>
                  <a:pt x="1789252" y="663854"/>
                </a:lnTo>
                <a:close/>
                <a:moveTo>
                  <a:pt x="2749372" y="938517"/>
                </a:moveTo>
                <a:lnTo>
                  <a:pt x="2749372" y="966635"/>
                </a:lnTo>
                <a:lnTo>
                  <a:pt x="2721254" y="966635"/>
                </a:lnTo>
                <a:lnTo>
                  <a:pt x="2721254" y="994753"/>
                </a:lnTo>
                <a:lnTo>
                  <a:pt x="2749372" y="994753"/>
                </a:lnTo>
                <a:lnTo>
                  <a:pt x="2749372" y="1022871"/>
                </a:lnTo>
                <a:lnTo>
                  <a:pt x="2777490" y="1022871"/>
                </a:lnTo>
                <a:lnTo>
                  <a:pt x="2777490" y="994753"/>
                </a:lnTo>
                <a:lnTo>
                  <a:pt x="2805608" y="994753"/>
                </a:lnTo>
                <a:lnTo>
                  <a:pt x="2805608" y="966635"/>
                </a:lnTo>
                <a:lnTo>
                  <a:pt x="2777490" y="966635"/>
                </a:lnTo>
                <a:lnTo>
                  <a:pt x="2777490" y="938517"/>
                </a:lnTo>
                <a:lnTo>
                  <a:pt x="2749372" y="938517"/>
                </a:lnTo>
                <a:close/>
                <a:moveTo>
                  <a:pt x="2613584" y="668312"/>
                </a:moveTo>
                <a:lnTo>
                  <a:pt x="2613584" y="693687"/>
                </a:lnTo>
                <a:lnTo>
                  <a:pt x="2588209" y="693687"/>
                </a:lnTo>
                <a:lnTo>
                  <a:pt x="2588209" y="719061"/>
                </a:lnTo>
                <a:lnTo>
                  <a:pt x="2613584" y="719061"/>
                </a:lnTo>
                <a:lnTo>
                  <a:pt x="2613584" y="744436"/>
                </a:lnTo>
                <a:lnTo>
                  <a:pt x="2638958" y="744436"/>
                </a:lnTo>
                <a:lnTo>
                  <a:pt x="2638958" y="719061"/>
                </a:lnTo>
                <a:lnTo>
                  <a:pt x="2664333" y="719061"/>
                </a:lnTo>
                <a:lnTo>
                  <a:pt x="2664333" y="693687"/>
                </a:lnTo>
                <a:lnTo>
                  <a:pt x="2638958" y="693687"/>
                </a:lnTo>
                <a:lnTo>
                  <a:pt x="2638958" y="668312"/>
                </a:lnTo>
                <a:lnTo>
                  <a:pt x="2613584" y="668312"/>
                </a:lnTo>
                <a:close/>
                <a:moveTo>
                  <a:pt x="2681478" y="803415"/>
                </a:moveTo>
                <a:lnTo>
                  <a:pt x="2681478" y="830161"/>
                </a:lnTo>
                <a:lnTo>
                  <a:pt x="2654732" y="830161"/>
                </a:lnTo>
                <a:lnTo>
                  <a:pt x="2654732" y="856907"/>
                </a:lnTo>
                <a:lnTo>
                  <a:pt x="2681478" y="856907"/>
                </a:lnTo>
                <a:lnTo>
                  <a:pt x="2681478" y="883653"/>
                </a:lnTo>
                <a:lnTo>
                  <a:pt x="2708224" y="883653"/>
                </a:lnTo>
                <a:lnTo>
                  <a:pt x="2708224" y="856907"/>
                </a:lnTo>
                <a:lnTo>
                  <a:pt x="2734970" y="856907"/>
                </a:lnTo>
                <a:lnTo>
                  <a:pt x="2734970" y="830161"/>
                </a:lnTo>
                <a:lnTo>
                  <a:pt x="2708224" y="830161"/>
                </a:lnTo>
                <a:lnTo>
                  <a:pt x="2708224" y="803415"/>
                </a:lnTo>
                <a:lnTo>
                  <a:pt x="2681478" y="803415"/>
                </a:lnTo>
                <a:close/>
                <a:moveTo>
                  <a:pt x="2543632" y="801357"/>
                </a:moveTo>
                <a:lnTo>
                  <a:pt x="2543632" y="829475"/>
                </a:lnTo>
                <a:lnTo>
                  <a:pt x="2515514" y="829475"/>
                </a:lnTo>
                <a:lnTo>
                  <a:pt x="2515514" y="857593"/>
                </a:lnTo>
                <a:lnTo>
                  <a:pt x="2543632" y="857593"/>
                </a:lnTo>
                <a:lnTo>
                  <a:pt x="2543632" y="885711"/>
                </a:lnTo>
                <a:lnTo>
                  <a:pt x="2571750" y="885711"/>
                </a:lnTo>
                <a:lnTo>
                  <a:pt x="2571750" y="857593"/>
                </a:lnTo>
                <a:lnTo>
                  <a:pt x="2599868" y="857593"/>
                </a:lnTo>
                <a:lnTo>
                  <a:pt x="2599868" y="829475"/>
                </a:lnTo>
                <a:lnTo>
                  <a:pt x="2571750" y="829475"/>
                </a:lnTo>
                <a:lnTo>
                  <a:pt x="2571750" y="801357"/>
                </a:lnTo>
                <a:lnTo>
                  <a:pt x="2543632" y="801357"/>
                </a:lnTo>
                <a:close/>
                <a:moveTo>
                  <a:pt x="2475738" y="666598"/>
                </a:moveTo>
                <a:lnTo>
                  <a:pt x="2475738" y="693001"/>
                </a:lnTo>
                <a:lnTo>
                  <a:pt x="2449335" y="693001"/>
                </a:lnTo>
                <a:lnTo>
                  <a:pt x="2449335" y="719747"/>
                </a:lnTo>
                <a:lnTo>
                  <a:pt x="2475738" y="719747"/>
                </a:lnTo>
                <a:lnTo>
                  <a:pt x="2475738" y="746150"/>
                </a:lnTo>
                <a:lnTo>
                  <a:pt x="2502484" y="746150"/>
                </a:lnTo>
                <a:lnTo>
                  <a:pt x="2502484" y="719747"/>
                </a:lnTo>
                <a:lnTo>
                  <a:pt x="2528888" y="719747"/>
                </a:lnTo>
                <a:lnTo>
                  <a:pt x="2528888" y="693001"/>
                </a:lnTo>
                <a:lnTo>
                  <a:pt x="2502484" y="693001"/>
                </a:lnTo>
                <a:lnTo>
                  <a:pt x="2502484" y="666598"/>
                </a:lnTo>
                <a:lnTo>
                  <a:pt x="2475738" y="666598"/>
                </a:lnTo>
                <a:close/>
                <a:moveTo>
                  <a:pt x="2819324" y="805472"/>
                </a:moveTo>
                <a:lnTo>
                  <a:pt x="2819324" y="830847"/>
                </a:lnTo>
                <a:lnTo>
                  <a:pt x="2793949" y="830847"/>
                </a:lnTo>
                <a:lnTo>
                  <a:pt x="2793949" y="856221"/>
                </a:lnTo>
                <a:lnTo>
                  <a:pt x="2819324" y="856221"/>
                </a:lnTo>
                <a:lnTo>
                  <a:pt x="2819324" y="881596"/>
                </a:lnTo>
                <a:lnTo>
                  <a:pt x="2844698" y="881596"/>
                </a:lnTo>
                <a:lnTo>
                  <a:pt x="2844698" y="856221"/>
                </a:lnTo>
                <a:lnTo>
                  <a:pt x="2870073" y="856221"/>
                </a:lnTo>
                <a:lnTo>
                  <a:pt x="2870073" y="830847"/>
                </a:lnTo>
                <a:lnTo>
                  <a:pt x="2844698" y="830847"/>
                </a:lnTo>
                <a:lnTo>
                  <a:pt x="2844698" y="805472"/>
                </a:lnTo>
                <a:lnTo>
                  <a:pt x="2819324" y="805472"/>
                </a:lnTo>
                <a:close/>
                <a:moveTo>
                  <a:pt x="3024035" y="1213866"/>
                </a:moveTo>
                <a:lnTo>
                  <a:pt x="3024035" y="1241298"/>
                </a:lnTo>
                <a:lnTo>
                  <a:pt x="2996603" y="1241298"/>
                </a:lnTo>
                <a:lnTo>
                  <a:pt x="2996603" y="1268730"/>
                </a:lnTo>
                <a:lnTo>
                  <a:pt x="3024035" y="1268730"/>
                </a:lnTo>
                <a:lnTo>
                  <a:pt x="3024035" y="1296162"/>
                </a:lnTo>
                <a:lnTo>
                  <a:pt x="3051467" y="1296162"/>
                </a:lnTo>
                <a:lnTo>
                  <a:pt x="3051467" y="1268730"/>
                </a:lnTo>
                <a:lnTo>
                  <a:pt x="3078899" y="1268730"/>
                </a:lnTo>
                <a:lnTo>
                  <a:pt x="3078899" y="1241298"/>
                </a:lnTo>
                <a:lnTo>
                  <a:pt x="3051467" y="1241298"/>
                </a:lnTo>
                <a:lnTo>
                  <a:pt x="3051467" y="1213866"/>
                </a:lnTo>
                <a:lnTo>
                  <a:pt x="3024035" y="1213866"/>
                </a:lnTo>
                <a:close/>
                <a:moveTo>
                  <a:pt x="2405786" y="799643"/>
                </a:moveTo>
                <a:lnTo>
                  <a:pt x="2405786" y="828789"/>
                </a:lnTo>
                <a:lnTo>
                  <a:pt x="2376640" y="828789"/>
                </a:lnTo>
                <a:lnTo>
                  <a:pt x="2376640" y="858279"/>
                </a:lnTo>
                <a:lnTo>
                  <a:pt x="2405786" y="858279"/>
                </a:lnTo>
                <a:lnTo>
                  <a:pt x="2405786" y="887425"/>
                </a:lnTo>
                <a:lnTo>
                  <a:pt x="2435276" y="887425"/>
                </a:lnTo>
                <a:lnTo>
                  <a:pt x="2435276" y="858279"/>
                </a:lnTo>
                <a:lnTo>
                  <a:pt x="2464423" y="858279"/>
                </a:lnTo>
                <a:lnTo>
                  <a:pt x="2464423" y="828789"/>
                </a:lnTo>
                <a:lnTo>
                  <a:pt x="2435276" y="828789"/>
                </a:lnTo>
                <a:lnTo>
                  <a:pt x="2435276" y="799643"/>
                </a:lnTo>
                <a:lnTo>
                  <a:pt x="2405786" y="799643"/>
                </a:lnTo>
                <a:close/>
                <a:moveTo>
                  <a:pt x="2955455" y="1077049"/>
                </a:moveTo>
                <a:lnTo>
                  <a:pt x="2955455" y="1104138"/>
                </a:lnTo>
                <a:lnTo>
                  <a:pt x="2928366" y="1104138"/>
                </a:lnTo>
                <a:lnTo>
                  <a:pt x="2928366" y="1131570"/>
                </a:lnTo>
                <a:lnTo>
                  <a:pt x="2955455" y="1131570"/>
                </a:lnTo>
                <a:lnTo>
                  <a:pt x="2955455" y="1158659"/>
                </a:lnTo>
                <a:lnTo>
                  <a:pt x="2982887" y="1158659"/>
                </a:lnTo>
                <a:lnTo>
                  <a:pt x="2982887" y="1131570"/>
                </a:lnTo>
                <a:lnTo>
                  <a:pt x="3009976" y="1131570"/>
                </a:lnTo>
                <a:lnTo>
                  <a:pt x="3009976" y="1104138"/>
                </a:lnTo>
                <a:lnTo>
                  <a:pt x="2982887" y="1104138"/>
                </a:lnTo>
                <a:lnTo>
                  <a:pt x="2982887" y="1077049"/>
                </a:lnTo>
                <a:lnTo>
                  <a:pt x="2955455" y="1077049"/>
                </a:lnTo>
                <a:close/>
                <a:moveTo>
                  <a:pt x="2887561" y="941261"/>
                </a:moveTo>
                <a:lnTo>
                  <a:pt x="2887561" y="967664"/>
                </a:lnTo>
                <a:lnTo>
                  <a:pt x="2861158" y="967664"/>
                </a:lnTo>
                <a:lnTo>
                  <a:pt x="2861158" y="993724"/>
                </a:lnTo>
                <a:lnTo>
                  <a:pt x="2887561" y="993724"/>
                </a:lnTo>
                <a:lnTo>
                  <a:pt x="2887561" y="1020128"/>
                </a:lnTo>
                <a:lnTo>
                  <a:pt x="2913622" y="1020128"/>
                </a:lnTo>
                <a:lnTo>
                  <a:pt x="2913622" y="993724"/>
                </a:lnTo>
                <a:lnTo>
                  <a:pt x="2940025" y="993724"/>
                </a:lnTo>
                <a:lnTo>
                  <a:pt x="2940025" y="967664"/>
                </a:lnTo>
                <a:lnTo>
                  <a:pt x="2913622" y="967664"/>
                </a:lnTo>
                <a:lnTo>
                  <a:pt x="2913622" y="941261"/>
                </a:lnTo>
                <a:lnTo>
                  <a:pt x="2887561" y="941261"/>
                </a:lnTo>
                <a:close/>
                <a:moveTo>
                  <a:pt x="2200732" y="664197"/>
                </a:moveTo>
                <a:lnTo>
                  <a:pt x="2200732" y="692315"/>
                </a:lnTo>
                <a:lnTo>
                  <a:pt x="2172614" y="692315"/>
                </a:lnTo>
                <a:lnTo>
                  <a:pt x="2172614" y="720433"/>
                </a:lnTo>
                <a:lnTo>
                  <a:pt x="2200732" y="720433"/>
                </a:lnTo>
                <a:lnTo>
                  <a:pt x="2200732" y="748551"/>
                </a:lnTo>
                <a:lnTo>
                  <a:pt x="2228850" y="748551"/>
                </a:lnTo>
                <a:lnTo>
                  <a:pt x="2228850" y="720433"/>
                </a:lnTo>
                <a:lnTo>
                  <a:pt x="2256968" y="720433"/>
                </a:lnTo>
                <a:lnTo>
                  <a:pt x="2256968" y="692315"/>
                </a:lnTo>
                <a:lnTo>
                  <a:pt x="2228850" y="692315"/>
                </a:lnTo>
                <a:lnTo>
                  <a:pt x="2228850" y="664197"/>
                </a:lnTo>
                <a:lnTo>
                  <a:pt x="2200732" y="664197"/>
                </a:lnTo>
                <a:close/>
                <a:moveTo>
                  <a:pt x="1858861" y="530123"/>
                </a:moveTo>
                <a:lnTo>
                  <a:pt x="1858861" y="556184"/>
                </a:lnTo>
                <a:lnTo>
                  <a:pt x="1832800" y="556184"/>
                </a:lnTo>
                <a:lnTo>
                  <a:pt x="1832800" y="582244"/>
                </a:lnTo>
                <a:lnTo>
                  <a:pt x="1858861" y="582244"/>
                </a:lnTo>
                <a:lnTo>
                  <a:pt x="1858861" y="608305"/>
                </a:lnTo>
                <a:lnTo>
                  <a:pt x="1884921" y="608305"/>
                </a:lnTo>
                <a:lnTo>
                  <a:pt x="1884921" y="582244"/>
                </a:lnTo>
                <a:lnTo>
                  <a:pt x="1910982" y="582244"/>
                </a:lnTo>
                <a:lnTo>
                  <a:pt x="1910982" y="556184"/>
                </a:lnTo>
                <a:lnTo>
                  <a:pt x="1884921" y="556184"/>
                </a:lnTo>
                <a:lnTo>
                  <a:pt x="1884921" y="530123"/>
                </a:lnTo>
                <a:lnTo>
                  <a:pt x="1858861" y="530123"/>
                </a:lnTo>
                <a:close/>
                <a:moveTo>
                  <a:pt x="2338235" y="665226"/>
                </a:moveTo>
                <a:lnTo>
                  <a:pt x="2338235" y="692658"/>
                </a:lnTo>
                <a:lnTo>
                  <a:pt x="2310803" y="692658"/>
                </a:lnTo>
                <a:lnTo>
                  <a:pt x="2310803" y="720090"/>
                </a:lnTo>
                <a:lnTo>
                  <a:pt x="2338235" y="720090"/>
                </a:lnTo>
                <a:lnTo>
                  <a:pt x="2338235" y="747522"/>
                </a:lnTo>
                <a:lnTo>
                  <a:pt x="2365667" y="747522"/>
                </a:lnTo>
                <a:lnTo>
                  <a:pt x="2365667" y="720090"/>
                </a:lnTo>
                <a:lnTo>
                  <a:pt x="2393099" y="720090"/>
                </a:lnTo>
                <a:lnTo>
                  <a:pt x="2393099" y="692658"/>
                </a:lnTo>
                <a:lnTo>
                  <a:pt x="2365667" y="692658"/>
                </a:lnTo>
                <a:lnTo>
                  <a:pt x="2365667" y="665226"/>
                </a:lnTo>
                <a:lnTo>
                  <a:pt x="2338235" y="665226"/>
                </a:lnTo>
                <a:close/>
                <a:moveTo>
                  <a:pt x="1721701" y="530466"/>
                </a:moveTo>
                <a:lnTo>
                  <a:pt x="1721701" y="556184"/>
                </a:lnTo>
                <a:lnTo>
                  <a:pt x="1695983" y="556184"/>
                </a:lnTo>
                <a:lnTo>
                  <a:pt x="1695983" y="582244"/>
                </a:lnTo>
                <a:lnTo>
                  <a:pt x="1721701" y="582244"/>
                </a:lnTo>
                <a:lnTo>
                  <a:pt x="1721701" y="607962"/>
                </a:lnTo>
                <a:lnTo>
                  <a:pt x="1747761" y="607962"/>
                </a:lnTo>
                <a:lnTo>
                  <a:pt x="1747761" y="582244"/>
                </a:lnTo>
                <a:lnTo>
                  <a:pt x="1773479" y="582244"/>
                </a:lnTo>
                <a:lnTo>
                  <a:pt x="1773479" y="556184"/>
                </a:lnTo>
                <a:lnTo>
                  <a:pt x="1747761" y="556184"/>
                </a:lnTo>
                <a:lnTo>
                  <a:pt x="1747761" y="530466"/>
                </a:lnTo>
                <a:lnTo>
                  <a:pt x="1721701" y="530466"/>
                </a:lnTo>
                <a:close/>
                <a:moveTo>
                  <a:pt x="1996021" y="530123"/>
                </a:moveTo>
                <a:lnTo>
                  <a:pt x="1996021" y="556184"/>
                </a:lnTo>
                <a:lnTo>
                  <a:pt x="1969960" y="556184"/>
                </a:lnTo>
                <a:lnTo>
                  <a:pt x="1969960" y="582244"/>
                </a:lnTo>
                <a:lnTo>
                  <a:pt x="1996021" y="582244"/>
                </a:lnTo>
                <a:lnTo>
                  <a:pt x="1996021" y="608305"/>
                </a:lnTo>
                <a:lnTo>
                  <a:pt x="2022081" y="608305"/>
                </a:lnTo>
                <a:lnTo>
                  <a:pt x="2022081" y="582244"/>
                </a:lnTo>
                <a:lnTo>
                  <a:pt x="2048142" y="582244"/>
                </a:lnTo>
                <a:lnTo>
                  <a:pt x="2048142" y="556184"/>
                </a:lnTo>
                <a:lnTo>
                  <a:pt x="2022081" y="556184"/>
                </a:lnTo>
                <a:lnTo>
                  <a:pt x="2022081" y="530123"/>
                </a:lnTo>
                <a:lnTo>
                  <a:pt x="1996021" y="530123"/>
                </a:lnTo>
                <a:close/>
                <a:moveTo>
                  <a:pt x="1926069" y="663512"/>
                </a:moveTo>
                <a:lnTo>
                  <a:pt x="1926069" y="691972"/>
                </a:lnTo>
                <a:lnTo>
                  <a:pt x="1897609" y="691972"/>
                </a:lnTo>
                <a:lnTo>
                  <a:pt x="1897609" y="720776"/>
                </a:lnTo>
                <a:lnTo>
                  <a:pt x="1926069" y="720776"/>
                </a:lnTo>
                <a:lnTo>
                  <a:pt x="1926069" y="749237"/>
                </a:lnTo>
                <a:lnTo>
                  <a:pt x="1954873" y="749237"/>
                </a:lnTo>
                <a:lnTo>
                  <a:pt x="1954873" y="720776"/>
                </a:lnTo>
                <a:lnTo>
                  <a:pt x="1983334" y="720776"/>
                </a:lnTo>
                <a:lnTo>
                  <a:pt x="1983334" y="691972"/>
                </a:lnTo>
                <a:lnTo>
                  <a:pt x="1954873" y="691972"/>
                </a:lnTo>
                <a:lnTo>
                  <a:pt x="1954873" y="663512"/>
                </a:lnTo>
                <a:lnTo>
                  <a:pt x="1926069" y="663512"/>
                </a:lnTo>
                <a:close/>
                <a:moveTo>
                  <a:pt x="3093987" y="1080478"/>
                </a:moveTo>
                <a:lnTo>
                  <a:pt x="3093987" y="1105510"/>
                </a:lnTo>
                <a:lnTo>
                  <a:pt x="3068955" y="1105510"/>
                </a:lnTo>
                <a:lnTo>
                  <a:pt x="3068955" y="1130198"/>
                </a:lnTo>
                <a:lnTo>
                  <a:pt x="3093987" y="1130198"/>
                </a:lnTo>
                <a:lnTo>
                  <a:pt x="3093987" y="1155230"/>
                </a:lnTo>
                <a:lnTo>
                  <a:pt x="3118676" y="1155230"/>
                </a:lnTo>
                <a:lnTo>
                  <a:pt x="3118676" y="1130198"/>
                </a:lnTo>
                <a:lnTo>
                  <a:pt x="3143707" y="1130198"/>
                </a:lnTo>
                <a:lnTo>
                  <a:pt x="3143707" y="1105510"/>
                </a:lnTo>
                <a:lnTo>
                  <a:pt x="3118676" y="1105510"/>
                </a:lnTo>
                <a:lnTo>
                  <a:pt x="3118676" y="1080478"/>
                </a:lnTo>
                <a:lnTo>
                  <a:pt x="3093987" y="1080478"/>
                </a:lnTo>
                <a:close/>
                <a:moveTo>
                  <a:pt x="2270684" y="531152"/>
                </a:moveTo>
                <a:lnTo>
                  <a:pt x="2270684" y="556527"/>
                </a:lnTo>
                <a:lnTo>
                  <a:pt x="2245309" y="556527"/>
                </a:lnTo>
                <a:lnTo>
                  <a:pt x="2245309" y="581901"/>
                </a:lnTo>
                <a:lnTo>
                  <a:pt x="2270684" y="581901"/>
                </a:lnTo>
                <a:lnTo>
                  <a:pt x="2270684" y="607276"/>
                </a:lnTo>
                <a:lnTo>
                  <a:pt x="2296058" y="607276"/>
                </a:lnTo>
                <a:lnTo>
                  <a:pt x="2296058" y="581901"/>
                </a:lnTo>
                <a:lnTo>
                  <a:pt x="2321433" y="581901"/>
                </a:lnTo>
                <a:lnTo>
                  <a:pt x="2321433" y="556527"/>
                </a:lnTo>
                <a:lnTo>
                  <a:pt x="2296058" y="556527"/>
                </a:lnTo>
                <a:lnTo>
                  <a:pt x="2296058" y="531152"/>
                </a:lnTo>
                <a:lnTo>
                  <a:pt x="2270684" y="531152"/>
                </a:lnTo>
                <a:close/>
                <a:moveTo>
                  <a:pt x="2133181" y="530466"/>
                </a:moveTo>
                <a:lnTo>
                  <a:pt x="2133181" y="556184"/>
                </a:lnTo>
                <a:lnTo>
                  <a:pt x="2107463" y="556184"/>
                </a:lnTo>
                <a:lnTo>
                  <a:pt x="2107463" y="582244"/>
                </a:lnTo>
                <a:lnTo>
                  <a:pt x="2133181" y="582244"/>
                </a:lnTo>
                <a:lnTo>
                  <a:pt x="2133181" y="607962"/>
                </a:lnTo>
                <a:lnTo>
                  <a:pt x="2159242" y="607962"/>
                </a:lnTo>
                <a:lnTo>
                  <a:pt x="2159242" y="582244"/>
                </a:lnTo>
                <a:lnTo>
                  <a:pt x="2184959" y="582244"/>
                </a:lnTo>
                <a:lnTo>
                  <a:pt x="2184959" y="556184"/>
                </a:lnTo>
                <a:lnTo>
                  <a:pt x="2159242" y="556184"/>
                </a:lnTo>
                <a:lnTo>
                  <a:pt x="2159242" y="530466"/>
                </a:lnTo>
                <a:lnTo>
                  <a:pt x="2133181" y="530466"/>
                </a:lnTo>
                <a:close/>
                <a:moveTo>
                  <a:pt x="2063572" y="663854"/>
                </a:moveTo>
                <a:lnTo>
                  <a:pt x="2063572" y="692315"/>
                </a:lnTo>
                <a:lnTo>
                  <a:pt x="2035111" y="692315"/>
                </a:lnTo>
                <a:lnTo>
                  <a:pt x="2035111" y="720433"/>
                </a:lnTo>
                <a:lnTo>
                  <a:pt x="2063572" y="720433"/>
                </a:lnTo>
                <a:lnTo>
                  <a:pt x="2063572" y="748894"/>
                </a:lnTo>
                <a:lnTo>
                  <a:pt x="2091690" y="748894"/>
                </a:lnTo>
                <a:lnTo>
                  <a:pt x="2091690" y="720433"/>
                </a:lnTo>
                <a:lnTo>
                  <a:pt x="2120151" y="720433"/>
                </a:lnTo>
                <a:lnTo>
                  <a:pt x="2120151" y="692315"/>
                </a:lnTo>
                <a:lnTo>
                  <a:pt x="2091690" y="692315"/>
                </a:lnTo>
                <a:lnTo>
                  <a:pt x="2091690" y="663854"/>
                </a:lnTo>
                <a:lnTo>
                  <a:pt x="2063572" y="663854"/>
                </a:lnTo>
                <a:close/>
                <a:moveTo>
                  <a:pt x="2778862" y="2673248"/>
                </a:moveTo>
                <a:lnTo>
                  <a:pt x="2778862" y="2642045"/>
                </a:lnTo>
                <a:lnTo>
                  <a:pt x="2810066" y="2642045"/>
                </a:lnTo>
                <a:lnTo>
                  <a:pt x="2810066" y="2611184"/>
                </a:lnTo>
                <a:lnTo>
                  <a:pt x="2778862" y="2611184"/>
                </a:lnTo>
                <a:lnTo>
                  <a:pt x="2778862" y="2579980"/>
                </a:lnTo>
                <a:lnTo>
                  <a:pt x="2748001" y="2579980"/>
                </a:lnTo>
                <a:lnTo>
                  <a:pt x="2748001" y="2611184"/>
                </a:lnTo>
                <a:lnTo>
                  <a:pt x="2716797" y="2611184"/>
                </a:lnTo>
                <a:lnTo>
                  <a:pt x="2716797" y="2642045"/>
                </a:lnTo>
                <a:lnTo>
                  <a:pt x="2748001" y="2642045"/>
                </a:lnTo>
                <a:lnTo>
                  <a:pt x="2748001" y="2673248"/>
                </a:lnTo>
                <a:lnTo>
                  <a:pt x="2778862" y="2673248"/>
                </a:lnTo>
                <a:close/>
                <a:moveTo>
                  <a:pt x="2298459" y="3083014"/>
                </a:moveTo>
                <a:lnTo>
                  <a:pt x="2298459" y="3053182"/>
                </a:lnTo>
                <a:lnTo>
                  <a:pt x="2328291" y="3053182"/>
                </a:lnTo>
                <a:lnTo>
                  <a:pt x="2328291" y="3023006"/>
                </a:lnTo>
                <a:lnTo>
                  <a:pt x="2298459" y="3023006"/>
                </a:lnTo>
                <a:lnTo>
                  <a:pt x="2298459" y="2993174"/>
                </a:lnTo>
                <a:lnTo>
                  <a:pt x="2268284" y="2993174"/>
                </a:lnTo>
                <a:lnTo>
                  <a:pt x="2268284" y="3023006"/>
                </a:lnTo>
                <a:lnTo>
                  <a:pt x="2238451" y="3023006"/>
                </a:lnTo>
                <a:lnTo>
                  <a:pt x="2238451" y="3053182"/>
                </a:lnTo>
                <a:lnTo>
                  <a:pt x="2268284" y="3053182"/>
                </a:lnTo>
                <a:lnTo>
                  <a:pt x="2268284" y="3083014"/>
                </a:lnTo>
                <a:lnTo>
                  <a:pt x="2298459" y="3083014"/>
                </a:lnTo>
                <a:close/>
                <a:moveTo>
                  <a:pt x="2641016" y="2945168"/>
                </a:moveTo>
                <a:lnTo>
                  <a:pt x="2641016" y="2915679"/>
                </a:lnTo>
                <a:lnTo>
                  <a:pt x="2670505" y="2915679"/>
                </a:lnTo>
                <a:lnTo>
                  <a:pt x="2670505" y="2886189"/>
                </a:lnTo>
                <a:lnTo>
                  <a:pt x="2641016" y="2886189"/>
                </a:lnTo>
                <a:lnTo>
                  <a:pt x="2641016" y="2856700"/>
                </a:lnTo>
                <a:lnTo>
                  <a:pt x="2611526" y="2856700"/>
                </a:lnTo>
                <a:lnTo>
                  <a:pt x="2611526" y="2886189"/>
                </a:lnTo>
                <a:lnTo>
                  <a:pt x="2582037" y="2886189"/>
                </a:lnTo>
                <a:lnTo>
                  <a:pt x="2582037" y="2915679"/>
                </a:lnTo>
                <a:lnTo>
                  <a:pt x="2611526" y="2915679"/>
                </a:lnTo>
                <a:lnTo>
                  <a:pt x="2611526" y="2945168"/>
                </a:lnTo>
                <a:lnTo>
                  <a:pt x="2641016" y="2945168"/>
                </a:lnTo>
                <a:close/>
                <a:moveTo>
                  <a:pt x="2709939" y="2809380"/>
                </a:moveTo>
                <a:lnTo>
                  <a:pt x="2709939" y="2778862"/>
                </a:lnTo>
                <a:lnTo>
                  <a:pt x="2740457" y="2778862"/>
                </a:lnTo>
                <a:lnTo>
                  <a:pt x="2740457" y="2748686"/>
                </a:lnTo>
                <a:lnTo>
                  <a:pt x="2709939" y="2748686"/>
                </a:lnTo>
                <a:lnTo>
                  <a:pt x="2709939" y="2718168"/>
                </a:lnTo>
                <a:lnTo>
                  <a:pt x="2679764" y="2718168"/>
                </a:lnTo>
                <a:lnTo>
                  <a:pt x="2679764" y="2748686"/>
                </a:lnTo>
                <a:lnTo>
                  <a:pt x="2649245" y="2748686"/>
                </a:lnTo>
                <a:lnTo>
                  <a:pt x="2649245" y="2778862"/>
                </a:lnTo>
                <a:lnTo>
                  <a:pt x="2679764" y="2778862"/>
                </a:lnTo>
                <a:lnTo>
                  <a:pt x="2679764" y="2809380"/>
                </a:lnTo>
                <a:lnTo>
                  <a:pt x="2709939" y="2809380"/>
                </a:lnTo>
                <a:close/>
                <a:moveTo>
                  <a:pt x="2846413" y="2807322"/>
                </a:moveTo>
                <a:lnTo>
                  <a:pt x="2846413" y="2778176"/>
                </a:lnTo>
                <a:lnTo>
                  <a:pt x="2875559" y="2778176"/>
                </a:lnTo>
                <a:lnTo>
                  <a:pt x="2875559" y="2749372"/>
                </a:lnTo>
                <a:lnTo>
                  <a:pt x="2846413" y="2749372"/>
                </a:lnTo>
                <a:lnTo>
                  <a:pt x="2846413" y="2720226"/>
                </a:lnTo>
                <a:lnTo>
                  <a:pt x="2817610" y="2720226"/>
                </a:lnTo>
                <a:lnTo>
                  <a:pt x="2817610" y="2749372"/>
                </a:lnTo>
                <a:lnTo>
                  <a:pt x="2788463" y="2749372"/>
                </a:lnTo>
                <a:lnTo>
                  <a:pt x="2788463" y="2778176"/>
                </a:lnTo>
                <a:lnTo>
                  <a:pt x="2817610" y="2778176"/>
                </a:lnTo>
                <a:lnTo>
                  <a:pt x="2817610" y="2807322"/>
                </a:lnTo>
                <a:lnTo>
                  <a:pt x="2846413" y="2807322"/>
                </a:lnTo>
                <a:close/>
                <a:moveTo>
                  <a:pt x="2573465" y="2811094"/>
                </a:moveTo>
                <a:lnTo>
                  <a:pt x="2573465" y="2779547"/>
                </a:lnTo>
                <a:lnTo>
                  <a:pt x="2605012" y="2779547"/>
                </a:lnTo>
                <a:lnTo>
                  <a:pt x="2605012" y="2748001"/>
                </a:lnTo>
                <a:lnTo>
                  <a:pt x="2573465" y="2748001"/>
                </a:lnTo>
                <a:lnTo>
                  <a:pt x="2573465" y="2716454"/>
                </a:lnTo>
                <a:lnTo>
                  <a:pt x="2541918" y="2716454"/>
                </a:lnTo>
                <a:lnTo>
                  <a:pt x="2541918" y="2748001"/>
                </a:lnTo>
                <a:lnTo>
                  <a:pt x="2510371" y="2748001"/>
                </a:lnTo>
                <a:lnTo>
                  <a:pt x="2510371" y="2779547"/>
                </a:lnTo>
                <a:lnTo>
                  <a:pt x="2541918" y="2779547"/>
                </a:lnTo>
                <a:lnTo>
                  <a:pt x="2541918" y="2811094"/>
                </a:lnTo>
                <a:lnTo>
                  <a:pt x="2573465" y="2811094"/>
                </a:lnTo>
                <a:close/>
                <a:moveTo>
                  <a:pt x="2435276" y="3081985"/>
                </a:moveTo>
                <a:lnTo>
                  <a:pt x="2435276" y="3052839"/>
                </a:lnTo>
                <a:lnTo>
                  <a:pt x="2464423" y="3052839"/>
                </a:lnTo>
                <a:lnTo>
                  <a:pt x="2464423" y="3023349"/>
                </a:lnTo>
                <a:lnTo>
                  <a:pt x="2435276" y="3023349"/>
                </a:lnTo>
                <a:lnTo>
                  <a:pt x="2435276" y="2994203"/>
                </a:lnTo>
                <a:lnTo>
                  <a:pt x="2405786" y="2994203"/>
                </a:lnTo>
                <a:lnTo>
                  <a:pt x="2405786" y="3023349"/>
                </a:lnTo>
                <a:lnTo>
                  <a:pt x="2376640" y="3023349"/>
                </a:lnTo>
                <a:lnTo>
                  <a:pt x="2376640" y="3052839"/>
                </a:lnTo>
                <a:lnTo>
                  <a:pt x="2405786" y="3052839"/>
                </a:lnTo>
                <a:lnTo>
                  <a:pt x="2405786" y="3081985"/>
                </a:lnTo>
                <a:lnTo>
                  <a:pt x="2435276" y="3081985"/>
                </a:lnTo>
                <a:close/>
                <a:moveTo>
                  <a:pt x="2915336" y="2670505"/>
                </a:moveTo>
                <a:lnTo>
                  <a:pt x="2915336" y="2641359"/>
                </a:lnTo>
                <a:lnTo>
                  <a:pt x="2944483" y="2641359"/>
                </a:lnTo>
                <a:lnTo>
                  <a:pt x="2944483" y="2611869"/>
                </a:lnTo>
                <a:lnTo>
                  <a:pt x="2915336" y="2611869"/>
                </a:lnTo>
                <a:lnTo>
                  <a:pt x="2915336" y="2582723"/>
                </a:lnTo>
                <a:lnTo>
                  <a:pt x="2885846" y="2582723"/>
                </a:lnTo>
                <a:lnTo>
                  <a:pt x="2885846" y="2611869"/>
                </a:lnTo>
                <a:lnTo>
                  <a:pt x="2856700" y="2611869"/>
                </a:lnTo>
                <a:lnTo>
                  <a:pt x="2856700" y="2641359"/>
                </a:lnTo>
                <a:lnTo>
                  <a:pt x="2885846" y="2641359"/>
                </a:lnTo>
                <a:lnTo>
                  <a:pt x="2885846" y="2670505"/>
                </a:lnTo>
                <a:lnTo>
                  <a:pt x="2915336" y="2670505"/>
                </a:lnTo>
                <a:close/>
                <a:moveTo>
                  <a:pt x="2367725" y="2947911"/>
                </a:moveTo>
                <a:lnTo>
                  <a:pt x="2367725" y="2916707"/>
                </a:lnTo>
                <a:lnTo>
                  <a:pt x="2398928" y="2916707"/>
                </a:lnTo>
                <a:lnTo>
                  <a:pt x="2398928" y="2885161"/>
                </a:lnTo>
                <a:lnTo>
                  <a:pt x="2367725" y="2885161"/>
                </a:lnTo>
                <a:lnTo>
                  <a:pt x="2367725" y="2853957"/>
                </a:lnTo>
                <a:lnTo>
                  <a:pt x="2336178" y="2853957"/>
                </a:lnTo>
                <a:lnTo>
                  <a:pt x="2336178" y="2885161"/>
                </a:lnTo>
                <a:lnTo>
                  <a:pt x="2304974" y="2885161"/>
                </a:lnTo>
                <a:lnTo>
                  <a:pt x="2304974" y="2916707"/>
                </a:lnTo>
                <a:lnTo>
                  <a:pt x="2336178" y="2916707"/>
                </a:lnTo>
                <a:lnTo>
                  <a:pt x="2336178" y="2947911"/>
                </a:lnTo>
                <a:lnTo>
                  <a:pt x="2367725" y="2947911"/>
                </a:lnTo>
                <a:close/>
                <a:moveTo>
                  <a:pt x="2504542" y="2946883"/>
                </a:moveTo>
                <a:lnTo>
                  <a:pt x="2504542" y="2916365"/>
                </a:lnTo>
                <a:lnTo>
                  <a:pt x="2535060" y="2916365"/>
                </a:lnTo>
                <a:lnTo>
                  <a:pt x="2535060" y="2885504"/>
                </a:lnTo>
                <a:lnTo>
                  <a:pt x="2504542" y="2885504"/>
                </a:lnTo>
                <a:lnTo>
                  <a:pt x="2504542" y="2854985"/>
                </a:lnTo>
                <a:lnTo>
                  <a:pt x="2473681" y="2854985"/>
                </a:lnTo>
                <a:lnTo>
                  <a:pt x="2473681" y="2885504"/>
                </a:lnTo>
                <a:lnTo>
                  <a:pt x="2443163" y="2885504"/>
                </a:lnTo>
                <a:lnTo>
                  <a:pt x="2443163" y="2916365"/>
                </a:lnTo>
                <a:lnTo>
                  <a:pt x="2473681" y="2916365"/>
                </a:lnTo>
                <a:lnTo>
                  <a:pt x="2473681" y="2946883"/>
                </a:lnTo>
                <a:lnTo>
                  <a:pt x="2504542" y="2946883"/>
                </a:lnTo>
                <a:close/>
                <a:moveTo>
                  <a:pt x="3299727" y="1491958"/>
                </a:moveTo>
                <a:lnTo>
                  <a:pt x="3299727" y="1516990"/>
                </a:lnTo>
                <a:lnTo>
                  <a:pt x="3274695" y="1516990"/>
                </a:lnTo>
                <a:lnTo>
                  <a:pt x="3274695" y="1541678"/>
                </a:lnTo>
                <a:lnTo>
                  <a:pt x="3299727" y="1541678"/>
                </a:lnTo>
                <a:lnTo>
                  <a:pt x="3299727" y="1566710"/>
                </a:lnTo>
                <a:lnTo>
                  <a:pt x="3324416" y="1566710"/>
                </a:lnTo>
                <a:lnTo>
                  <a:pt x="3324416" y="1541678"/>
                </a:lnTo>
                <a:lnTo>
                  <a:pt x="3349447" y="1541678"/>
                </a:lnTo>
                <a:lnTo>
                  <a:pt x="3349447" y="1516990"/>
                </a:lnTo>
                <a:lnTo>
                  <a:pt x="3324416" y="1516990"/>
                </a:lnTo>
                <a:lnTo>
                  <a:pt x="3324416" y="1491958"/>
                </a:lnTo>
                <a:lnTo>
                  <a:pt x="3299727" y="1491958"/>
                </a:lnTo>
                <a:close/>
                <a:moveTo>
                  <a:pt x="3299041" y="1764563"/>
                </a:moveTo>
                <a:lnTo>
                  <a:pt x="3299041" y="1790624"/>
                </a:lnTo>
                <a:lnTo>
                  <a:pt x="3272981" y="1790624"/>
                </a:lnTo>
                <a:lnTo>
                  <a:pt x="3272981" y="1816684"/>
                </a:lnTo>
                <a:lnTo>
                  <a:pt x="3299041" y="1816684"/>
                </a:lnTo>
                <a:lnTo>
                  <a:pt x="3299041" y="1842745"/>
                </a:lnTo>
                <a:lnTo>
                  <a:pt x="3325102" y="1842745"/>
                </a:lnTo>
                <a:lnTo>
                  <a:pt x="3325102" y="1816684"/>
                </a:lnTo>
                <a:lnTo>
                  <a:pt x="3351162" y="1816684"/>
                </a:lnTo>
                <a:lnTo>
                  <a:pt x="3351162" y="1790624"/>
                </a:lnTo>
                <a:lnTo>
                  <a:pt x="3325102" y="1790624"/>
                </a:lnTo>
                <a:lnTo>
                  <a:pt x="3325102" y="1764563"/>
                </a:lnTo>
                <a:lnTo>
                  <a:pt x="3299041" y="1764563"/>
                </a:lnTo>
                <a:close/>
                <a:moveTo>
                  <a:pt x="3162224" y="1216952"/>
                </a:moveTo>
                <a:lnTo>
                  <a:pt x="3162224" y="1242327"/>
                </a:lnTo>
                <a:lnTo>
                  <a:pt x="3136849" y="1242327"/>
                </a:lnTo>
                <a:lnTo>
                  <a:pt x="3136849" y="1267701"/>
                </a:lnTo>
                <a:lnTo>
                  <a:pt x="3162224" y="1267701"/>
                </a:lnTo>
                <a:lnTo>
                  <a:pt x="3162224" y="1293076"/>
                </a:lnTo>
                <a:lnTo>
                  <a:pt x="3187598" y="1293076"/>
                </a:lnTo>
                <a:lnTo>
                  <a:pt x="3187598" y="1267701"/>
                </a:lnTo>
                <a:lnTo>
                  <a:pt x="3212973" y="1267701"/>
                </a:lnTo>
                <a:lnTo>
                  <a:pt x="3212973" y="1242327"/>
                </a:lnTo>
                <a:lnTo>
                  <a:pt x="3187598" y="1242327"/>
                </a:lnTo>
                <a:lnTo>
                  <a:pt x="3187598" y="1216952"/>
                </a:lnTo>
                <a:lnTo>
                  <a:pt x="3162224" y="1216952"/>
                </a:lnTo>
                <a:close/>
                <a:moveTo>
                  <a:pt x="2983916" y="2533688"/>
                </a:moveTo>
                <a:lnTo>
                  <a:pt x="2983916" y="2504199"/>
                </a:lnTo>
                <a:lnTo>
                  <a:pt x="3013405" y="2504199"/>
                </a:lnTo>
                <a:lnTo>
                  <a:pt x="3013405" y="2474709"/>
                </a:lnTo>
                <a:lnTo>
                  <a:pt x="2983916" y="2474709"/>
                </a:lnTo>
                <a:lnTo>
                  <a:pt x="2983916" y="2445220"/>
                </a:lnTo>
                <a:lnTo>
                  <a:pt x="2954426" y="2445220"/>
                </a:lnTo>
                <a:lnTo>
                  <a:pt x="2954426" y="2474709"/>
                </a:lnTo>
                <a:lnTo>
                  <a:pt x="2924937" y="2474709"/>
                </a:lnTo>
                <a:lnTo>
                  <a:pt x="2924937" y="2504199"/>
                </a:lnTo>
                <a:lnTo>
                  <a:pt x="2954426" y="2504199"/>
                </a:lnTo>
                <a:lnTo>
                  <a:pt x="2954426" y="2533688"/>
                </a:lnTo>
                <a:lnTo>
                  <a:pt x="2983916" y="2533688"/>
                </a:lnTo>
                <a:close/>
                <a:moveTo>
                  <a:pt x="3325102" y="2117065"/>
                </a:moveTo>
                <a:lnTo>
                  <a:pt x="3325102" y="2091004"/>
                </a:lnTo>
                <a:lnTo>
                  <a:pt x="3351162" y="2091004"/>
                </a:lnTo>
                <a:lnTo>
                  <a:pt x="3351162" y="2064944"/>
                </a:lnTo>
                <a:lnTo>
                  <a:pt x="3325102" y="2064944"/>
                </a:lnTo>
                <a:lnTo>
                  <a:pt x="3325102" y="2038883"/>
                </a:lnTo>
                <a:lnTo>
                  <a:pt x="3299041" y="2038883"/>
                </a:lnTo>
                <a:lnTo>
                  <a:pt x="3299041" y="2064944"/>
                </a:lnTo>
                <a:lnTo>
                  <a:pt x="3272981" y="2064944"/>
                </a:lnTo>
                <a:lnTo>
                  <a:pt x="3272981" y="2091004"/>
                </a:lnTo>
                <a:lnTo>
                  <a:pt x="3299041" y="2091004"/>
                </a:lnTo>
                <a:lnTo>
                  <a:pt x="3299041" y="2117065"/>
                </a:lnTo>
                <a:lnTo>
                  <a:pt x="3325102" y="2117065"/>
                </a:lnTo>
                <a:close/>
                <a:moveTo>
                  <a:pt x="3230804" y="1354112"/>
                </a:moveTo>
                <a:lnTo>
                  <a:pt x="3230804" y="1379487"/>
                </a:lnTo>
                <a:lnTo>
                  <a:pt x="3205429" y="1379487"/>
                </a:lnTo>
                <a:lnTo>
                  <a:pt x="3205429" y="1404861"/>
                </a:lnTo>
                <a:lnTo>
                  <a:pt x="3230804" y="1404861"/>
                </a:lnTo>
                <a:lnTo>
                  <a:pt x="3230804" y="1430236"/>
                </a:lnTo>
                <a:lnTo>
                  <a:pt x="3256178" y="1430236"/>
                </a:lnTo>
                <a:lnTo>
                  <a:pt x="3256178" y="1404861"/>
                </a:lnTo>
                <a:lnTo>
                  <a:pt x="3281553" y="1404861"/>
                </a:lnTo>
                <a:lnTo>
                  <a:pt x="3281553" y="1379487"/>
                </a:lnTo>
                <a:lnTo>
                  <a:pt x="3256178" y="1379487"/>
                </a:lnTo>
                <a:lnTo>
                  <a:pt x="3256178" y="1354112"/>
                </a:lnTo>
                <a:lnTo>
                  <a:pt x="3230804" y="1354112"/>
                </a:lnTo>
                <a:close/>
                <a:moveTo>
                  <a:pt x="3051467" y="2668105"/>
                </a:moveTo>
                <a:lnTo>
                  <a:pt x="3051467" y="2640330"/>
                </a:lnTo>
                <a:lnTo>
                  <a:pt x="3079242" y="2640330"/>
                </a:lnTo>
                <a:lnTo>
                  <a:pt x="3079242" y="2612898"/>
                </a:lnTo>
                <a:lnTo>
                  <a:pt x="3051467" y="2612898"/>
                </a:lnTo>
                <a:lnTo>
                  <a:pt x="3051467" y="2585123"/>
                </a:lnTo>
                <a:lnTo>
                  <a:pt x="3024035" y="2585123"/>
                </a:lnTo>
                <a:lnTo>
                  <a:pt x="3024035" y="2612898"/>
                </a:lnTo>
                <a:lnTo>
                  <a:pt x="2996260" y="2612898"/>
                </a:lnTo>
                <a:lnTo>
                  <a:pt x="2996260" y="2640330"/>
                </a:lnTo>
                <a:lnTo>
                  <a:pt x="3024035" y="2640330"/>
                </a:lnTo>
                <a:lnTo>
                  <a:pt x="3024035" y="2668105"/>
                </a:lnTo>
                <a:lnTo>
                  <a:pt x="3051467" y="2668105"/>
                </a:lnTo>
                <a:close/>
                <a:moveTo>
                  <a:pt x="3256864" y="2255596"/>
                </a:moveTo>
                <a:lnTo>
                  <a:pt x="3256864" y="2228507"/>
                </a:lnTo>
                <a:lnTo>
                  <a:pt x="3283954" y="2228507"/>
                </a:lnTo>
                <a:lnTo>
                  <a:pt x="3283954" y="2201761"/>
                </a:lnTo>
                <a:lnTo>
                  <a:pt x="3256864" y="2201761"/>
                </a:lnTo>
                <a:lnTo>
                  <a:pt x="3256864" y="2174672"/>
                </a:lnTo>
                <a:lnTo>
                  <a:pt x="3230118" y="2174672"/>
                </a:lnTo>
                <a:lnTo>
                  <a:pt x="3230118" y="2201761"/>
                </a:lnTo>
                <a:lnTo>
                  <a:pt x="3203029" y="2201761"/>
                </a:lnTo>
                <a:lnTo>
                  <a:pt x="3203029" y="2228507"/>
                </a:lnTo>
                <a:lnTo>
                  <a:pt x="3230118" y="2228507"/>
                </a:lnTo>
                <a:lnTo>
                  <a:pt x="3230118" y="2255596"/>
                </a:lnTo>
                <a:lnTo>
                  <a:pt x="3256864" y="2255596"/>
                </a:lnTo>
                <a:close/>
                <a:moveTo>
                  <a:pt x="3120047" y="2530945"/>
                </a:moveTo>
                <a:lnTo>
                  <a:pt x="3120047" y="2503170"/>
                </a:lnTo>
                <a:lnTo>
                  <a:pt x="3147822" y="2503170"/>
                </a:lnTo>
                <a:lnTo>
                  <a:pt x="3147822" y="2475738"/>
                </a:lnTo>
                <a:lnTo>
                  <a:pt x="3120047" y="2475738"/>
                </a:lnTo>
                <a:lnTo>
                  <a:pt x="3120047" y="2447963"/>
                </a:lnTo>
                <a:lnTo>
                  <a:pt x="3092615" y="2447963"/>
                </a:lnTo>
                <a:lnTo>
                  <a:pt x="3092615" y="2475738"/>
                </a:lnTo>
                <a:lnTo>
                  <a:pt x="3064840" y="2475738"/>
                </a:lnTo>
                <a:lnTo>
                  <a:pt x="3064840" y="2503170"/>
                </a:lnTo>
                <a:lnTo>
                  <a:pt x="3092615" y="2503170"/>
                </a:lnTo>
                <a:lnTo>
                  <a:pt x="3092615" y="2530945"/>
                </a:lnTo>
                <a:lnTo>
                  <a:pt x="3120047" y="2530945"/>
                </a:lnTo>
                <a:close/>
                <a:moveTo>
                  <a:pt x="3188627" y="2393442"/>
                </a:moveTo>
                <a:lnTo>
                  <a:pt x="3188627" y="2366010"/>
                </a:lnTo>
                <a:lnTo>
                  <a:pt x="3216059" y="2366010"/>
                </a:lnTo>
                <a:lnTo>
                  <a:pt x="3216059" y="2338578"/>
                </a:lnTo>
                <a:lnTo>
                  <a:pt x="3188627" y="2338578"/>
                </a:lnTo>
                <a:lnTo>
                  <a:pt x="3188627" y="2311146"/>
                </a:lnTo>
                <a:lnTo>
                  <a:pt x="3161195" y="2311146"/>
                </a:lnTo>
                <a:lnTo>
                  <a:pt x="3161195" y="2338578"/>
                </a:lnTo>
                <a:lnTo>
                  <a:pt x="3133763" y="2338578"/>
                </a:lnTo>
                <a:lnTo>
                  <a:pt x="3133763" y="2366010"/>
                </a:lnTo>
                <a:lnTo>
                  <a:pt x="3161195" y="2366010"/>
                </a:lnTo>
                <a:lnTo>
                  <a:pt x="3161195" y="2393442"/>
                </a:lnTo>
                <a:lnTo>
                  <a:pt x="3188627" y="2393442"/>
                </a:lnTo>
                <a:close/>
                <a:moveTo>
                  <a:pt x="1581455" y="1069505"/>
                </a:moveTo>
                <a:lnTo>
                  <a:pt x="1581455" y="1101738"/>
                </a:lnTo>
                <a:lnTo>
                  <a:pt x="1549222" y="1101738"/>
                </a:lnTo>
                <a:lnTo>
                  <a:pt x="1549222" y="1133970"/>
                </a:lnTo>
                <a:lnTo>
                  <a:pt x="1581455" y="1133970"/>
                </a:lnTo>
                <a:lnTo>
                  <a:pt x="1581455" y="1166203"/>
                </a:lnTo>
                <a:lnTo>
                  <a:pt x="1613687" y="1166203"/>
                </a:lnTo>
                <a:lnTo>
                  <a:pt x="1613687" y="1133970"/>
                </a:lnTo>
                <a:lnTo>
                  <a:pt x="1645920" y="1133970"/>
                </a:lnTo>
                <a:lnTo>
                  <a:pt x="1645920" y="1101738"/>
                </a:lnTo>
                <a:lnTo>
                  <a:pt x="1613687" y="1101738"/>
                </a:lnTo>
                <a:lnTo>
                  <a:pt x="1613687" y="1069505"/>
                </a:lnTo>
                <a:lnTo>
                  <a:pt x="1581455" y="1069505"/>
                </a:lnTo>
                <a:close/>
                <a:moveTo>
                  <a:pt x="991324" y="3141993"/>
                </a:moveTo>
                <a:lnTo>
                  <a:pt x="969378" y="3141993"/>
                </a:lnTo>
                <a:lnTo>
                  <a:pt x="969378" y="3164281"/>
                </a:lnTo>
                <a:lnTo>
                  <a:pt x="947090" y="3164281"/>
                </a:lnTo>
                <a:lnTo>
                  <a:pt x="947090" y="3186227"/>
                </a:lnTo>
                <a:lnTo>
                  <a:pt x="969378" y="3186227"/>
                </a:lnTo>
                <a:lnTo>
                  <a:pt x="969378" y="3208515"/>
                </a:lnTo>
                <a:lnTo>
                  <a:pt x="991324" y="3208515"/>
                </a:lnTo>
                <a:lnTo>
                  <a:pt x="991324" y="3186227"/>
                </a:lnTo>
                <a:lnTo>
                  <a:pt x="1013612" y="3186227"/>
                </a:lnTo>
                <a:lnTo>
                  <a:pt x="1013612" y="3164281"/>
                </a:lnTo>
                <a:lnTo>
                  <a:pt x="991324" y="3164281"/>
                </a:lnTo>
                <a:lnTo>
                  <a:pt x="991324" y="3141993"/>
                </a:lnTo>
                <a:close/>
                <a:moveTo>
                  <a:pt x="1056475" y="3564446"/>
                </a:moveTo>
                <a:lnTo>
                  <a:pt x="1041387" y="3564446"/>
                </a:lnTo>
                <a:lnTo>
                  <a:pt x="1041387" y="3579190"/>
                </a:lnTo>
                <a:lnTo>
                  <a:pt x="1026643" y="3579190"/>
                </a:lnTo>
                <a:lnTo>
                  <a:pt x="1026643" y="3594278"/>
                </a:lnTo>
                <a:lnTo>
                  <a:pt x="1041387" y="3594278"/>
                </a:lnTo>
                <a:lnTo>
                  <a:pt x="1041387" y="3609023"/>
                </a:lnTo>
                <a:lnTo>
                  <a:pt x="1056475" y="3609023"/>
                </a:lnTo>
                <a:lnTo>
                  <a:pt x="1056475" y="3594278"/>
                </a:lnTo>
                <a:lnTo>
                  <a:pt x="1071220" y="3594278"/>
                </a:lnTo>
                <a:lnTo>
                  <a:pt x="1071220" y="3579190"/>
                </a:lnTo>
                <a:lnTo>
                  <a:pt x="1056475" y="3579190"/>
                </a:lnTo>
                <a:lnTo>
                  <a:pt x="1056475" y="3564446"/>
                </a:lnTo>
                <a:close/>
                <a:moveTo>
                  <a:pt x="1059218" y="3281553"/>
                </a:moveTo>
                <a:lnTo>
                  <a:pt x="1038644" y="3281553"/>
                </a:lnTo>
                <a:lnTo>
                  <a:pt x="1038644" y="3302127"/>
                </a:lnTo>
                <a:lnTo>
                  <a:pt x="1018070" y="3302127"/>
                </a:lnTo>
                <a:lnTo>
                  <a:pt x="1018070" y="3322701"/>
                </a:lnTo>
                <a:lnTo>
                  <a:pt x="1038644" y="3322701"/>
                </a:lnTo>
                <a:lnTo>
                  <a:pt x="1038644" y="3343275"/>
                </a:lnTo>
                <a:lnTo>
                  <a:pt x="1059218" y="3343275"/>
                </a:lnTo>
                <a:lnTo>
                  <a:pt x="1059218" y="3322701"/>
                </a:lnTo>
                <a:lnTo>
                  <a:pt x="1079792" y="3322701"/>
                </a:lnTo>
                <a:lnTo>
                  <a:pt x="1079792" y="3302127"/>
                </a:lnTo>
                <a:lnTo>
                  <a:pt x="1059218" y="3302127"/>
                </a:lnTo>
                <a:lnTo>
                  <a:pt x="1059218" y="3281553"/>
                </a:lnTo>
                <a:close/>
                <a:moveTo>
                  <a:pt x="988924" y="3424199"/>
                </a:moveTo>
                <a:lnTo>
                  <a:pt x="971779" y="3424199"/>
                </a:lnTo>
                <a:lnTo>
                  <a:pt x="971779" y="3441002"/>
                </a:lnTo>
                <a:lnTo>
                  <a:pt x="954976" y="3441002"/>
                </a:lnTo>
                <a:lnTo>
                  <a:pt x="954976" y="3458147"/>
                </a:lnTo>
                <a:lnTo>
                  <a:pt x="971779" y="3458147"/>
                </a:lnTo>
                <a:lnTo>
                  <a:pt x="971779" y="3474949"/>
                </a:lnTo>
                <a:lnTo>
                  <a:pt x="988924" y="3474949"/>
                </a:lnTo>
                <a:lnTo>
                  <a:pt x="988924" y="3458147"/>
                </a:lnTo>
                <a:lnTo>
                  <a:pt x="1005726" y="3458147"/>
                </a:lnTo>
                <a:lnTo>
                  <a:pt x="1005726" y="3441002"/>
                </a:lnTo>
                <a:lnTo>
                  <a:pt x="988924" y="3441002"/>
                </a:lnTo>
                <a:lnTo>
                  <a:pt x="988924" y="3424199"/>
                </a:lnTo>
                <a:close/>
                <a:moveTo>
                  <a:pt x="923430" y="3003118"/>
                </a:moveTo>
                <a:lnTo>
                  <a:pt x="900112" y="3003118"/>
                </a:lnTo>
                <a:lnTo>
                  <a:pt x="900112" y="3026435"/>
                </a:lnTo>
                <a:lnTo>
                  <a:pt x="876795" y="3026435"/>
                </a:lnTo>
                <a:lnTo>
                  <a:pt x="876795" y="3049753"/>
                </a:lnTo>
                <a:lnTo>
                  <a:pt x="900112" y="3049753"/>
                </a:lnTo>
                <a:lnTo>
                  <a:pt x="900112" y="3073070"/>
                </a:lnTo>
                <a:lnTo>
                  <a:pt x="923430" y="3073070"/>
                </a:lnTo>
                <a:lnTo>
                  <a:pt x="923430" y="3049753"/>
                </a:lnTo>
                <a:lnTo>
                  <a:pt x="946747" y="3049753"/>
                </a:lnTo>
                <a:lnTo>
                  <a:pt x="946747" y="3026435"/>
                </a:lnTo>
                <a:lnTo>
                  <a:pt x="923430" y="3026435"/>
                </a:lnTo>
                <a:lnTo>
                  <a:pt x="923430" y="3003118"/>
                </a:lnTo>
                <a:close/>
                <a:moveTo>
                  <a:pt x="1105510" y="3210916"/>
                </a:moveTo>
                <a:lnTo>
                  <a:pt x="1129513" y="3210916"/>
                </a:lnTo>
                <a:lnTo>
                  <a:pt x="1129513" y="3187256"/>
                </a:lnTo>
                <a:lnTo>
                  <a:pt x="1153173" y="3187256"/>
                </a:lnTo>
                <a:lnTo>
                  <a:pt x="1153173" y="3163253"/>
                </a:lnTo>
                <a:lnTo>
                  <a:pt x="1129513" y="3163253"/>
                </a:lnTo>
                <a:lnTo>
                  <a:pt x="1129513" y="3139592"/>
                </a:lnTo>
                <a:lnTo>
                  <a:pt x="1105510" y="3139592"/>
                </a:lnTo>
                <a:lnTo>
                  <a:pt x="1105510" y="3163253"/>
                </a:lnTo>
                <a:lnTo>
                  <a:pt x="1081849" y="3163253"/>
                </a:lnTo>
                <a:lnTo>
                  <a:pt x="1081849" y="3187256"/>
                </a:lnTo>
                <a:lnTo>
                  <a:pt x="1105510" y="3187256"/>
                </a:lnTo>
                <a:lnTo>
                  <a:pt x="1105510" y="3210916"/>
                </a:lnTo>
                <a:close/>
                <a:moveTo>
                  <a:pt x="1197064" y="3279153"/>
                </a:moveTo>
                <a:lnTo>
                  <a:pt x="1175118" y="3279153"/>
                </a:lnTo>
                <a:lnTo>
                  <a:pt x="1175118" y="3301441"/>
                </a:lnTo>
                <a:lnTo>
                  <a:pt x="1152830" y="3301441"/>
                </a:lnTo>
                <a:lnTo>
                  <a:pt x="1152830" y="3323387"/>
                </a:lnTo>
                <a:lnTo>
                  <a:pt x="1175118" y="3323387"/>
                </a:lnTo>
                <a:lnTo>
                  <a:pt x="1175118" y="3345675"/>
                </a:lnTo>
                <a:lnTo>
                  <a:pt x="1197064" y="3345675"/>
                </a:lnTo>
                <a:lnTo>
                  <a:pt x="1197064" y="3323387"/>
                </a:lnTo>
                <a:lnTo>
                  <a:pt x="1219352" y="3323387"/>
                </a:lnTo>
                <a:lnTo>
                  <a:pt x="1219352" y="3301441"/>
                </a:lnTo>
                <a:lnTo>
                  <a:pt x="1197064" y="3301441"/>
                </a:lnTo>
                <a:lnTo>
                  <a:pt x="1197064" y="3279153"/>
                </a:lnTo>
                <a:close/>
                <a:moveTo>
                  <a:pt x="1194321" y="3562045"/>
                </a:moveTo>
                <a:lnTo>
                  <a:pt x="1177861" y="3562045"/>
                </a:lnTo>
                <a:lnTo>
                  <a:pt x="1177861" y="3578504"/>
                </a:lnTo>
                <a:lnTo>
                  <a:pt x="1161402" y="3578504"/>
                </a:lnTo>
                <a:lnTo>
                  <a:pt x="1161402" y="3594964"/>
                </a:lnTo>
                <a:lnTo>
                  <a:pt x="1177861" y="3594964"/>
                </a:lnTo>
                <a:lnTo>
                  <a:pt x="1177861" y="3611423"/>
                </a:lnTo>
                <a:lnTo>
                  <a:pt x="1194321" y="3611423"/>
                </a:lnTo>
                <a:lnTo>
                  <a:pt x="1194321" y="3594964"/>
                </a:lnTo>
                <a:lnTo>
                  <a:pt x="1210780" y="3594964"/>
                </a:lnTo>
                <a:lnTo>
                  <a:pt x="1210780" y="3578504"/>
                </a:lnTo>
                <a:lnTo>
                  <a:pt x="1194321" y="3578504"/>
                </a:lnTo>
                <a:lnTo>
                  <a:pt x="1194321" y="3562045"/>
                </a:lnTo>
                <a:close/>
                <a:moveTo>
                  <a:pt x="921029" y="3284296"/>
                </a:moveTo>
                <a:lnTo>
                  <a:pt x="902513" y="3284296"/>
                </a:lnTo>
                <a:lnTo>
                  <a:pt x="902513" y="3303156"/>
                </a:lnTo>
                <a:lnTo>
                  <a:pt x="883653" y="3303156"/>
                </a:lnTo>
                <a:lnTo>
                  <a:pt x="883653" y="3321672"/>
                </a:lnTo>
                <a:lnTo>
                  <a:pt x="902513" y="3321672"/>
                </a:lnTo>
                <a:lnTo>
                  <a:pt x="902513" y="3340532"/>
                </a:lnTo>
                <a:lnTo>
                  <a:pt x="921029" y="3340532"/>
                </a:lnTo>
                <a:lnTo>
                  <a:pt x="921029" y="3321672"/>
                </a:lnTo>
                <a:lnTo>
                  <a:pt x="939889" y="3321672"/>
                </a:lnTo>
                <a:lnTo>
                  <a:pt x="939889" y="3303156"/>
                </a:lnTo>
                <a:lnTo>
                  <a:pt x="921029" y="3303156"/>
                </a:lnTo>
                <a:lnTo>
                  <a:pt x="921029" y="3284296"/>
                </a:lnTo>
                <a:close/>
                <a:moveTo>
                  <a:pt x="1123683" y="3705035"/>
                </a:moveTo>
                <a:lnTo>
                  <a:pt x="1111339" y="3705035"/>
                </a:lnTo>
                <a:lnTo>
                  <a:pt x="1111339" y="3717722"/>
                </a:lnTo>
                <a:lnTo>
                  <a:pt x="1098652" y="3717722"/>
                </a:lnTo>
                <a:lnTo>
                  <a:pt x="1098652" y="3730066"/>
                </a:lnTo>
                <a:lnTo>
                  <a:pt x="1111339" y="3730066"/>
                </a:lnTo>
                <a:lnTo>
                  <a:pt x="1111339" y="3742754"/>
                </a:lnTo>
                <a:lnTo>
                  <a:pt x="1123683" y="3742754"/>
                </a:lnTo>
                <a:lnTo>
                  <a:pt x="1123683" y="3730066"/>
                </a:lnTo>
                <a:lnTo>
                  <a:pt x="1136371" y="3730066"/>
                </a:lnTo>
                <a:lnTo>
                  <a:pt x="1136371" y="3717722"/>
                </a:lnTo>
                <a:lnTo>
                  <a:pt x="1123683" y="3717722"/>
                </a:lnTo>
                <a:lnTo>
                  <a:pt x="1123683" y="3705035"/>
                </a:lnTo>
                <a:close/>
                <a:moveTo>
                  <a:pt x="1126769" y="3421799"/>
                </a:moveTo>
                <a:lnTo>
                  <a:pt x="1108253" y="3421799"/>
                </a:lnTo>
                <a:lnTo>
                  <a:pt x="1108253" y="3440316"/>
                </a:lnTo>
                <a:lnTo>
                  <a:pt x="1089736" y="3440316"/>
                </a:lnTo>
                <a:lnTo>
                  <a:pt x="1089736" y="3458832"/>
                </a:lnTo>
                <a:lnTo>
                  <a:pt x="1108253" y="3458832"/>
                </a:lnTo>
                <a:lnTo>
                  <a:pt x="1108253" y="3477349"/>
                </a:lnTo>
                <a:lnTo>
                  <a:pt x="1126769" y="3477349"/>
                </a:lnTo>
                <a:lnTo>
                  <a:pt x="1126769" y="3458832"/>
                </a:lnTo>
                <a:lnTo>
                  <a:pt x="1145286" y="3458832"/>
                </a:lnTo>
                <a:lnTo>
                  <a:pt x="1145286" y="3440316"/>
                </a:lnTo>
                <a:lnTo>
                  <a:pt x="1126769" y="3440316"/>
                </a:lnTo>
                <a:lnTo>
                  <a:pt x="1126769" y="3421799"/>
                </a:lnTo>
                <a:close/>
                <a:moveTo>
                  <a:pt x="717004" y="2867673"/>
                </a:moveTo>
                <a:lnTo>
                  <a:pt x="695058" y="2867673"/>
                </a:lnTo>
                <a:lnTo>
                  <a:pt x="695058" y="2889961"/>
                </a:lnTo>
                <a:lnTo>
                  <a:pt x="672770" y="2889961"/>
                </a:lnTo>
                <a:lnTo>
                  <a:pt x="672770" y="2911907"/>
                </a:lnTo>
                <a:lnTo>
                  <a:pt x="695058" y="2911907"/>
                </a:lnTo>
                <a:lnTo>
                  <a:pt x="695058" y="2934195"/>
                </a:lnTo>
                <a:lnTo>
                  <a:pt x="717004" y="2934195"/>
                </a:lnTo>
                <a:lnTo>
                  <a:pt x="717004" y="2911907"/>
                </a:lnTo>
                <a:lnTo>
                  <a:pt x="739292" y="2911907"/>
                </a:lnTo>
                <a:lnTo>
                  <a:pt x="739292" y="2889961"/>
                </a:lnTo>
                <a:lnTo>
                  <a:pt x="717004" y="2889961"/>
                </a:lnTo>
                <a:lnTo>
                  <a:pt x="717004" y="2867673"/>
                </a:lnTo>
                <a:close/>
                <a:moveTo>
                  <a:pt x="714946" y="3148508"/>
                </a:moveTo>
                <a:lnTo>
                  <a:pt x="697116" y="3148508"/>
                </a:lnTo>
                <a:lnTo>
                  <a:pt x="697116" y="3166339"/>
                </a:lnTo>
                <a:lnTo>
                  <a:pt x="679285" y="3166339"/>
                </a:lnTo>
                <a:lnTo>
                  <a:pt x="679285" y="3184169"/>
                </a:lnTo>
                <a:lnTo>
                  <a:pt x="697116" y="3184169"/>
                </a:lnTo>
                <a:lnTo>
                  <a:pt x="697116" y="3202000"/>
                </a:lnTo>
                <a:lnTo>
                  <a:pt x="714946" y="3202000"/>
                </a:lnTo>
                <a:lnTo>
                  <a:pt x="714946" y="3184169"/>
                </a:lnTo>
                <a:lnTo>
                  <a:pt x="732777" y="3184169"/>
                </a:lnTo>
                <a:lnTo>
                  <a:pt x="732777" y="3166339"/>
                </a:lnTo>
                <a:lnTo>
                  <a:pt x="714946" y="3166339"/>
                </a:lnTo>
                <a:lnTo>
                  <a:pt x="714946" y="3148508"/>
                </a:lnTo>
                <a:close/>
                <a:moveTo>
                  <a:pt x="782841" y="3287382"/>
                </a:moveTo>
                <a:lnTo>
                  <a:pt x="766381" y="3287382"/>
                </a:lnTo>
                <a:lnTo>
                  <a:pt x="766381" y="3304184"/>
                </a:lnTo>
                <a:lnTo>
                  <a:pt x="749579" y="3304184"/>
                </a:lnTo>
                <a:lnTo>
                  <a:pt x="749579" y="3320644"/>
                </a:lnTo>
                <a:lnTo>
                  <a:pt x="766381" y="3320644"/>
                </a:lnTo>
                <a:lnTo>
                  <a:pt x="766381" y="3337446"/>
                </a:lnTo>
                <a:lnTo>
                  <a:pt x="782841" y="3337446"/>
                </a:lnTo>
                <a:lnTo>
                  <a:pt x="782841" y="3320644"/>
                </a:lnTo>
                <a:lnTo>
                  <a:pt x="799643" y="3320644"/>
                </a:lnTo>
                <a:lnTo>
                  <a:pt x="799643" y="3304184"/>
                </a:lnTo>
                <a:lnTo>
                  <a:pt x="782841" y="3304184"/>
                </a:lnTo>
                <a:lnTo>
                  <a:pt x="782841" y="3287382"/>
                </a:lnTo>
                <a:close/>
                <a:moveTo>
                  <a:pt x="648767" y="2729827"/>
                </a:moveTo>
                <a:lnTo>
                  <a:pt x="626135" y="2729827"/>
                </a:lnTo>
                <a:lnTo>
                  <a:pt x="626135" y="2752458"/>
                </a:lnTo>
                <a:lnTo>
                  <a:pt x="603504" y="2752458"/>
                </a:lnTo>
                <a:lnTo>
                  <a:pt x="603504" y="2775090"/>
                </a:lnTo>
                <a:lnTo>
                  <a:pt x="626135" y="2775090"/>
                </a:lnTo>
                <a:lnTo>
                  <a:pt x="626135" y="2797721"/>
                </a:lnTo>
                <a:lnTo>
                  <a:pt x="648767" y="2797721"/>
                </a:lnTo>
                <a:lnTo>
                  <a:pt x="648767" y="2775090"/>
                </a:lnTo>
                <a:lnTo>
                  <a:pt x="671398" y="2775090"/>
                </a:lnTo>
                <a:lnTo>
                  <a:pt x="671398" y="2752458"/>
                </a:lnTo>
                <a:lnTo>
                  <a:pt x="648767" y="2752458"/>
                </a:lnTo>
                <a:lnTo>
                  <a:pt x="648767" y="2729827"/>
                </a:lnTo>
                <a:close/>
                <a:moveTo>
                  <a:pt x="785241" y="3006204"/>
                </a:moveTo>
                <a:lnTo>
                  <a:pt x="763981" y="3006204"/>
                </a:lnTo>
                <a:lnTo>
                  <a:pt x="763981" y="3027464"/>
                </a:lnTo>
                <a:lnTo>
                  <a:pt x="742721" y="3027464"/>
                </a:lnTo>
                <a:lnTo>
                  <a:pt x="742721" y="3048724"/>
                </a:lnTo>
                <a:lnTo>
                  <a:pt x="763981" y="3048724"/>
                </a:lnTo>
                <a:lnTo>
                  <a:pt x="763981" y="3069984"/>
                </a:lnTo>
                <a:lnTo>
                  <a:pt x="785241" y="3069984"/>
                </a:lnTo>
                <a:lnTo>
                  <a:pt x="785241" y="3048724"/>
                </a:lnTo>
                <a:lnTo>
                  <a:pt x="806501" y="3048724"/>
                </a:lnTo>
                <a:lnTo>
                  <a:pt x="806501" y="3027464"/>
                </a:lnTo>
                <a:lnTo>
                  <a:pt x="785241" y="3027464"/>
                </a:lnTo>
                <a:lnTo>
                  <a:pt x="785241" y="3006204"/>
                </a:lnTo>
                <a:close/>
                <a:moveTo>
                  <a:pt x="850735" y="3427286"/>
                </a:moveTo>
                <a:lnTo>
                  <a:pt x="835647" y="3427286"/>
                </a:lnTo>
                <a:lnTo>
                  <a:pt x="835647" y="3442030"/>
                </a:lnTo>
                <a:lnTo>
                  <a:pt x="820903" y="3442030"/>
                </a:lnTo>
                <a:lnTo>
                  <a:pt x="820903" y="3457118"/>
                </a:lnTo>
                <a:lnTo>
                  <a:pt x="835647" y="3457118"/>
                </a:lnTo>
                <a:lnTo>
                  <a:pt x="835647" y="3471863"/>
                </a:lnTo>
                <a:lnTo>
                  <a:pt x="850735" y="3471863"/>
                </a:lnTo>
                <a:lnTo>
                  <a:pt x="850735" y="3457118"/>
                </a:lnTo>
                <a:lnTo>
                  <a:pt x="865480" y="3457118"/>
                </a:lnTo>
                <a:lnTo>
                  <a:pt x="865480" y="3442030"/>
                </a:lnTo>
                <a:lnTo>
                  <a:pt x="850735" y="3442030"/>
                </a:lnTo>
                <a:lnTo>
                  <a:pt x="850735" y="3427286"/>
                </a:lnTo>
                <a:close/>
                <a:moveTo>
                  <a:pt x="918286" y="3567189"/>
                </a:moveTo>
                <a:lnTo>
                  <a:pt x="905256" y="3567189"/>
                </a:lnTo>
                <a:lnTo>
                  <a:pt x="905256" y="3580219"/>
                </a:lnTo>
                <a:lnTo>
                  <a:pt x="892226" y="3580219"/>
                </a:lnTo>
                <a:lnTo>
                  <a:pt x="892226" y="3593249"/>
                </a:lnTo>
                <a:lnTo>
                  <a:pt x="905256" y="3593249"/>
                </a:lnTo>
                <a:lnTo>
                  <a:pt x="905256" y="3606279"/>
                </a:lnTo>
                <a:lnTo>
                  <a:pt x="918286" y="3606279"/>
                </a:lnTo>
                <a:lnTo>
                  <a:pt x="918286" y="3593249"/>
                </a:lnTo>
                <a:lnTo>
                  <a:pt x="931316" y="3593249"/>
                </a:lnTo>
                <a:lnTo>
                  <a:pt x="931316" y="3580219"/>
                </a:lnTo>
                <a:lnTo>
                  <a:pt x="918286" y="3580219"/>
                </a:lnTo>
                <a:lnTo>
                  <a:pt x="918286" y="3567189"/>
                </a:lnTo>
                <a:close/>
                <a:moveTo>
                  <a:pt x="1882178" y="3556216"/>
                </a:moveTo>
                <a:lnTo>
                  <a:pt x="1861604" y="3556216"/>
                </a:lnTo>
                <a:lnTo>
                  <a:pt x="1861604" y="3576447"/>
                </a:lnTo>
                <a:lnTo>
                  <a:pt x="1841373" y="3576447"/>
                </a:lnTo>
                <a:lnTo>
                  <a:pt x="1841373" y="3597021"/>
                </a:lnTo>
                <a:lnTo>
                  <a:pt x="1861604" y="3597021"/>
                </a:lnTo>
                <a:lnTo>
                  <a:pt x="1861604" y="3617252"/>
                </a:lnTo>
                <a:lnTo>
                  <a:pt x="1882178" y="3617252"/>
                </a:lnTo>
                <a:lnTo>
                  <a:pt x="1882178" y="3597021"/>
                </a:lnTo>
                <a:lnTo>
                  <a:pt x="1902409" y="3597021"/>
                </a:lnTo>
                <a:lnTo>
                  <a:pt x="1902409" y="3576447"/>
                </a:lnTo>
                <a:lnTo>
                  <a:pt x="1882178" y="3576447"/>
                </a:lnTo>
                <a:lnTo>
                  <a:pt x="1882178" y="3556216"/>
                </a:lnTo>
                <a:close/>
                <a:moveTo>
                  <a:pt x="830847" y="2937624"/>
                </a:moveTo>
                <a:lnTo>
                  <a:pt x="855535" y="2937624"/>
                </a:lnTo>
                <a:lnTo>
                  <a:pt x="855535" y="2913278"/>
                </a:lnTo>
                <a:lnTo>
                  <a:pt x="879881" y="2913278"/>
                </a:lnTo>
                <a:lnTo>
                  <a:pt x="879881" y="2888590"/>
                </a:lnTo>
                <a:lnTo>
                  <a:pt x="855535" y="2888590"/>
                </a:lnTo>
                <a:lnTo>
                  <a:pt x="855535" y="2864244"/>
                </a:lnTo>
                <a:lnTo>
                  <a:pt x="830847" y="2864244"/>
                </a:lnTo>
                <a:lnTo>
                  <a:pt x="830847" y="2888590"/>
                </a:lnTo>
                <a:lnTo>
                  <a:pt x="806501" y="2888590"/>
                </a:lnTo>
                <a:lnTo>
                  <a:pt x="806501" y="2913278"/>
                </a:lnTo>
                <a:lnTo>
                  <a:pt x="830847" y="2913278"/>
                </a:lnTo>
                <a:lnTo>
                  <a:pt x="830847" y="2937624"/>
                </a:lnTo>
                <a:close/>
                <a:moveTo>
                  <a:pt x="712546" y="3430029"/>
                </a:moveTo>
                <a:lnTo>
                  <a:pt x="699516" y="3430029"/>
                </a:lnTo>
                <a:lnTo>
                  <a:pt x="699516" y="3443059"/>
                </a:lnTo>
                <a:lnTo>
                  <a:pt x="686486" y="3443059"/>
                </a:lnTo>
                <a:lnTo>
                  <a:pt x="686486" y="3456089"/>
                </a:lnTo>
                <a:lnTo>
                  <a:pt x="699516" y="3456089"/>
                </a:lnTo>
                <a:lnTo>
                  <a:pt x="699516" y="3469119"/>
                </a:lnTo>
                <a:lnTo>
                  <a:pt x="712546" y="3469119"/>
                </a:lnTo>
                <a:lnTo>
                  <a:pt x="712546" y="3456089"/>
                </a:lnTo>
                <a:lnTo>
                  <a:pt x="725576" y="3456089"/>
                </a:lnTo>
                <a:lnTo>
                  <a:pt x="725576" y="3443059"/>
                </a:lnTo>
                <a:lnTo>
                  <a:pt x="712546" y="3443059"/>
                </a:lnTo>
                <a:lnTo>
                  <a:pt x="712546" y="3430029"/>
                </a:lnTo>
                <a:close/>
                <a:moveTo>
                  <a:pt x="1741246" y="3841166"/>
                </a:moveTo>
                <a:lnTo>
                  <a:pt x="1728216" y="3841166"/>
                </a:lnTo>
                <a:lnTo>
                  <a:pt x="1728216" y="3854539"/>
                </a:lnTo>
                <a:lnTo>
                  <a:pt x="1714843" y="3854539"/>
                </a:lnTo>
                <a:lnTo>
                  <a:pt x="1714843" y="3867569"/>
                </a:lnTo>
                <a:lnTo>
                  <a:pt x="1728216" y="3867569"/>
                </a:lnTo>
                <a:lnTo>
                  <a:pt x="1728216" y="3880942"/>
                </a:lnTo>
                <a:lnTo>
                  <a:pt x="1741246" y="3880942"/>
                </a:lnTo>
                <a:lnTo>
                  <a:pt x="1741246" y="3867569"/>
                </a:lnTo>
                <a:lnTo>
                  <a:pt x="1754619" y="3867569"/>
                </a:lnTo>
                <a:lnTo>
                  <a:pt x="1754619" y="3854539"/>
                </a:lnTo>
                <a:lnTo>
                  <a:pt x="1741246" y="3854539"/>
                </a:lnTo>
                <a:lnTo>
                  <a:pt x="1741246" y="3841166"/>
                </a:lnTo>
                <a:close/>
                <a:moveTo>
                  <a:pt x="1674381" y="3699205"/>
                </a:moveTo>
                <a:lnTo>
                  <a:pt x="1657921" y="3699205"/>
                </a:lnTo>
                <a:lnTo>
                  <a:pt x="1657921" y="3715664"/>
                </a:lnTo>
                <a:lnTo>
                  <a:pt x="1641462" y="3715664"/>
                </a:lnTo>
                <a:lnTo>
                  <a:pt x="1641462" y="3732124"/>
                </a:lnTo>
                <a:lnTo>
                  <a:pt x="1657921" y="3732124"/>
                </a:lnTo>
                <a:lnTo>
                  <a:pt x="1657921" y="3748583"/>
                </a:lnTo>
                <a:lnTo>
                  <a:pt x="1674381" y="3748583"/>
                </a:lnTo>
                <a:lnTo>
                  <a:pt x="1674381" y="3732124"/>
                </a:lnTo>
                <a:lnTo>
                  <a:pt x="1690840" y="3732124"/>
                </a:lnTo>
                <a:lnTo>
                  <a:pt x="1690840" y="3715664"/>
                </a:lnTo>
                <a:lnTo>
                  <a:pt x="1674381" y="3715664"/>
                </a:lnTo>
                <a:lnTo>
                  <a:pt x="1674381" y="3699205"/>
                </a:lnTo>
                <a:close/>
                <a:moveTo>
                  <a:pt x="1677467" y="3415627"/>
                </a:moveTo>
                <a:lnTo>
                  <a:pt x="1654835" y="3415627"/>
                </a:lnTo>
                <a:lnTo>
                  <a:pt x="1654835" y="3438258"/>
                </a:lnTo>
                <a:lnTo>
                  <a:pt x="1632204" y="3438258"/>
                </a:lnTo>
                <a:lnTo>
                  <a:pt x="1632204" y="3460890"/>
                </a:lnTo>
                <a:lnTo>
                  <a:pt x="1654835" y="3460890"/>
                </a:lnTo>
                <a:lnTo>
                  <a:pt x="1654835" y="3483521"/>
                </a:lnTo>
                <a:lnTo>
                  <a:pt x="1677467" y="3483521"/>
                </a:lnTo>
                <a:lnTo>
                  <a:pt x="1677467" y="3460890"/>
                </a:lnTo>
                <a:lnTo>
                  <a:pt x="1700098" y="3460890"/>
                </a:lnTo>
                <a:lnTo>
                  <a:pt x="1700098" y="3438258"/>
                </a:lnTo>
                <a:lnTo>
                  <a:pt x="1677467" y="3438258"/>
                </a:lnTo>
                <a:lnTo>
                  <a:pt x="1677467" y="3415627"/>
                </a:lnTo>
                <a:close/>
                <a:moveTo>
                  <a:pt x="1604086" y="3841852"/>
                </a:moveTo>
                <a:lnTo>
                  <a:pt x="1591056" y="3841852"/>
                </a:lnTo>
                <a:lnTo>
                  <a:pt x="1591056" y="3854539"/>
                </a:lnTo>
                <a:lnTo>
                  <a:pt x="1578369" y="3854539"/>
                </a:lnTo>
                <a:lnTo>
                  <a:pt x="1578369" y="3867569"/>
                </a:lnTo>
                <a:lnTo>
                  <a:pt x="1591056" y="3867569"/>
                </a:lnTo>
                <a:lnTo>
                  <a:pt x="1591056" y="3880256"/>
                </a:lnTo>
                <a:lnTo>
                  <a:pt x="1604086" y="3880256"/>
                </a:lnTo>
                <a:lnTo>
                  <a:pt x="1604086" y="3867569"/>
                </a:lnTo>
                <a:lnTo>
                  <a:pt x="1616773" y="3867569"/>
                </a:lnTo>
                <a:lnTo>
                  <a:pt x="1616773" y="3854539"/>
                </a:lnTo>
                <a:lnTo>
                  <a:pt x="1604086" y="3854539"/>
                </a:lnTo>
                <a:lnTo>
                  <a:pt x="1604086" y="3841852"/>
                </a:lnTo>
                <a:close/>
                <a:moveTo>
                  <a:pt x="1607172" y="3557588"/>
                </a:moveTo>
                <a:lnTo>
                  <a:pt x="1587970" y="3557588"/>
                </a:lnTo>
                <a:lnTo>
                  <a:pt x="1587970" y="3577133"/>
                </a:lnTo>
                <a:lnTo>
                  <a:pt x="1568425" y="3577133"/>
                </a:lnTo>
                <a:lnTo>
                  <a:pt x="1568425" y="3596335"/>
                </a:lnTo>
                <a:lnTo>
                  <a:pt x="1587970" y="3596335"/>
                </a:lnTo>
                <a:lnTo>
                  <a:pt x="1587970" y="3615881"/>
                </a:lnTo>
                <a:lnTo>
                  <a:pt x="1607172" y="3615881"/>
                </a:lnTo>
                <a:lnTo>
                  <a:pt x="1607172" y="3596335"/>
                </a:lnTo>
                <a:lnTo>
                  <a:pt x="1626718" y="3596335"/>
                </a:lnTo>
                <a:lnTo>
                  <a:pt x="1626718" y="3577133"/>
                </a:lnTo>
                <a:lnTo>
                  <a:pt x="1607172" y="3577133"/>
                </a:lnTo>
                <a:lnTo>
                  <a:pt x="1607172" y="3557588"/>
                </a:lnTo>
                <a:close/>
                <a:moveTo>
                  <a:pt x="1539964" y="3416313"/>
                </a:moveTo>
                <a:lnTo>
                  <a:pt x="1518018" y="3416313"/>
                </a:lnTo>
                <a:lnTo>
                  <a:pt x="1518018" y="3438601"/>
                </a:lnTo>
                <a:lnTo>
                  <a:pt x="1495730" y="3438601"/>
                </a:lnTo>
                <a:lnTo>
                  <a:pt x="1495730" y="3460547"/>
                </a:lnTo>
                <a:lnTo>
                  <a:pt x="1518018" y="3460547"/>
                </a:lnTo>
                <a:lnTo>
                  <a:pt x="1518018" y="3482835"/>
                </a:lnTo>
                <a:lnTo>
                  <a:pt x="1539964" y="3482835"/>
                </a:lnTo>
                <a:lnTo>
                  <a:pt x="1539964" y="3460547"/>
                </a:lnTo>
                <a:lnTo>
                  <a:pt x="1562252" y="3460547"/>
                </a:lnTo>
                <a:lnTo>
                  <a:pt x="1562252" y="3438601"/>
                </a:lnTo>
                <a:lnTo>
                  <a:pt x="1539964" y="3438601"/>
                </a:lnTo>
                <a:lnTo>
                  <a:pt x="1539964" y="3416313"/>
                </a:lnTo>
                <a:close/>
                <a:moveTo>
                  <a:pt x="1878749" y="3840480"/>
                </a:moveTo>
                <a:lnTo>
                  <a:pt x="1865033" y="3840480"/>
                </a:lnTo>
                <a:lnTo>
                  <a:pt x="1865033" y="3854196"/>
                </a:lnTo>
                <a:lnTo>
                  <a:pt x="1851317" y="3854196"/>
                </a:lnTo>
                <a:lnTo>
                  <a:pt x="1851317" y="3867912"/>
                </a:lnTo>
                <a:lnTo>
                  <a:pt x="1865033" y="3867912"/>
                </a:lnTo>
                <a:lnTo>
                  <a:pt x="1865033" y="3881628"/>
                </a:lnTo>
                <a:lnTo>
                  <a:pt x="1878749" y="3881628"/>
                </a:lnTo>
                <a:lnTo>
                  <a:pt x="1878749" y="3867912"/>
                </a:lnTo>
                <a:lnTo>
                  <a:pt x="1892465" y="3867912"/>
                </a:lnTo>
                <a:lnTo>
                  <a:pt x="1892465" y="3854196"/>
                </a:lnTo>
                <a:lnTo>
                  <a:pt x="1878749" y="3854196"/>
                </a:lnTo>
                <a:lnTo>
                  <a:pt x="1878749" y="3840480"/>
                </a:lnTo>
                <a:close/>
                <a:moveTo>
                  <a:pt x="1744675" y="3556902"/>
                </a:moveTo>
                <a:lnTo>
                  <a:pt x="1724787" y="3556902"/>
                </a:lnTo>
                <a:lnTo>
                  <a:pt x="1724787" y="3576790"/>
                </a:lnTo>
                <a:lnTo>
                  <a:pt x="1704899" y="3576790"/>
                </a:lnTo>
                <a:lnTo>
                  <a:pt x="1704899" y="3596678"/>
                </a:lnTo>
                <a:lnTo>
                  <a:pt x="1724787" y="3596678"/>
                </a:lnTo>
                <a:lnTo>
                  <a:pt x="1724787" y="3616566"/>
                </a:lnTo>
                <a:lnTo>
                  <a:pt x="1744675" y="3616566"/>
                </a:lnTo>
                <a:lnTo>
                  <a:pt x="1744675" y="3596678"/>
                </a:lnTo>
                <a:lnTo>
                  <a:pt x="1764563" y="3596678"/>
                </a:lnTo>
                <a:lnTo>
                  <a:pt x="1764563" y="3576790"/>
                </a:lnTo>
                <a:lnTo>
                  <a:pt x="1744675" y="3576790"/>
                </a:lnTo>
                <a:lnTo>
                  <a:pt x="1744675" y="3556902"/>
                </a:lnTo>
                <a:close/>
                <a:moveTo>
                  <a:pt x="1814970" y="3414598"/>
                </a:moveTo>
                <a:lnTo>
                  <a:pt x="1791652" y="3414598"/>
                </a:lnTo>
                <a:lnTo>
                  <a:pt x="1791652" y="3437915"/>
                </a:lnTo>
                <a:lnTo>
                  <a:pt x="1768335" y="3437915"/>
                </a:lnTo>
                <a:lnTo>
                  <a:pt x="1768335" y="3461233"/>
                </a:lnTo>
                <a:lnTo>
                  <a:pt x="1791652" y="3461233"/>
                </a:lnTo>
                <a:lnTo>
                  <a:pt x="1791652" y="3484550"/>
                </a:lnTo>
                <a:lnTo>
                  <a:pt x="1814970" y="3484550"/>
                </a:lnTo>
                <a:lnTo>
                  <a:pt x="1814970" y="3461233"/>
                </a:lnTo>
                <a:lnTo>
                  <a:pt x="1838287" y="3461233"/>
                </a:lnTo>
                <a:lnTo>
                  <a:pt x="1838287" y="3437915"/>
                </a:lnTo>
                <a:lnTo>
                  <a:pt x="1814970" y="3437915"/>
                </a:lnTo>
                <a:lnTo>
                  <a:pt x="1814970" y="3414598"/>
                </a:lnTo>
                <a:close/>
                <a:moveTo>
                  <a:pt x="1811884" y="3698519"/>
                </a:moveTo>
                <a:lnTo>
                  <a:pt x="1794739" y="3698519"/>
                </a:lnTo>
                <a:lnTo>
                  <a:pt x="1794739" y="3715322"/>
                </a:lnTo>
                <a:lnTo>
                  <a:pt x="1777936" y="3715322"/>
                </a:lnTo>
                <a:lnTo>
                  <a:pt x="1777936" y="3732467"/>
                </a:lnTo>
                <a:lnTo>
                  <a:pt x="1794739" y="3732467"/>
                </a:lnTo>
                <a:lnTo>
                  <a:pt x="1794739" y="3749269"/>
                </a:lnTo>
                <a:lnTo>
                  <a:pt x="1811884" y="3749269"/>
                </a:lnTo>
                <a:lnTo>
                  <a:pt x="1811884" y="3732467"/>
                </a:lnTo>
                <a:lnTo>
                  <a:pt x="1828686" y="3732467"/>
                </a:lnTo>
                <a:lnTo>
                  <a:pt x="1828686" y="3715322"/>
                </a:lnTo>
                <a:lnTo>
                  <a:pt x="1811884" y="3715322"/>
                </a:lnTo>
                <a:lnTo>
                  <a:pt x="1811884" y="3698519"/>
                </a:lnTo>
                <a:close/>
                <a:moveTo>
                  <a:pt x="1402461" y="3417684"/>
                </a:moveTo>
                <a:lnTo>
                  <a:pt x="1381201" y="3417684"/>
                </a:lnTo>
                <a:lnTo>
                  <a:pt x="1381201" y="3438944"/>
                </a:lnTo>
                <a:lnTo>
                  <a:pt x="1359941" y="3438944"/>
                </a:lnTo>
                <a:lnTo>
                  <a:pt x="1359941" y="3460204"/>
                </a:lnTo>
                <a:lnTo>
                  <a:pt x="1381201" y="3460204"/>
                </a:lnTo>
                <a:lnTo>
                  <a:pt x="1381201" y="3481464"/>
                </a:lnTo>
                <a:lnTo>
                  <a:pt x="1402461" y="3481464"/>
                </a:lnTo>
                <a:lnTo>
                  <a:pt x="1402461" y="3460204"/>
                </a:lnTo>
                <a:lnTo>
                  <a:pt x="1423721" y="3460204"/>
                </a:lnTo>
                <a:lnTo>
                  <a:pt x="1423721" y="3438944"/>
                </a:lnTo>
                <a:lnTo>
                  <a:pt x="1402461" y="3438944"/>
                </a:lnTo>
                <a:lnTo>
                  <a:pt x="1402461" y="3417684"/>
                </a:lnTo>
                <a:close/>
                <a:moveTo>
                  <a:pt x="1334910" y="3277438"/>
                </a:moveTo>
                <a:lnTo>
                  <a:pt x="1311592" y="3277438"/>
                </a:lnTo>
                <a:lnTo>
                  <a:pt x="1311592" y="3300755"/>
                </a:lnTo>
                <a:lnTo>
                  <a:pt x="1288275" y="3300755"/>
                </a:lnTo>
                <a:lnTo>
                  <a:pt x="1288275" y="3324073"/>
                </a:lnTo>
                <a:lnTo>
                  <a:pt x="1311592" y="3324073"/>
                </a:lnTo>
                <a:lnTo>
                  <a:pt x="1311592" y="3347390"/>
                </a:lnTo>
                <a:lnTo>
                  <a:pt x="1334910" y="3347390"/>
                </a:lnTo>
                <a:lnTo>
                  <a:pt x="1334910" y="3324073"/>
                </a:lnTo>
                <a:lnTo>
                  <a:pt x="1358227" y="3324073"/>
                </a:lnTo>
                <a:lnTo>
                  <a:pt x="1358227" y="3300755"/>
                </a:lnTo>
                <a:lnTo>
                  <a:pt x="1334910" y="3300755"/>
                </a:lnTo>
                <a:lnTo>
                  <a:pt x="1334910" y="3277438"/>
                </a:lnTo>
                <a:close/>
                <a:moveTo>
                  <a:pt x="1399375" y="3701263"/>
                </a:moveTo>
                <a:lnTo>
                  <a:pt x="1384287" y="3701263"/>
                </a:lnTo>
                <a:lnTo>
                  <a:pt x="1384287" y="3716350"/>
                </a:lnTo>
                <a:lnTo>
                  <a:pt x="1369200" y="3716350"/>
                </a:lnTo>
                <a:lnTo>
                  <a:pt x="1369200" y="3731438"/>
                </a:lnTo>
                <a:lnTo>
                  <a:pt x="1384287" y="3731438"/>
                </a:lnTo>
                <a:lnTo>
                  <a:pt x="1384287" y="3746525"/>
                </a:lnTo>
                <a:lnTo>
                  <a:pt x="1399375" y="3746525"/>
                </a:lnTo>
                <a:lnTo>
                  <a:pt x="1399375" y="3731438"/>
                </a:lnTo>
                <a:lnTo>
                  <a:pt x="1414462" y="3731438"/>
                </a:lnTo>
                <a:lnTo>
                  <a:pt x="1414462" y="3716350"/>
                </a:lnTo>
                <a:lnTo>
                  <a:pt x="1399375" y="3716350"/>
                </a:lnTo>
                <a:lnTo>
                  <a:pt x="1399375" y="3701263"/>
                </a:lnTo>
                <a:close/>
                <a:moveTo>
                  <a:pt x="1332166" y="3560331"/>
                </a:moveTo>
                <a:lnTo>
                  <a:pt x="1314336" y="3560331"/>
                </a:lnTo>
                <a:lnTo>
                  <a:pt x="1314336" y="3577819"/>
                </a:lnTo>
                <a:lnTo>
                  <a:pt x="1296848" y="3577819"/>
                </a:lnTo>
                <a:lnTo>
                  <a:pt x="1296848" y="3595649"/>
                </a:lnTo>
                <a:lnTo>
                  <a:pt x="1314336" y="3595649"/>
                </a:lnTo>
                <a:lnTo>
                  <a:pt x="1314336" y="3613137"/>
                </a:lnTo>
                <a:lnTo>
                  <a:pt x="1332166" y="3613137"/>
                </a:lnTo>
                <a:lnTo>
                  <a:pt x="1332166" y="3595649"/>
                </a:lnTo>
                <a:lnTo>
                  <a:pt x="1349654" y="3595649"/>
                </a:lnTo>
                <a:lnTo>
                  <a:pt x="1349654" y="3577819"/>
                </a:lnTo>
                <a:lnTo>
                  <a:pt x="1332166" y="3577819"/>
                </a:lnTo>
                <a:lnTo>
                  <a:pt x="1332166" y="3560331"/>
                </a:lnTo>
                <a:close/>
                <a:moveTo>
                  <a:pt x="1264615" y="3419399"/>
                </a:moveTo>
                <a:lnTo>
                  <a:pt x="1244727" y="3419399"/>
                </a:lnTo>
                <a:lnTo>
                  <a:pt x="1244727" y="3439630"/>
                </a:lnTo>
                <a:lnTo>
                  <a:pt x="1224496" y="3439630"/>
                </a:lnTo>
                <a:lnTo>
                  <a:pt x="1224496" y="3459518"/>
                </a:lnTo>
                <a:lnTo>
                  <a:pt x="1244727" y="3459518"/>
                </a:lnTo>
                <a:lnTo>
                  <a:pt x="1244727" y="3479749"/>
                </a:lnTo>
                <a:lnTo>
                  <a:pt x="1264615" y="3479749"/>
                </a:lnTo>
                <a:lnTo>
                  <a:pt x="1264615" y="3459518"/>
                </a:lnTo>
                <a:lnTo>
                  <a:pt x="1284846" y="3459518"/>
                </a:lnTo>
                <a:lnTo>
                  <a:pt x="1284846" y="3439630"/>
                </a:lnTo>
                <a:lnTo>
                  <a:pt x="1264615" y="3439630"/>
                </a:lnTo>
                <a:lnTo>
                  <a:pt x="1264615" y="3419399"/>
                </a:lnTo>
                <a:close/>
                <a:moveTo>
                  <a:pt x="1536878" y="3699891"/>
                </a:moveTo>
                <a:lnTo>
                  <a:pt x="1521104" y="3699891"/>
                </a:lnTo>
                <a:lnTo>
                  <a:pt x="1521104" y="3716007"/>
                </a:lnTo>
                <a:lnTo>
                  <a:pt x="1504988" y="3716007"/>
                </a:lnTo>
                <a:lnTo>
                  <a:pt x="1504988" y="3731781"/>
                </a:lnTo>
                <a:lnTo>
                  <a:pt x="1521104" y="3731781"/>
                </a:lnTo>
                <a:lnTo>
                  <a:pt x="1521104" y="3747897"/>
                </a:lnTo>
                <a:lnTo>
                  <a:pt x="1536878" y="3747897"/>
                </a:lnTo>
                <a:lnTo>
                  <a:pt x="1536878" y="3731781"/>
                </a:lnTo>
                <a:lnTo>
                  <a:pt x="1552994" y="3731781"/>
                </a:lnTo>
                <a:lnTo>
                  <a:pt x="1552994" y="3716007"/>
                </a:lnTo>
                <a:lnTo>
                  <a:pt x="1536878" y="3716007"/>
                </a:lnTo>
                <a:lnTo>
                  <a:pt x="1536878" y="3699891"/>
                </a:lnTo>
                <a:close/>
                <a:moveTo>
                  <a:pt x="1466583" y="3842880"/>
                </a:moveTo>
                <a:lnTo>
                  <a:pt x="1454239" y="3842880"/>
                </a:lnTo>
                <a:lnTo>
                  <a:pt x="1454239" y="3854882"/>
                </a:lnTo>
                <a:lnTo>
                  <a:pt x="1442237" y="3854882"/>
                </a:lnTo>
                <a:lnTo>
                  <a:pt x="1442237" y="3867226"/>
                </a:lnTo>
                <a:lnTo>
                  <a:pt x="1454239" y="3867226"/>
                </a:lnTo>
                <a:lnTo>
                  <a:pt x="1454239" y="3879228"/>
                </a:lnTo>
                <a:lnTo>
                  <a:pt x="1466583" y="3879228"/>
                </a:lnTo>
                <a:lnTo>
                  <a:pt x="1466583" y="3867226"/>
                </a:lnTo>
                <a:lnTo>
                  <a:pt x="1478585" y="3867226"/>
                </a:lnTo>
                <a:lnTo>
                  <a:pt x="1478585" y="3854882"/>
                </a:lnTo>
                <a:lnTo>
                  <a:pt x="1466583" y="3854882"/>
                </a:lnTo>
                <a:lnTo>
                  <a:pt x="1466583" y="3842880"/>
                </a:lnTo>
                <a:close/>
                <a:moveTo>
                  <a:pt x="1261529" y="3703320"/>
                </a:moveTo>
                <a:lnTo>
                  <a:pt x="1247813" y="3703320"/>
                </a:lnTo>
                <a:lnTo>
                  <a:pt x="1247813" y="3717036"/>
                </a:lnTo>
                <a:lnTo>
                  <a:pt x="1234097" y="3717036"/>
                </a:lnTo>
                <a:lnTo>
                  <a:pt x="1234097" y="3730752"/>
                </a:lnTo>
                <a:lnTo>
                  <a:pt x="1247813" y="3730752"/>
                </a:lnTo>
                <a:lnTo>
                  <a:pt x="1247813" y="3744468"/>
                </a:lnTo>
                <a:lnTo>
                  <a:pt x="1261529" y="3744468"/>
                </a:lnTo>
                <a:lnTo>
                  <a:pt x="1261529" y="3730752"/>
                </a:lnTo>
                <a:lnTo>
                  <a:pt x="1275245" y="3730752"/>
                </a:lnTo>
                <a:lnTo>
                  <a:pt x="1275245" y="3717036"/>
                </a:lnTo>
                <a:lnTo>
                  <a:pt x="1261529" y="3717036"/>
                </a:lnTo>
                <a:lnTo>
                  <a:pt x="1261529" y="3703320"/>
                </a:lnTo>
                <a:close/>
                <a:moveTo>
                  <a:pt x="1469669" y="3558616"/>
                </a:moveTo>
                <a:lnTo>
                  <a:pt x="1451153" y="3558616"/>
                </a:lnTo>
                <a:lnTo>
                  <a:pt x="1451153" y="3577476"/>
                </a:lnTo>
                <a:lnTo>
                  <a:pt x="1432293" y="3577476"/>
                </a:lnTo>
                <a:lnTo>
                  <a:pt x="1432293" y="3595992"/>
                </a:lnTo>
                <a:lnTo>
                  <a:pt x="1451153" y="3595992"/>
                </a:lnTo>
                <a:lnTo>
                  <a:pt x="1451153" y="3614852"/>
                </a:lnTo>
                <a:lnTo>
                  <a:pt x="1469669" y="3614852"/>
                </a:lnTo>
                <a:lnTo>
                  <a:pt x="1469669" y="3595992"/>
                </a:lnTo>
                <a:lnTo>
                  <a:pt x="1488529" y="3595992"/>
                </a:lnTo>
                <a:lnTo>
                  <a:pt x="1488529" y="3577476"/>
                </a:lnTo>
                <a:lnTo>
                  <a:pt x="1469669" y="3577476"/>
                </a:lnTo>
                <a:lnTo>
                  <a:pt x="1469669" y="3558616"/>
                </a:lnTo>
                <a:close/>
                <a:moveTo>
                  <a:pt x="1448067" y="3349104"/>
                </a:moveTo>
                <a:lnTo>
                  <a:pt x="1472755" y="3349104"/>
                </a:lnTo>
                <a:lnTo>
                  <a:pt x="1472755" y="3324758"/>
                </a:lnTo>
                <a:lnTo>
                  <a:pt x="1497101" y="3324758"/>
                </a:lnTo>
                <a:lnTo>
                  <a:pt x="1497101" y="3300070"/>
                </a:lnTo>
                <a:lnTo>
                  <a:pt x="1472755" y="3300070"/>
                </a:lnTo>
                <a:lnTo>
                  <a:pt x="1472755" y="3275724"/>
                </a:lnTo>
                <a:lnTo>
                  <a:pt x="1448067" y="3275724"/>
                </a:lnTo>
                <a:lnTo>
                  <a:pt x="1448067" y="3300070"/>
                </a:lnTo>
                <a:lnTo>
                  <a:pt x="1423721" y="3300070"/>
                </a:lnTo>
                <a:lnTo>
                  <a:pt x="1423721" y="3324758"/>
                </a:lnTo>
                <a:lnTo>
                  <a:pt x="1448067" y="3324758"/>
                </a:lnTo>
                <a:lnTo>
                  <a:pt x="1448067" y="3349104"/>
                </a:lnTo>
                <a:close/>
                <a:moveTo>
                  <a:pt x="853135" y="3145079"/>
                </a:moveTo>
                <a:lnTo>
                  <a:pt x="833247" y="3145079"/>
                </a:lnTo>
                <a:lnTo>
                  <a:pt x="833247" y="3165310"/>
                </a:lnTo>
                <a:lnTo>
                  <a:pt x="813016" y="3165310"/>
                </a:lnTo>
                <a:lnTo>
                  <a:pt x="813016" y="3185198"/>
                </a:lnTo>
                <a:lnTo>
                  <a:pt x="833247" y="3185198"/>
                </a:lnTo>
                <a:lnTo>
                  <a:pt x="833247" y="3205429"/>
                </a:lnTo>
                <a:lnTo>
                  <a:pt x="853135" y="3205429"/>
                </a:lnTo>
                <a:lnTo>
                  <a:pt x="853135" y="3185198"/>
                </a:lnTo>
                <a:lnTo>
                  <a:pt x="873366" y="3185198"/>
                </a:lnTo>
                <a:lnTo>
                  <a:pt x="873366" y="3165310"/>
                </a:lnTo>
                <a:lnTo>
                  <a:pt x="853135" y="3165310"/>
                </a:lnTo>
                <a:lnTo>
                  <a:pt x="853135" y="3145079"/>
                </a:lnTo>
                <a:close/>
                <a:moveTo>
                  <a:pt x="233172" y="2742514"/>
                </a:moveTo>
                <a:lnTo>
                  <a:pt x="218770" y="2742514"/>
                </a:lnTo>
                <a:lnTo>
                  <a:pt x="218770" y="2756573"/>
                </a:lnTo>
                <a:lnTo>
                  <a:pt x="204711" y="2756573"/>
                </a:lnTo>
                <a:lnTo>
                  <a:pt x="204711" y="2770975"/>
                </a:lnTo>
                <a:lnTo>
                  <a:pt x="218770" y="2770975"/>
                </a:lnTo>
                <a:lnTo>
                  <a:pt x="218770" y="2785034"/>
                </a:lnTo>
                <a:lnTo>
                  <a:pt x="233172" y="2785034"/>
                </a:lnTo>
                <a:lnTo>
                  <a:pt x="233172" y="2770975"/>
                </a:lnTo>
                <a:lnTo>
                  <a:pt x="247231" y="2770975"/>
                </a:lnTo>
                <a:lnTo>
                  <a:pt x="247231" y="2756573"/>
                </a:lnTo>
                <a:lnTo>
                  <a:pt x="233172" y="2756573"/>
                </a:lnTo>
                <a:lnTo>
                  <a:pt x="233172" y="2742514"/>
                </a:lnTo>
                <a:close/>
                <a:moveTo>
                  <a:pt x="234201" y="2464422"/>
                </a:moveTo>
                <a:lnTo>
                  <a:pt x="217742" y="2464422"/>
                </a:lnTo>
                <a:lnTo>
                  <a:pt x="217742" y="2481224"/>
                </a:lnTo>
                <a:lnTo>
                  <a:pt x="200939" y="2481224"/>
                </a:lnTo>
                <a:lnTo>
                  <a:pt x="200939" y="2497684"/>
                </a:lnTo>
                <a:lnTo>
                  <a:pt x="217742" y="2497684"/>
                </a:lnTo>
                <a:lnTo>
                  <a:pt x="217742" y="2514486"/>
                </a:lnTo>
                <a:lnTo>
                  <a:pt x="234201" y="2514486"/>
                </a:lnTo>
                <a:lnTo>
                  <a:pt x="234201" y="2497684"/>
                </a:lnTo>
                <a:lnTo>
                  <a:pt x="251003" y="2497684"/>
                </a:lnTo>
                <a:lnTo>
                  <a:pt x="251003" y="2481224"/>
                </a:lnTo>
                <a:lnTo>
                  <a:pt x="234201" y="2481224"/>
                </a:lnTo>
                <a:lnTo>
                  <a:pt x="234201" y="2464422"/>
                </a:lnTo>
                <a:close/>
                <a:moveTo>
                  <a:pt x="165278" y="2328634"/>
                </a:moveTo>
                <a:lnTo>
                  <a:pt x="149504" y="2328634"/>
                </a:lnTo>
                <a:lnTo>
                  <a:pt x="149504" y="2344407"/>
                </a:lnTo>
                <a:lnTo>
                  <a:pt x="133731" y="2344407"/>
                </a:lnTo>
                <a:lnTo>
                  <a:pt x="133731" y="2360181"/>
                </a:lnTo>
                <a:lnTo>
                  <a:pt x="149504" y="2360181"/>
                </a:lnTo>
                <a:lnTo>
                  <a:pt x="149504" y="2375954"/>
                </a:lnTo>
                <a:lnTo>
                  <a:pt x="165278" y="2375954"/>
                </a:lnTo>
                <a:lnTo>
                  <a:pt x="165278" y="2360181"/>
                </a:lnTo>
                <a:lnTo>
                  <a:pt x="181051" y="2360181"/>
                </a:lnTo>
                <a:lnTo>
                  <a:pt x="181051" y="2344407"/>
                </a:lnTo>
                <a:lnTo>
                  <a:pt x="165278" y="2344407"/>
                </a:lnTo>
                <a:lnTo>
                  <a:pt x="165278" y="2328634"/>
                </a:lnTo>
                <a:close/>
                <a:moveTo>
                  <a:pt x="165964" y="2052599"/>
                </a:moveTo>
                <a:lnTo>
                  <a:pt x="148819" y="2052599"/>
                </a:lnTo>
                <a:lnTo>
                  <a:pt x="148819" y="2069402"/>
                </a:lnTo>
                <a:lnTo>
                  <a:pt x="132017" y="2069402"/>
                </a:lnTo>
                <a:lnTo>
                  <a:pt x="132017" y="2086547"/>
                </a:lnTo>
                <a:lnTo>
                  <a:pt x="148819" y="2086547"/>
                </a:lnTo>
                <a:lnTo>
                  <a:pt x="148819" y="2103349"/>
                </a:lnTo>
                <a:lnTo>
                  <a:pt x="165964" y="2103349"/>
                </a:lnTo>
                <a:lnTo>
                  <a:pt x="165964" y="2086547"/>
                </a:lnTo>
                <a:lnTo>
                  <a:pt x="182766" y="2086547"/>
                </a:lnTo>
                <a:lnTo>
                  <a:pt x="182766" y="2069402"/>
                </a:lnTo>
                <a:lnTo>
                  <a:pt x="165964" y="2069402"/>
                </a:lnTo>
                <a:lnTo>
                  <a:pt x="165964" y="2052599"/>
                </a:lnTo>
                <a:close/>
                <a:moveTo>
                  <a:pt x="165964" y="1778279"/>
                </a:moveTo>
                <a:lnTo>
                  <a:pt x="148819" y="1778279"/>
                </a:lnTo>
                <a:lnTo>
                  <a:pt x="148819" y="1795082"/>
                </a:lnTo>
                <a:lnTo>
                  <a:pt x="132017" y="1795082"/>
                </a:lnTo>
                <a:lnTo>
                  <a:pt x="132017" y="1812227"/>
                </a:lnTo>
                <a:lnTo>
                  <a:pt x="148819" y="1812227"/>
                </a:lnTo>
                <a:lnTo>
                  <a:pt x="148819" y="1829029"/>
                </a:lnTo>
                <a:lnTo>
                  <a:pt x="165964" y="1829029"/>
                </a:lnTo>
                <a:lnTo>
                  <a:pt x="165964" y="1812227"/>
                </a:lnTo>
                <a:lnTo>
                  <a:pt x="182766" y="1812227"/>
                </a:lnTo>
                <a:lnTo>
                  <a:pt x="182766" y="1795082"/>
                </a:lnTo>
                <a:lnTo>
                  <a:pt x="165964" y="1795082"/>
                </a:lnTo>
                <a:lnTo>
                  <a:pt x="165964" y="1778279"/>
                </a:lnTo>
                <a:close/>
                <a:moveTo>
                  <a:pt x="304495" y="2047799"/>
                </a:moveTo>
                <a:lnTo>
                  <a:pt x="284607" y="2047799"/>
                </a:lnTo>
                <a:lnTo>
                  <a:pt x="284607" y="2068030"/>
                </a:lnTo>
                <a:lnTo>
                  <a:pt x="264376" y="2068030"/>
                </a:lnTo>
                <a:lnTo>
                  <a:pt x="264376" y="2087918"/>
                </a:lnTo>
                <a:lnTo>
                  <a:pt x="284607" y="2087918"/>
                </a:lnTo>
                <a:lnTo>
                  <a:pt x="284607" y="2108149"/>
                </a:lnTo>
                <a:lnTo>
                  <a:pt x="304495" y="2108149"/>
                </a:lnTo>
                <a:lnTo>
                  <a:pt x="304495" y="2087918"/>
                </a:lnTo>
                <a:lnTo>
                  <a:pt x="324726" y="2087918"/>
                </a:lnTo>
                <a:lnTo>
                  <a:pt x="324726" y="2068030"/>
                </a:lnTo>
                <a:lnTo>
                  <a:pt x="304495" y="2068030"/>
                </a:lnTo>
                <a:lnTo>
                  <a:pt x="304495" y="2047799"/>
                </a:lnTo>
                <a:close/>
                <a:moveTo>
                  <a:pt x="304152" y="2323833"/>
                </a:moveTo>
                <a:lnTo>
                  <a:pt x="284950" y="2323833"/>
                </a:lnTo>
                <a:lnTo>
                  <a:pt x="284950" y="2342693"/>
                </a:lnTo>
                <a:lnTo>
                  <a:pt x="266090" y="2342693"/>
                </a:lnTo>
                <a:lnTo>
                  <a:pt x="266090" y="2361895"/>
                </a:lnTo>
                <a:lnTo>
                  <a:pt x="284950" y="2361895"/>
                </a:lnTo>
                <a:lnTo>
                  <a:pt x="284950" y="2380755"/>
                </a:lnTo>
                <a:lnTo>
                  <a:pt x="304152" y="2380755"/>
                </a:lnTo>
                <a:lnTo>
                  <a:pt x="304152" y="2361895"/>
                </a:lnTo>
                <a:lnTo>
                  <a:pt x="323012" y="2361895"/>
                </a:lnTo>
                <a:lnTo>
                  <a:pt x="323012" y="2342693"/>
                </a:lnTo>
                <a:lnTo>
                  <a:pt x="304152" y="2342693"/>
                </a:lnTo>
                <a:lnTo>
                  <a:pt x="304152" y="2323833"/>
                </a:lnTo>
                <a:close/>
                <a:moveTo>
                  <a:pt x="303124" y="2600897"/>
                </a:moveTo>
                <a:lnTo>
                  <a:pt x="285979" y="2600897"/>
                </a:lnTo>
                <a:lnTo>
                  <a:pt x="285979" y="2618042"/>
                </a:lnTo>
                <a:lnTo>
                  <a:pt x="268834" y="2618042"/>
                </a:lnTo>
                <a:lnTo>
                  <a:pt x="268834" y="2635187"/>
                </a:lnTo>
                <a:lnTo>
                  <a:pt x="285979" y="2635187"/>
                </a:lnTo>
                <a:lnTo>
                  <a:pt x="285979" y="2652332"/>
                </a:lnTo>
                <a:lnTo>
                  <a:pt x="303124" y="2652332"/>
                </a:lnTo>
                <a:lnTo>
                  <a:pt x="303124" y="2635187"/>
                </a:lnTo>
                <a:lnTo>
                  <a:pt x="320269" y="2635187"/>
                </a:lnTo>
                <a:lnTo>
                  <a:pt x="320269" y="2618042"/>
                </a:lnTo>
                <a:lnTo>
                  <a:pt x="303124" y="2618042"/>
                </a:lnTo>
                <a:lnTo>
                  <a:pt x="303124" y="2600897"/>
                </a:lnTo>
                <a:close/>
                <a:moveTo>
                  <a:pt x="235229" y="1912696"/>
                </a:moveTo>
                <a:lnTo>
                  <a:pt x="216713" y="1912696"/>
                </a:lnTo>
                <a:lnTo>
                  <a:pt x="216713" y="1931556"/>
                </a:lnTo>
                <a:lnTo>
                  <a:pt x="197853" y="1931556"/>
                </a:lnTo>
                <a:lnTo>
                  <a:pt x="197853" y="1950072"/>
                </a:lnTo>
                <a:lnTo>
                  <a:pt x="216713" y="1950072"/>
                </a:lnTo>
                <a:lnTo>
                  <a:pt x="216713" y="1968932"/>
                </a:lnTo>
                <a:lnTo>
                  <a:pt x="235229" y="1968932"/>
                </a:lnTo>
                <a:lnTo>
                  <a:pt x="235229" y="1950072"/>
                </a:lnTo>
                <a:lnTo>
                  <a:pt x="254089" y="1950072"/>
                </a:lnTo>
                <a:lnTo>
                  <a:pt x="254089" y="1931556"/>
                </a:lnTo>
                <a:lnTo>
                  <a:pt x="235229" y="1931556"/>
                </a:lnTo>
                <a:lnTo>
                  <a:pt x="235229" y="1912696"/>
                </a:lnTo>
                <a:close/>
                <a:moveTo>
                  <a:pt x="301409" y="2880017"/>
                </a:moveTo>
                <a:lnTo>
                  <a:pt x="287693" y="2880017"/>
                </a:lnTo>
                <a:lnTo>
                  <a:pt x="287693" y="2894076"/>
                </a:lnTo>
                <a:lnTo>
                  <a:pt x="273634" y="2894076"/>
                </a:lnTo>
                <a:lnTo>
                  <a:pt x="273634" y="2907792"/>
                </a:lnTo>
                <a:lnTo>
                  <a:pt x="287693" y="2907792"/>
                </a:lnTo>
                <a:lnTo>
                  <a:pt x="287693" y="2921851"/>
                </a:lnTo>
                <a:lnTo>
                  <a:pt x="301409" y="2921851"/>
                </a:lnTo>
                <a:lnTo>
                  <a:pt x="301409" y="2907792"/>
                </a:lnTo>
                <a:lnTo>
                  <a:pt x="315468" y="2907792"/>
                </a:lnTo>
                <a:lnTo>
                  <a:pt x="315468" y="2894076"/>
                </a:lnTo>
                <a:lnTo>
                  <a:pt x="301409" y="2894076"/>
                </a:lnTo>
                <a:lnTo>
                  <a:pt x="301409" y="2880017"/>
                </a:lnTo>
                <a:close/>
                <a:moveTo>
                  <a:pt x="235229" y="2187702"/>
                </a:moveTo>
                <a:lnTo>
                  <a:pt x="216713" y="2187702"/>
                </a:lnTo>
                <a:lnTo>
                  <a:pt x="216713" y="2205876"/>
                </a:lnTo>
                <a:lnTo>
                  <a:pt x="198539" y="2205876"/>
                </a:lnTo>
                <a:lnTo>
                  <a:pt x="198539" y="2224392"/>
                </a:lnTo>
                <a:lnTo>
                  <a:pt x="216713" y="2224392"/>
                </a:lnTo>
                <a:lnTo>
                  <a:pt x="216713" y="2242566"/>
                </a:lnTo>
                <a:lnTo>
                  <a:pt x="235229" y="2242566"/>
                </a:lnTo>
                <a:lnTo>
                  <a:pt x="235229" y="2224392"/>
                </a:lnTo>
                <a:lnTo>
                  <a:pt x="253403" y="2224392"/>
                </a:lnTo>
                <a:lnTo>
                  <a:pt x="253403" y="2205876"/>
                </a:lnTo>
                <a:lnTo>
                  <a:pt x="235229" y="2205876"/>
                </a:lnTo>
                <a:lnTo>
                  <a:pt x="235229" y="2187702"/>
                </a:lnTo>
                <a:close/>
                <a:moveTo>
                  <a:pt x="27089" y="2057743"/>
                </a:moveTo>
                <a:lnTo>
                  <a:pt x="13373" y="2057743"/>
                </a:lnTo>
                <a:lnTo>
                  <a:pt x="13373" y="2071116"/>
                </a:lnTo>
                <a:lnTo>
                  <a:pt x="0" y="2071116"/>
                </a:lnTo>
                <a:lnTo>
                  <a:pt x="0" y="2084832"/>
                </a:lnTo>
                <a:lnTo>
                  <a:pt x="13373" y="2084832"/>
                </a:lnTo>
                <a:lnTo>
                  <a:pt x="13373" y="2098205"/>
                </a:lnTo>
                <a:lnTo>
                  <a:pt x="27089" y="2098205"/>
                </a:lnTo>
                <a:lnTo>
                  <a:pt x="27089" y="2084832"/>
                </a:lnTo>
                <a:lnTo>
                  <a:pt x="40462" y="2084832"/>
                </a:lnTo>
                <a:lnTo>
                  <a:pt x="40462" y="2071116"/>
                </a:lnTo>
                <a:lnTo>
                  <a:pt x="27089" y="2071116"/>
                </a:lnTo>
                <a:lnTo>
                  <a:pt x="27089" y="2057743"/>
                </a:lnTo>
                <a:close/>
                <a:moveTo>
                  <a:pt x="164249" y="2605697"/>
                </a:moveTo>
                <a:lnTo>
                  <a:pt x="150533" y="2605697"/>
                </a:lnTo>
                <a:lnTo>
                  <a:pt x="150533" y="2619756"/>
                </a:lnTo>
                <a:lnTo>
                  <a:pt x="136474" y="2619756"/>
                </a:lnTo>
                <a:lnTo>
                  <a:pt x="136474" y="2633472"/>
                </a:lnTo>
                <a:lnTo>
                  <a:pt x="150533" y="2633472"/>
                </a:lnTo>
                <a:lnTo>
                  <a:pt x="150533" y="2647531"/>
                </a:lnTo>
                <a:lnTo>
                  <a:pt x="164249" y="2647531"/>
                </a:lnTo>
                <a:lnTo>
                  <a:pt x="164249" y="2633472"/>
                </a:lnTo>
                <a:lnTo>
                  <a:pt x="178308" y="2633472"/>
                </a:lnTo>
                <a:lnTo>
                  <a:pt x="178308" y="2619756"/>
                </a:lnTo>
                <a:lnTo>
                  <a:pt x="164249" y="2619756"/>
                </a:lnTo>
                <a:lnTo>
                  <a:pt x="164249" y="2605697"/>
                </a:lnTo>
                <a:close/>
                <a:moveTo>
                  <a:pt x="26403" y="2333435"/>
                </a:moveTo>
                <a:lnTo>
                  <a:pt x="14059" y="2333435"/>
                </a:lnTo>
                <a:lnTo>
                  <a:pt x="14059" y="2346122"/>
                </a:lnTo>
                <a:lnTo>
                  <a:pt x="1372" y="2346122"/>
                </a:lnTo>
                <a:lnTo>
                  <a:pt x="1372" y="2358466"/>
                </a:lnTo>
                <a:lnTo>
                  <a:pt x="14059" y="2358466"/>
                </a:lnTo>
                <a:lnTo>
                  <a:pt x="14059" y="2371154"/>
                </a:lnTo>
                <a:lnTo>
                  <a:pt x="26403" y="2371154"/>
                </a:lnTo>
                <a:lnTo>
                  <a:pt x="26403" y="2358466"/>
                </a:lnTo>
                <a:lnTo>
                  <a:pt x="39091" y="2358466"/>
                </a:lnTo>
                <a:lnTo>
                  <a:pt x="39091" y="2346122"/>
                </a:lnTo>
                <a:lnTo>
                  <a:pt x="26403" y="2346122"/>
                </a:lnTo>
                <a:lnTo>
                  <a:pt x="26403" y="2333435"/>
                </a:lnTo>
                <a:close/>
                <a:moveTo>
                  <a:pt x="81267" y="1688783"/>
                </a:moveTo>
                <a:lnTo>
                  <a:pt x="96355" y="1688783"/>
                </a:lnTo>
                <a:lnTo>
                  <a:pt x="96355" y="1674038"/>
                </a:lnTo>
                <a:lnTo>
                  <a:pt x="111100" y="1674038"/>
                </a:lnTo>
                <a:lnTo>
                  <a:pt x="111100" y="1658950"/>
                </a:lnTo>
                <a:lnTo>
                  <a:pt x="96355" y="1658950"/>
                </a:lnTo>
                <a:lnTo>
                  <a:pt x="96355" y="1644206"/>
                </a:lnTo>
                <a:lnTo>
                  <a:pt x="81267" y="1644206"/>
                </a:lnTo>
                <a:lnTo>
                  <a:pt x="81267" y="1658950"/>
                </a:lnTo>
                <a:lnTo>
                  <a:pt x="66523" y="1658950"/>
                </a:lnTo>
                <a:lnTo>
                  <a:pt x="66523" y="1674038"/>
                </a:lnTo>
                <a:lnTo>
                  <a:pt x="81267" y="1674038"/>
                </a:lnTo>
                <a:lnTo>
                  <a:pt x="81267" y="1688783"/>
                </a:lnTo>
                <a:close/>
                <a:moveTo>
                  <a:pt x="81953" y="1412405"/>
                </a:moveTo>
                <a:lnTo>
                  <a:pt x="95669" y="1412405"/>
                </a:lnTo>
                <a:lnTo>
                  <a:pt x="95669" y="1399032"/>
                </a:lnTo>
                <a:lnTo>
                  <a:pt x="109042" y="1399032"/>
                </a:lnTo>
                <a:lnTo>
                  <a:pt x="109042" y="1385316"/>
                </a:lnTo>
                <a:lnTo>
                  <a:pt x="95669" y="1385316"/>
                </a:lnTo>
                <a:lnTo>
                  <a:pt x="95669" y="1371943"/>
                </a:lnTo>
                <a:lnTo>
                  <a:pt x="81953" y="1371943"/>
                </a:lnTo>
                <a:lnTo>
                  <a:pt x="81953" y="1385316"/>
                </a:lnTo>
                <a:lnTo>
                  <a:pt x="68580" y="1385316"/>
                </a:lnTo>
                <a:lnTo>
                  <a:pt x="68580" y="1399032"/>
                </a:lnTo>
                <a:lnTo>
                  <a:pt x="81953" y="1399032"/>
                </a:lnTo>
                <a:lnTo>
                  <a:pt x="81953" y="1412405"/>
                </a:lnTo>
                <a:close/>
                <a:moveTo>
                  <a:pt x="27089" y="1783423"/>
                </a:moveTo>
                <a:lnTo>
                  <a:pt x="13373" y="1783423"/>
                </a:lnTo>
                <a:lnTo>
                  <a:pt x="13373" y="1796796"/>
                </a:lnTo>
                <a:lnTo>
                  <a:pt x="0" y="1796796"/>
                </a:lnTo>
                <a:lnTo>
                  <a:pt x="0" y="1810512"/>
                </a:lnTo>
                <a:lnTo>
                  <a:pt x="13373" y="1810512"/>
                </a:lnTo>
                <a:lnTo>
                  <a:pt x="13373" y="1823885"/>
                </a:lnTo>
                <a:lnTo>
                  <a:pt x="27089" y="1823885"/>
                </a:lnTo>
                <a:lnTo>
                  <a:pt x="27089" y="1810512"/>
                </a:lnTo>
                <a:lnTo>
                  <a:pt x="40462" y="1810512"/>
                </a:lnTo>
                <a:lnTo>
                  <a:pt x="40462" y="1796796"/>
                </a:lnTo>
                <a:lnTo>
                  <a:pt x="27089" y="1796796"/>
                </a:lnTo>
                <a:lnTo>
                  <a:pt x="27089" y="1783423"/>
                </a:lnTo>
                <a:close/>
                <a:moveTo>
                  <a:pt x="96355" y="1917840"/>
                </a:moveTo>
                <a:lnTo>
                  <a:pt x="81267" y="1917840"/>
                </a:lnTo>
                <a:lnTo>
                  <a:pt x="81267" y="1933270"/>
                </a:lnTo>
                <a:lnTo>
                  <a:pt x="65837" y="1933270"/>
                </a:lnTo>
                <a:lnTo>
                  <a:pt x="65837" y="1948358"/>
                </a:lnTo>
                <a:lnTo>
                  <a:pt x="81267" y="1948358"/>
                </a:lnTo>
                <a:lnTo>
                  <a:pt x="81267" y="1963788"/>
                </a:lnTo>
                <a:lnTo>
                  <a:pt x="96355" y="1963788"/>
                </a:lnTo>
                <a:lnTo>
                  <a:pt x="96355" y="1948358"/>
                </a:lnTo>
                <a:lnTo>
                  <a:pt x="111785" y="1948358"/>
                </a:lnTo>
                <a:lnTo>
                  <a:pt x="111785" y="1933270"/>
                </a:lnTo>
                <a:lnTo>
                  <a:pt x="96355" y="1933270"/>
                </a:lnTo>
                <a:lnTo>
                  <a:pt x="96355" y="1917840"/>
                </a:lnTo>
                <a:close/>
                <a:moveTo>
                  <a:pt x="96012" y="2193188"/>
                </a:moveTo>
                <a:lnTo>
                  <a:pt x="81610" y="2193188"/>
                </a:lnTo>
                <a:lnTo>
                  <a:pt x="81610" y="2207933"/>
                </a:lnTo>
                <a:lnTo>
                  <a:pt x="66866" y="2207933"/>
                </a:lnTo>
                <a:lnTo>
                  <a:pt x="66866" y="2222335"/>
                </a:lnTo>
                <a:lnTo>
                  <a:pt x="81610" y="2222335"/>
                </a:lnTo>
                <a:lnTo>
                  <a:pt x="81610" y="2237080"/>
                </a:lnTo>
                <a:lnTo>
                  <a:pt x="96012" y="2237080"/>
                </a:lnTo>
                <a:lnTo>
                  <a:pt x="96012" y="2222335"/>
                </a:lnTo>
                <a:lnTo>
                  <a:pt x="110757" y="2222335"/>
                </a:lnTo>
                <a:lnTo>
                  <a:pt x="110757" y="2207933"/>
                </a:lnTo>
                <a:lnTo>
                  <a:pt x="96012" y="2207933"/>
                </a:lnTo>
                <a:lnTo>
                  <a:pt x="96012" y="2193188"/>
                </a:lnTo>
                <a:close/>
                <a:moveTo>
                  <a:pt x="95326" y="2469566"/>
                </a:moveTo>
                <a:lnTo>
                  <a:pt x="82296" y="2469566"/>
                </a:lnTo>
                <a:lnTo>
                  <a:pt x="82296" y="2482939"/>
                </a:lnTo>
                <a:lnTo>
                  <a:pt x="68923" y="2482939"/>
                </a:lnTo>
                <a:lnTo>
                  <a:pt x="68923" y="2495969"/>
                </a:lnTo>
                <a:lnTo>
                  <a:pt x="82296" y="2495969"/>
                </a:lnTo>
                <a:lnTo>
                  <a:pt x="82296" y="2509342"/>
                </a:lnTo>
                <a:lnTo>
                  <a:pt x="95326" y="2509342"/>
                </a:lnTo>
                <a:lnTo>
                  <a:pt x="95326" y="2495969"/>
                </a:lnTo>
                <a:lnTo>
                  <a:pt x="108699" y="2495969"/>
                </a:lnTo>
                <a:lnTo>
                  <a:pt x="108699" y="2482939"/>
                </a:lnTo>
                <a:lnTo>
                  <a:pt x="95326" y="2482939"/>
                </a:lnTo>
                <a:lnTo>
                  <a:pt x="95326" y="2469566"/>
                </a:lnTo>
                <a:close/>
                <a:moveTo>
                  <a:pt x="440284" y="2875559"/>
                </a:moveTo>
                <a:lnTo>
                  <a:pt x="423139" y="2875559"/>
                </a:lnTo>
                <a:lnTo>
                  <a:pt x="423139" y="2892362"/>
                </a:lnTo>
                <a:lnTo>
                  <a:pt x="406336" y="2892362"/>
                </a:lnTo>
                <a:lnTo>
                  <a:pt x="406336" y="2909507"/>
                </a:lnTo>
                <a:lnTo>
                  <a:pt x="423139" y="2909507"/>
                </a:lnTo>
                <a:lnTo>
                  <a:pt x="423139" y="2926309"/>
                </a:lnTo>
                <a:lnTo>
                  <a:pt x="440284" y="2926309"/>
                </a:lnTo>
                <a:lnTo>
                  <a:pt x="440284" y="2909507"/>
                </a:lnTo>
                <a:lnTo>
                  <a:pt x="457086" y="2909507"/>
                </a:lnTo>
                <a:lnTo>
                  <a:pt x="457086" y="2892362"/>
                </a:lnTo>
                <a:lnTo>
                  <a:pt x="440284" y="2892362"/>
                </a:lnTo>
                <a:lnTo>
                  <a:pt x="440284" y="2875559"/>
                </a:lnTo>
                <a:close/>
                <a:moveTo>
                  <a:pt x="510235" y="2733599"/>
                </a:moveTo>
                <a:lnTo>
                  <a:pt x="490347" y="2733599"/>
                </a:lnTo>
                <a:lnTo>
                  <a:pt x="490347" y="2753830"/>
                </a:lnTo>
                <a:lnTo>
                  <a:pt x="470116" y="2753830"/>
                </a:lnTo>
                <a:lnTo>
                  <a:pt x="470116" y="2773718"/>
                </a:lnTo>
                <a:lnTo>
                  <a:pt x="490347" y="2773718"/>
                </a:lnTo>
                <a:lnTo>
                  <a:pt x="490347" y="2793949"/>
                </a:lnTo>
                <a:lnTo>
                  <a:pt x="510235" y="2793949"/>
                </a:lnTo>
                <a:lnTo>
                  <a:pt x="510235" y="2773718"/>
                </a:lnTo>
                <a:lnTo>
                  <a:pt x="530466" y="2773718"/>
                </a:lnTo>
                <a:lnTo>
                  <a:pt x="530466" y="2753830"/>
                </a:lnTo>
                <a:lnTo>
                  <a:pt x="510235" y="2753830"/>
                </a:lnTo>
                <a:lnTo>
                  <a:pt x="510235" y="2733599"/>
                </a:lnTo>
                <a:close/>
                <a:moveTo>
                  <a:pt x="508521" y="3013748"/>
                </a:moveTo>
                <a:lnTo>
                  <a:pt x="492061" y="3013748"/>
                </a:lnTo>
                <a:lnTo>
                  <a:pt x="492061" y="3029864"/>
                </a:lnTo>
                <a:lnTo>
                  <a:pt x="475945" y="3029864"/>
                </a:lnTo>
                <a:lnTo>
                  <a:pt x="475945" y="3046324"/>
                </a:lnTo>
                <a:lnTo>
                  <a:pt x="492061" y="3046324"/>
                </a:lnTo>
                <a:lnTo>
                  <a:pt x="492061" y="3062440"/>
                </a:lnTo>
                <a:lnTo>
                  <a:pt x="508521" y="3062440"/>
                </a:lnTo>
                <a:lnTo>
                  <a:pt x="508521" y="3046324"/>
                </a:lnTo>
                <a:lnTo>
                  <a:pt x="524637" y="3046324"/>
                </a:lnTo>
                <a:lnTo>
                  <a:pt x="524637" y="3029864"/>
                </a:lnTo>
                <a:lnTo>
                  <a:pt x="508521" y="3029864"/>
                </a:lnTo>
                <a:lnTo>
                  <a:pt x="508521" y="3013748"/>
                </a:lnTo>
                <a:close/>
                <a:moveTo>
                  <a:pt x="511607" y="2455507"/>
                </a:moveTo>
                <a:lnTo>
                  <a:pt x="488975" y="2455507"/>
                </a:lnTo>
                <a:lnTo>
                  <a:pt x="488975" y="2478138"/>
                </a:lnTo>
                <a:lnTo>
                  <a:pt x="466344" y="2478138"/>
                </a:lnTo>
                <a:lnTo>
                  <a:pt x="466344" y="2500770"/>
                </a:lnTo>
                <a:lnTo>
                  <a:pt x="488975" y="2500770"/>
                </a:lnTo>
                <a:lnTo>
                  <a:pt x="488975" y="2523401"/>
                </a:lnTo>
                <a:lnTo>
                  <a:pt x="511607" y="2523401"/>
                </a:lnTo>
                <a:lnTo>
                  <a:pt x="511607" y="2500770"/>
                </a:lnTo>
                <a:lnTo>
                  <a:pt x="534238" y="2500770"/>
                </a:lnTo>
                <a:lnTo>
                  <a:pt x="534238" y="2478138"/>
                </a:lnTo>
                <a:lnTo>
                  <a:pt x="511607" y="2478138"/>
                </a:lnTo>
                <a:lnTo>
                  <a:pt x="511607" y="2455507"/>
                </a:lnTo>
                <a:close/>
                <a:moveTo>
                  <a:pt x="506120" y="3294583"/>
                </a:moveTo>
                <a:lnTo>
                  <a:pt x="494462" y="3294583"/>
                </a:lnTo>
                <a:lnTo>
                  <a:pt x="494462" y="3306585"/>
                </a:lnTo>
                <a:lnTo>
                  <a:pt x="482460" y="3306585"/>
                </a:lnTo>
                <a:lnTo>
                  <a:pt x="482460" y="3318243"/>
                </a:lnTo>
                <a:lnTo>
                  <a:pt x="494462" y="3318243"/>
                </a:lnTo>
                <a:lnTo>
                  <a:pt x="494462" y="3330245"/>
                </a:lnTo>
                <a:lnTo>
                  <a:pt x="506120" y="3330245"/>
                </a:lnTo>
                <a:lnTo>
                  <a:pt x="506120" y="3318243"/>
                </a:lnTo>
                <a:lnTo>
                  <a:pt x="518122" y="3318243"/>
                </a:lnTo>
                <a:lnTo>
                  <a:pt x="518122" y="3306585"/>
                </a:lnTo>
                <a:lnTo>
                  <a:pt x="506120" y="3306585"/>
                </a:lnTo>
                <a:lnTo>
                  <a:pt x="506120" y="3294583"/>
                </a:lnTo>
                <a:close/>
                <a:moveTo>
                  <a:pt x="442684" y="2319376"/>
                </a:moveTo>
                <a:lnTo>
                  <a:pt x="420738" y="2319376"/>
                </a:lnTo>
                <a:lnTo>
                  <a:pt x="420738" y="2341321"/>
                </a:lnTo>
                <a:lnTo>
                  <a:pt x="398793" y="2341321"/>
                </a:lnTo>
                <a:lnTo>
                  <a:pt x="398793" y="2363267"/>
                </a:lnTo>
                <a:lnTo>
                  <a:pt x="420738" y="2363267"/>
                </a:lnTo>
                <a:lnTo>
                  <a:pt x="420738" y="2385212"/>
                </a:lnTo>
                <a:lnTo>
                  <a:pt x="442684" y="2385212"/>
                </a:lnTo>
                <a:lnTo>
                  <a:pt x="442684" y="2363267"/>
                </a:lnTo>
                <a:lnTo>
                  <a:pt x="464629" y="2363267"/>
                </a:lnTo>
                <a:lnTo>
                  <a:pt x="464629" y="2341321"/>
                </a:lnTo>
                <a:lnTo>
                  <a:pt x="442684" y="2341321"/>
                </a:lnTo>
                <a:lnTo>
                  <a:pt x="442684" y="2319376"/>
                </a:lnTo>
                <a:close/>
                <a:moveTo>
                  <a:pt x="580187" y="2592324"/>
                </a:moveTo>
                <a:lnTo>
                  <a:pt x="557555" y="2592324"/>
                </a:lnTo>
                <a:lnTo>
                  <a:pt x="557555" y="2615298"/>
                </a:lnTo>
                <a:lnTo>
                  <a:pt x="534581" y="2615298"/>
                </a:lnTo>
                <a:lnTo>
                  <a:pt x="534581" y="2637930"/>
                </a:lnTo>
                <a:lnTo>
                  <a:pt x="557555" y="2637930"/>
                </a:lnTo>
                <a:lnTo>
                  <a:pt x="557555" y="2660904"/>
                </a:lnTo>
                <a:lnTo>
                  <a:pt x="580187" y="2660904"/>
                </a:lnTo>
                <a:lnTo>
                  <a:pt x="580187" y="2637930"/>
                </a:lnTo>
                <a:lnTo>
                  <a:pt x="603161" y="2637930"/>
                </a:lnTo>
                <a:lnTo>
                  <a:pt x="603161" y="2615298"/>
                </a:lnTo>
                <a:lnTo>
                  <a:pt x="580187" y="2615298"/>
                </a:lnTo>
                <a:lnTo>
                  <a:pt x="580187" y="2592324"/>
                </a:lnTo>
                <a:close/>
                <a:moveTo>
                  <a:pt x="644652" y="3290811"/>
                </a:moveTo>
                <a:lnTo>
                  <a:pt x="630250" y="3290811"/>
                </a:lnTo>
                <a:lnTo>
                  <a:pt x="630250" y="3305213"/>
                </a:lnTo>
                <a:lnTo>
                  <a:pt x="615848" y="3305213"/>
                </a:lnTo>
                <a:lnTo>
                  <a:pt x="615848" y="3319615"/>
                </a:lnTo>
                <a:lnTo>
                  <a:pt x="630250" y="3319615"/>
                </a:lnTo>
                <a:lnTo>
                  <a:pt x="630250" y="3334017"/>
                </a:lnTo>
                <a:lnTo>
                  <a:pt x="644652" y="3334017"/>
                </a:lnTo>
                <a:lnTo>
                  <a:pt x="644652" y="3319615"/>
                </a:lnTo>
                <a:lnTo>
                  <a:pt x="659054" y="3319615"/>
                </a:lnTo>
                <a:lnTo>
                  <a:pt x="659054" y="3305213"/>
                </a:lnTo>
                <a:lnTo>
                  <a:pt x="644652" y="3305213"/>
                </a:lnTo>
                <a:lnTo>
                  <a:pt x="644652" y="3290811"/>
                </a:lnTo>
                <a:close/>
                <a:moveTo>
                  <a:pt x="576758" y="3151937"/>
                </a:moveTo>
                <a:lnTo>
                  <a:pt x="560984" y="3151937"/>
                </a:lnTo>
                <a:lnTo>
                  <a:pt x="560984" y="3167367"/>
                </a:lnTo>
                <a:lnTo>
                  <a:pt x="545554" y="3167367"/>
                </a:lnTo>
                <a:lnTo>
                  <a:pt x="545554" y="3183141"/>
                </a:lnTo>
                <a:lnTo>
                  <a:pt x="560984" y="3183141"/>
                </a:lnTo>
                <a:lnTo>
                  <a:pt x="560984" y="3198571"/>
                </a:lnTo>
                <a:lnTo>
                  <a:pt x="576758" y="3198571"/>
                </a:lnTo>
                <a:lnTo>
                  <a:pt x="576758" y="3183141"/>
                </a:lnTo>
                <a:lnTo>
                  <a:pt x="592188" y="3183141"/>
                </a:lnTo>
                <a:lnTo>
                  <a:pt x="592188" y="3167367"/>
                </a:lnTo>
                <a:lnTo>
                  <a:pt x="576758" y="3167367"/>
                </a:lnTo>
                <a:lnTo>
                  <a:pt x="576758" y="3151937"/>
                </a:lnTo>
                <a:close/>
                <a:moveTo>
                  <a:pt x="578815" y="2871445"/>
                </a:moveTo>
                <a:lnTo>
                  <a:pt x="558927" y="2871445"/>
                </a:lnTo>
                <a:lnTo>
                  <a:pt x="558927" y="2890990"/>
                </a:lnTo>
                <a:lnTo>
                  <a:pt x="539382" y="2890990"/>
                </a:lnTo>
                <a:lnTo>
                  <a:pt x="539382" y="2910878"/>
                </a:lnTo>
                <a:lnTo>
                  <a:pt x="558927" y="2910878"/>
                </a:lnTo>
                <a:lnTo>
                  <a:pt x="558927" y="2930423"/>
                </a:lnTo>
                <a:lnTo>
                  <a:pt x="578815" y="2930423"/>
                </a:lnTo>
                <a:lnTo>
                  <a:pt x="578815" y="2910878"/>
                </a:lnTo>
                <a:lnTo>
                  <a:pt x="598360" y="2910878"/>
                </a:lnTo>
                <a:lnTo>
                  <a:pt x="598360" y="2890990"/>
                </a:lnTo>
                <a:lnTo>
                  <a:pt x="578815" y="2890990"/>
                </a:lnTo>
                <a:lnTo>
                  <a:pt x="578815" y="2871445"/>
                </a:lnTo>
                <a:close/>
                <a:moveTo>
                  <a:pt x="373761" y="2183244"/>
                </a:moveTo>
                <a:lnTo>
                  <a:pt x="352501" y="2183244"/>
                </a:lnTo>
                <a:lnTo>
                  <a:pt x="352501" y="2204504"/>
                </a:lnTo>
                <a:lnTo>
                  <a:pt x="331241" y="2204504"/>
                </a:lnTo>
                <a:lnTo>
                  <a:pt x="331241" y="2225764"/>
                </a:lnTo>
                <a:lnTo>
                  <a:pt x="352501" y="2225764"/>
                </a:lnTo>
                <a:lnTo>
                  <a:pt x="352501" y="2247024"/>
                </a:lnTo>
                <a:lnTo>
                  <a:pt x="373761" y="2247024"/>
                </a:lnTo>
                <a:lnTo>
                  <a:pt x="373761" y="2225764"/>
                </a:lnTo>
                <a:lnTo>
                  <a:pt x="395021" y="2225764"/>
                </a:lnTo>
                <a:lnTo>
                  <a:pt x="395021" y="2204504"/>
                </a:lnTo>
                <a:lnTo>
                  <a:pt x="373761" y="2204504"/>
                </a:lnTo>
                <a:lnTo>
                  <a:pt x="373761" y="2183244"/>
                </a:lnTo>
                <a:close/>
                <a:moveTo>
                  <a:pt x="371704" y="2738057"/>
                </a:moveTo>
                <a:lnTo>
                  <a:pt x="354559" y="2738057"/>
                </a:lnTo>
                <a:lnTo>
                  <a:pt x="354559" y="2755202"/>
                </a:lnTo>
                <a:lnTo>
                  <a:pt x="337414" y="2755202"/>
                </a:lnTo>
                <a:lnTo>
                  <a:pt x="337414" y="2772347"/>
                </a:lnTo>
                <a:lnTo>
                  <a:pt x="354559" y="2772347"/>
                </a:lnTo>
                <a:lnTo>
                  <a:pt x="354559" y="2789492"/>
                </a:lnTo>
                <a:lnTo>
                  <a:pt x="371704" y="2789492"/>
                </a:lnTo>
                <a:lnTo>
                  <a:pt x="371704" y="2772347"/>
                </a:lnTo>
                <a:lnTo>
                  <a:pt x="388849" y="2772347"/>
                </a:lnTo>
                <a:lnTo>
                  <a:pt x="388849" y="2755202"/>
                </a:lnTo>
                <a:lnTo>
                  <a:pt x="371704" y="2755202"/>
                </a:lnTo>
                <a:lnTo>
                  <a:pt x="371704" y="2738057"/>
                </a:lnTo>
                <a:close/>
                <a:moveTo>
                  <a:pt x="373075" y="2459965"/>
                </a:moveTo>
                <a:lnTo>
                  <a:pt x="353187" y="2459965"/>
                </a:lnTo>
                <a:lnTo>
                  <a:pt x="353187" y="2479510"/>
                </a:lnTo>
                <a:lnTo>
                  <a:pt x="333642" y="2479510"/>
                </a:lnTo>
                <a:lnTo>
                  <a:pt x="333642" y="2499398"/>
                </a:lnTo>
                <a:lnTo>
                  <a:pt x="353187" y="2499398"/>
                </a:lnTo>
                <a:lnTo>
                  <a:pt x="353187" y="2518943"/>
                </a:lnTo>
                <a:lnTo>
                  <a:pt x="373075" y="2518943"/>
                </a:lnTo>
                <a:lnTo>
                  <a:pt x="373075" y="2499398"/>
                </a:lnTo>
                <a:lnTo>
                  <a:pt x="392620" y="2499398"/>
                </a:lnTo>
                <a:lnTo>
                  <a:pt x="392620" y="2479510"/>
                </a:lnTo>
                <a:lnTo>
                  <a:pt x="373075" y="2479510"/>
                </a:lnTo>
                <a:lnTo>
                  <a:pt x="373075" y="2459965"/>
                </a:lnTo>
                <a:close/>
                <a:moveTo>
                  <a:pt x="304495" y="1773479"/>
                </a:moveTo>
                <a:lnTo>
                  <a:pt x="284607" y="1773479"/>
                </a:lnTo>
                <a:lnTo>
                  <a:pt x="284607" y="1793710"/>
                </a:lnTo>
                <a:lnTo>
                  <a:pt x="264376" y="1793710"/>
                </a:lnTo>
                <a:lnTo>
                  <a:pt x="264376" y="1813598"/>
                </a:lnTo>
                <a:lnTo>
                  <a:pt x="284607" y="1813598"/>
                </a:lnTo>
                <a:lnTo>
                  <a:pt x="284607" y="1833829"/>
                </a:lnTo>
                <a:lnTo>
                  <a:pt x="304495" y="1833829"/>
                </a:lnTo>
                <a:lnTo>
                  <a:pt x="304495" y="1813598"/>
                </a:lnTo>
                <a:lnTo>
                  <a:pt x="324726" y="1813598"/>
                </a:lnTo>
                <a:lnTo>
                  <a:pt x="324726" y="1793710"/>
                </a:lnTo>
                <a:lnTo>
                  <a:pt x="304495" y="1793710"/>
                </a:lnTo>
                <a:lnTo>
                  <a:pt x="304495" y="1773479"/>
                </a:lnTo>
                <a:close/>
                <a:moveTo>
                  <a:pt x="369989" y="3017520"/>
                </a:moveTo>
                <a:lnTo>
                  <a:pt x="356273" y="3017520"/>
                </a:lnTo>
                <a:lnTo>
                  <a:pt x="356273" y="3031236"/>
                </a:lnTo>
                <a:lnTo>
                  <a:pt x="342557" y="3031236"/>
                </a:lnTo>
                <a:lnTo>
                  <a:pt x="342557" y="3044952"/>
                </a:lnTo>
                <a:lnTo>
                  <a:pt x="356273" y="3044952"/>
                </a:lnTo>
                <a:lnTo>
                  <a:pt x="356273" y="3058668"/>
                </a:lnTo>
                <a:lnTo>
                  <a:pt x="369989" y="3058668"/>
                </a:lnTo>
                <a:lnTo>
                  <a:pt x="369989" y="3044952"/>
                </a:lnTo>
                <a:lnTo>
                  <a:pt x="383705" y="3044952"/>
                </a:lnTo>
                <a:lnTo>
                  <a:pt x="383705" y="3031236"/>
                </a:lnTo>
                <a:lnTo>
                  <a:pt x="369989" y="3031236"/>
                </a:lnTo>
                <a:lnTo>
                  <a:pt x="369989" y="3017520"/>
                </a:lnTo>
                <a:close/>
                <a:moveTo>
                  <a:pt x="441655" y="2596439"/>
                </a:moveTo>
                <a:lnTo>
                  <a:pt x="421767" y="2596439"/>
                </a:lnTo>
                <a:lnTo>
                  <a:pt x="421767" y="2616670"/>
                </a:lnTo>
                <a:lnTo>
                  <a:pt x="401536" y="2616670"/>
                </a:lnTo>
                <a:lnTo>
                  <a:pt x="401536" y="2636558"/>
                </a:lnTo>
                <a:lnTo>
                  <a:pt x="421767" y="2636558"/>
                </a:lnTo>
                <a:lnTo>
                  <a:pt x="421767" y="2656789"/>
                </a:lnTo>
                <a:lnTo>
                  <a:pt x="441655" y="2656789"/>
                </a:lnTo>
                <a:lnTo>
                  <a:pt x="441655" y="2636558"/>
                </a:lnTo>
                <a:lnTo>
                  <a:pt x="461886" y="2636558"/>
                </a:lnTo>
                <a:lnTo>
                  <a:pt x="461886" y="2616670"/>
                </a:lnTo>
                <a:lnTo>
                  <a:pt x="441655" y="2616670"/>
                </a:lnTo>
                <a:lnTo>
                  <a:pt x="441655" y="2596439"/>
                </a:lnTo>
                <a:close/>
                <a:moveTo>
                  <a:pt x="438226" y="3156052"/>
                </a:moveTo>
                <a:lnTo>
                  <a:pt x="425196" y="3156052"/>
                </a:lnTo>
                <a:lnTo>
                  <a:pt x="425196" y="3168739"/>
                </a:lnTo>
                <a:lnTo>
                  <a:pt x="412509" y="3168739"/>
                </a:lnTo>
                <a:lnTo>
                  <a:pt x="412509" y="3181769"/>
                </a:lnTo>
                <a:lnTo>
                  <a:pt x="425196" y="3181769"/>
                </a:lnTo>
                <a:lnTo>
                  <a:pt x="425196" y="3194456"/>
                </a:lnTo>
                <a:lnTo>
                  <a:pt x="438226" y="3194456"/>
                </a:lnTo>
                <a:lnTo>
                  <a:pt x="438226" y="3181769"/>
                </a:lnTo>
                <a:lnTo>
                  <a:pt x="450913" y="3181769"/>
                </a:lnTo>
                <a:lnTo>
                  <a:pt x="450913" y="3168739"/>
                </a:lnTo>
                <a:lnTo>
                  <a:pt x="438226" y="3168739"/>
                </a:lnTo>
                <a:lnTo>
                  <a:pt x="438226" y="3156052"/>
                </a:lnTo>
                <a:close/>
                <a:moveTo>
                  <a:pt x="647052" y="3009633"/>
                </a:moveTo>
                <a:lnTo>
                  <a:pt x="627850" y="3009633"/>
                </a:lnTo>
                <a:lnTo>
                  <a:pt x="627850" y="3028493"/>
                </a:lnTo>
                <a:lnTo>
                  <a:pt x="608990" y="3028493"/>
                </a:lnTo>
                <a:lnTo>
                  <a:pt x="608990" y="3047695"/>
                </a:lnTo>
                <a:lnTo>
                  <a:pt x="627850" y="3047695"/>
                </a:lnTo>
                <a:lnTo>
                  <a:pt x="627850" y="3066555"/>
                </a:lnTo>
                <a:lnTo>
                  <a:pt x="647052" y="3066555"/>
                </a:lnTo>
                <a:lnTo>
                  <a:pt x="647052" y="3047695"/>
                </a:lnTo>
                <a:lnTo>
                  <a:pt x="665912" y="3047695"/>
                </a:lnTo>
                <a:lnTo>
                  <a:pt x="665912" y="3028493"/>
                </a:lnTo>
                <a:lnTo>
                  <a:pt x="647052" y="3028493"/>
                </a:lnTo>
                <a:lnTo>
                  <a:pt x="647052" y="3009633"/>
                </a:lnTo>
                <a:close/>
                <a:moveTo>
                  <a:pt x="420052" y="2112607"/>
                </a:moveTo>
                <a:lnTo>
                  <a:pt x="443370" y="2112607"/>
                </a:lnTo>
                <a:lnTo>
                  <a:pt x="443370" y="2089633"/>
                </a:lnTo>
                <a:lnTo>
                  <a:pt x="466344" y="2089633"/>
                </a:lnTo>
                <a:lnTo>
                  <a:pt x="466344" y="2066315"/>
                </a:lnTo>
                <a:lnTo>
                  <a:pt x="443370" y="2066315"/>
                </a:lnTo>
                <a:lnTo>
                  <a:pt x="443370" y="2043341"/>
                </a:lnTo>
                <a:lnTo>
                  <a:pt x="420052" y="2043341"/>
                </a:lnTo>
                <a:lnTo>
                  <a:pt x="420052" y="2066315"/>
                </a:lnTo>
                <a:lnTo>
                  <a:pt x="397078" y="2066315"/>
                </a:lnTo>
                <a:lnTo>
                  <a:pt x="397078" y="2089633"/>
                </a:lnTo>
                <a:lnTo>
                  <a:pt x="420052" y="2089633"/>
                </a:lnTo>
                <a:lnTo>
                  <a:pt x="420052" y="2112607"/>
                </a:lnTo>
                <a:close/>
                <a:moveTo>
                  <a:pt x="374104" y="1907896"/>
                </a:moveTo>
                <a:lnTo>
                  <a:pt x="352158" y="1907896"/>
                </a:lnTo>
                <a:lnTo>
                  <a:pt x="352158" y="1929841"/>
                </a:lnTo>
                <a:lnTo>
                  <a:pt x="330213" y="1929841"/>
                </a:lnTo>
                <a:lnTo>
                  <a:pt x="330213" y="1951787"/>
                </a:lnTo>
                <a:lnTo>
                  <a:pt x="352158" y="1951787"/>
                </a:lnTo>
                <a:lnTo>
                  <a:pt x="352158" y="1973732"/>
                </a:lnTo>
                <a:lnTo>
                  <a:pt x="374104" y="1973732"/>
                </a:lnTo>
                <a:lnTo>
                  <a:pt x="374104" y="1951787"/>
                </a:lnTo>
                <a:lnTo>
                  <a:pt x="396049" y="1951787"/>
                </a:lnTo>
                <a:lnTo>
                  <a:pt x="396049" y="1929841"/>
                </a:lnTo>
                <a:lnTo>
                  <a:pt x="374104" y="1929841"/>
                </a:lnTo>
                <a:lnTo>
                  <a:pt x="374104" y="1907896"/>
                </a:lnTo>
                <a:close/>
                <a:moveTo>
                  <a:pt x="14059" y="1547851"/>
                </a:moveTo>
                <a:lnTo>
                  <a:pt x="26403" y="1547851"/>
                </a:lnTo>
                <a:lnTo>
                  <a:pt x="26403" y="1535506"/>
                </a:lnTo>
                <a:lnTo>
                  <a:pt x="38748" y="1535506"/>
                </a:lnTo>
                <a:lnTo>
                  <a:pt x="38748" y="1523162"/>
                </a:lnTo>
                <a:lnTo>
                  <a:pt x="26403" y="1523162"/>
                </a:lnTo>
                <a:lnTo>
                  <a:pt x="26403" y="1510817"/>
                </a:lnTo>
                <a:lnTo>
                  <a:pt x="14059" y="1510817"/>
                </a:lnTo>
                <a:lnTo>
                  <a:pt x="14059" y="1523162"/>
                </a:lnTo>
                <a:lnTo>
                  <a:pt x="1715" y="1523162"/>
                </a:lnTo>
                <a:lnTo>
                  <a:pt x="1715" y="1535506"/>
                </a:lnTo>
                <a:lnTo>
                  <a:pt x="14059" y="1535506"/>
                </a:lnTo>
                <a:lnTo>
                  <a:pt x="14059" y="1547851"/>
                </a:lnTo>
                <a:close/>
                <a:moveTo>
                  <a:pt x="1949044" y="3698177"/>
                </a:moveTo>
                <a:lnTo>
                  <a:pt x="1931899" y="3698177"/>
                </a:lnTo>
                <a:lnTo>
                  <a:pt x="1931899" y="3715322"/>
                </a:lnTo>
                <a:lnTo>
                  <a:pt x="1914754" y="3715322"/>
                </a:lnTo>
                <a:lnTo>
                  <a:pt x="1914754" y="3732467"/>
                </a:lnTo>
                <a:lnTo>
                  <a:pt x="1931899" y="3732467"/>
                </a:lnTo>
                <a:lnTo>
                  <a:pt x="1931899" y="3749612"/>
                </a:lnTo>
                <a:lnTo>
                  <a:pt x="1949044" y="3749612"/>
                </a:lnTo>
                <a:lnTo>
                  <a:pt x="1949044" y="3732467"/>
                </a:lnTo>
                <a:lnTo>
                  <a:pt x="1966189" y="3732467"/>
                </a:lnTo>
                <a:lnTo>
                  <a:pt x="1966189" y="3715322"/>
                </a:lnTo>
                <a:lnTo>
                  <a:pt x="1949044" y="3715322"/>
                </a:lnTo>
                <a:lnTo>
                  <a:pt x="1949044" y="3698177"/>
                </a:lnTo>
                <a:close/>
                <a:moveTo>
                  <a:pt x="3460890" y="1769021"/>
                </a:moveTo>
                <a:lnTo>
                  <a:pt x="3437573" y="1769021"/>
                </a:lnTo>
                <a:lnTo>
                  <a:pt x="3437573" y="1791995"/>
                </a:lnTo>
                <a:lnTo>
                  <a:pt x="3414598" y="1791995"/>
                </a:lnTo>
                <a:lnTo>
                  <a:pt x="3414598" y="1815313"/>
                </a:lnTo>
                <a:lnTo>
                  <a:pt x="3437573" y="1815313"/>
                </a:lnTo>
                <a:lnTo>
                  <a:pt x="3437573" y="1838287"/>
                </a:lnTo>
                <a:lnTo>
                  <a:pt x="3460890" y="1838287"/>
                </a:lnTo>
                <a:lnTo>
                  <a:pt x="3460890" y="1815313"/>
                </a:lnTo>
                <a:lnTo>
                  <a:pt x="3483864" y="1815313"/>
                </a:lnTo>
                <a:lnTo>
                  <a:pt x="3483864" y="1791995"/>
                </a:lnTo>
                <a:lnTo>
                  <a:pt x="3460890" y="1791995"/>
                </a:lnTo>
                <a:lnTo>
                  <a:pt x="3460890" y="1769021"/>
                </a:lnTo>
                <a:close/>
                <a:moveTo>
                  <a:pt x="3455746" y="3156052"/>
                </a:moveTo>
                <a:lnTo>
                  <a:pt x="3442716" y="3156052"/>
                </a:lnTo>
                <a:lnTo>
                  <a:pt x="3442716" y="3168739"/>
                </a:lnTo>
                <a:lnTo>
                  <a:pt x="3430029" y="3168739"/>
                </a:lnTo>
                <a:lnTo>
                  <a:pt x="3430029" y="3181769"/>
                </a:lnTo>
                <a:lnTo>
                  <a:pt x="3442716" y="3181769"/>
                </a:lnTo>
                <a:lnTo>
                  <a:pt x="3442716" y="3194456"/>
                </a:lnTo>
                <a:lnTo>
                  <a:pt x="3455746" y="3194456"/>
                </a:lnTo>
                <a:lnTo>
                  <a:pt x="3455746" y="3181769"/>
                </a:lnTo>
                <a:lnTo>
                  <a:pt x="3468434" y="3181769"/>
                </a:lnTo>
                <a:lnTo>
                  <a:pt x="3468434" y="3168739"/>
                </a:lnTo>
                <a:lnTo>
                  <a:pt x="3455746" y="3168739"/>
                </a:lnTo>
                <a:lnTo>
                  <a:pt x="3455746" y="3156052"/>
                </a:lnTo>
                <a:close/>
                <a:moveTo>
                  <a:pt x="3459175" y="2596439"/>
                </a:moveTo>
                <a:lnTo>
                  <a:pt x="3439287" y="2596439"/>
                </a:lnTo>
                <a:lnTo>
                  <a:pt x="3439287" y="2616670"/>
                </a:lnTo>
                <a:lnTo>
                  <a:pt x="3419056" y="2616670"/>
                </a:lnTo>
                <a:lnTo>
                  <a:pt x="3419056" y="2636558"/>
                </a:lnTo>
                <a:lnTo>
                  <a:pt x="3439287" y="2636558"/>
                </a:lnTo>
                <a:lnTo>
                  <a:pt x="3439287" y="2656789"/>
                </a:lnTo>
                <a:lnTo>
                  <a:pt x="3459175" y="2656789"/>
                </a:lnTo>
                <a:lnTo>
                  <a:pt x="3459175" y="2636558"/>
                </a:lnTo>
                <a:lnTo>
                  <a:pt x="3479407" y="2636558"/>
                </a:lnTo>
                <a:lnTo>
                  <a:pt x="3479407" y="2616670"/>
                </a:lnTo>
                <a:lnTo>
                  <a:pt x="3459175" y="2616670"/>
                </a:lnTo>
                <a:lnTo>
                  <a:pt x="3459175" y="2596439"/>
                </a:lnTo>
                <a:close/>
                <a:moveTo>
                  <a:pt x="3457804" y="2875559"/>
                </a:moveTo>
                <a:lnTo>
                  <a:pt x="3440659" y="2875559"/>
                </a:lnTo>
                <a:lnTo>
                  <a:pt x="3440659" y="2892362"/>
                </a:lnTo>
                <a:lnTo>
                  <a:pt x="3423857" y="2892362"/>
                </a:lnTo>
                <a:lnTo>
                  <a:pt x="3423857" y="2909507"/>
                </a:lnTo>
                <a:lnTo>
                  <a:pt x="3440659" y="2909507"/>
                </a:lnTo>
                <a:lnTo>
                  <a:pt x="3440659" y="2926309"/>
                </a:lnTo>
                <a:lnTo>
                  <a:pt x="3457804" y="2926309"/>
                </a:lnTo>
                <a:lnTo>
                  <a:pt x="3457804" y="2909507"/>
                </a:lnTo>
                <a:lnTo>
                  <a:pt x="3474606" y="2909507"/>
                </a:lnTo>
                <a:lnTo>
                  <a:pt x="3474606" y="2892362"/>
                </a:lnTo>
                <a:lnTo>
                  <a:pt x="3457804" y="2892362"/>
                </a:lnTo>
                <a:lnTo>
                  <a:pt x="3457804" y="2875559"/>
                </a:lnTo>
                <a:close/>
                <a:moveTo>
                  <a:pt x="3460204" y="2319033"/>
                </a:moveTo>
                <a:lnTo>
                  <a:pt x="3438259" y="2319033"/>
                </a:lnTo>
                <a:lnTo>
                  <a:pt x="3438259" y="2341321"/>
                </a:lnTo>
                <a:lnTo>
                  <a:pt x="3415970" y="2341321"/>
                </a:lnTo>
                <a:lnTo>
                  <a:pt x="3415970" y="2363267"/>
                </a:lnTo>
                <a:lnTo>
                  <a:pt x="3438259" y="2363267"/>
                </a:lnTo>
                <a:lnTo>
                  <a:pt x="3438259" y="2385555"/>
                </a:lnTo>
                <a:lnTo>
                  <a:pt x="3460204" y="2385555"/>
                </a:lnTo>
                <a:lnTo>
                  <a:pt x="3460204" y="2363267"/>
                </a:lnTo>
                <a:lnTo>
                  <a:pt x="3482492" y="2363267"/>
                </a:lnTo>
                <a:lnTo>
                  <a:pt x="3482492" y="2341321"/>
                </a:lnTo>
                <a:lnTo>
                  <a:pt x="3460204" y="2341321"/>
                </a:lnTo>
                <a:lnTo>
                  <a:pt x="3460204" y="2319033"/>
                </a:lnTo>
                <a:close/>
                <a:moveTo>
                  <a:pt x="3528441" y="2183244"/>
                </a:moveTo>
                <a:lnTo>
                  <a:pt x="3507181" y="2183244"/>
                </a:lnTo>
                <a:lnTo>
                  <a:pt x="3507181" y="2204504"/>
                </a:lnTo>
                <a:lnTo>
                  <a:pt x="3485921" y="2204504"/>
                </a:lnTo>
                <a:lnTo>
                  <a:pt x="3485921" y="2225764"/>
                </a:lnTo>
                <a:lnTo>
                  <a:pt x="3507181" y="2225764"/>
                </a:lnTo>
                <a:lnTo>
                  <a:pt x="3507181" y="2247024"/>
                </a:lnTo>
                <a:lnTo>
                  <a:pt x="3528441" y="2247024"/>
                </a:lnTo>
                <a:lnTo>
                  <a:pt x="3528441" y="2225764"/>
                </a:lnTo>
                <a:lnTo>
                  <a:pt x="3549701" y="2225764"/>
                </a:lnTo>
                <a:lnTo>
                  <a:pt x="3549701" y="2204504"/>
                </a:lnTo>
                <a:lnTo>
                  <a:pt x="3528441" y="2204504"/>
                </a:lnTo>
                <a:lnTo>
                  <a:pt x="3528441" y="2183244"/>
                </a:lnTo>
                <a:close/>
                <a:moveTo>
                  <a:pt x="3250692" y="3290811"/>
                </a:moveTo>
                <a:lnTo>
                  <a:pt x="3236290" y="3290811"/>
                </a:lnTo>
                <a:lnTo>
                  <a:pt x="3236290" y="3305213"/>
                </a:lnTo>
                <a:lnTo>
                  <a:pt x="3221888" y="3305213"/>
                </a:lnTo>
                <a:lnTo>
                  <a:pt x="3221888" y="3319615"/>
                </a:lnTo>
                <a:lnTo>
                  <a:pt x="3236290" y="3319615"/>
                </a:lnTo>
                <a:lnTo>
                  <a:pt x="3236290" y="3334017"/>
                </a:lnTo>
                <a:lnTo>
                  <a:pt x="3250692" y="3334017"/>
                </a:lnTo>
                <a:lnTo>
                  <a:pt x="3250692" y="3319615"/>
                </a:lnTo>
                <a:lnTo>
                  <a:pt x="3265094" y="3319615"/>
                </a:lnTo>
                <a:lnTo>
                  <a:pt x="3265094" y="3305213"/>
                </a:lnTo>
                <a:lnTo>
                  <a:pt x="3250692" y="3305213"/>
                </a:lnTo>
                <a:lnTo>
                  <a:pt x="3250692" y="3290811"/>
                </a:lnTo>
                <a:close/>
                <a:moveTo>
                  <a:pt x="3524669" y="3017863"/>
                </a:moveTo>
                <a:lnTo>
                  <a:pt x="3510953" y="3017863"/>
                </a:lnTo>
                <a:lnTo>
                  <a:pt x="3510953" y="3031236"/>
                </a:lnTo>
                <a:lnTo>
                  <a:pt x="3497580" y="3031236"/>
                </a:lnTo>
                <a:lnTo>
                  <a:pt x="3497580" y="3044952"/>
                </a:lnTo>
                <a:lnTo>
                  <a:pt x="3510953" y="3044952"/>
                </a:lnTo>
                <a:lnTo>
                  <a:pt x="3510953" y="3058325"/>
                </a:lnTo>
                <a:lnTo>
                  <a:pt x="3524669" y="3058325"/>
                </a:lnTo>
                <a:lnTo>
                  <a:pt x="3524669" y="3044952"/>
                </a:lnTo>
                <a:lnTo>
                  <a:pt x="3538042" y="3044952"/>
                </a:lnTo>
                <a:lnTo>
                  <a:pt x="3538042" y="3031236"/>
                </a:lnTo>
                <a:lnTo>
                  <a:pt x="3524669" y="3031236"/>
                </a:lnTo>
                <a:lnTo>
                  <a:pt x="3524669" y="3017863"/>
                </a:lnTo>
                <a:close/>
                <a:moveTo>
                  <a:pt x="3526384" y="2738057"/>
                </a:moveTo>
                <a:lnTo>
                  <a:pt x="3509239" y="2738057"/>
                </a:lnTo>
                <a:lnTo>
                  <a:pt x="3509239" y="2755202"/>
                </a:lnTo>
                <a:lnTo>
                  <a:pt x="3492094" y="2755202"/>
                </a:lnTo>
                <a:lnTo>
                  <a:pt x="3492094" y="2772347"/>
                </a:lnTo>
                <a:lnTo>
                  <a:pt x="3509239" y="2772347"/>
                </a:lnTo>
                <a:lnTo>
                  <a:pt x="3509239" y="2789492"/>
                </a:lnTo>
                <a:lnTo>
                  <a:pt x="3526384" y="2789492"/>
                </a:lnTo>
                <a:lnTo>
                  <a:pt x="3526384" y="2772347"/>
                </a:lnTo>
                <a:lnTo>
                  <a:pt x="3543529" y="2772347"/>
                </a:lnTo>
                <a:lnTo>
                  <a:pt x="3543529" y="2755202"/>
                </a:lnTo>
                <a:lnTo>
                  <a:pt x="3526384" y="2755202"/>
                </a:lnTo>
                <a:lnTo>
                  <a:pt x="3526384" y="2738057"/>
                </a:lnTo>
                <a:close/>
                <a:moveTo>
                  <a:pt x="3460890" y="2043341"/>
                </a:moveTo>
                <a:lnTo>
                  <a:pt x="3437573" y="2043341"/>
                </a:lnTo>
                <a:lnTo>
                  <a:pt x="3437573" y="2066315"/>
                </a:lnTo>
                <a:lnTo>
                  <a:pt x="3414598" y="2066315"/>
                </a:lnTo>
                <a:lnTo>
                  <a:pt x="3414598" y="2089633"/>
                </a:lnTo>
                <a:lnTo>
                  <a:pt x="3437573" y="2089633"/>
                </a:lnTo>
                <a:lnTo>
                  <a:pt x="3437573" y="2112607"/>
                </a:lnTo>
                <a:lnTo>
                  <a:pt x="3460890" y="2112607"/>
                </a:lnTo>
                <a:lnTo>
                  <a:pt x="3460890" y="2089633"/>
                </a:lnTo>
                <a:lnTo>
                  <a:pt x="3483864" y="2089633"/>
                </a:lnTo>
                <a:lnTo>
                  <a:pt x="3483864" y="2066315"/>
                </a:lnTo>
                <a:lnTo>
                  <a:pt x="3460890" y="2066315"/>
                </a:lnTo>
                <a:lnTo>
                  <a:pt x="3460890" y="2043341"/>
                </a:lnTo>
                <a:close/>
                <a:moveTo>
                  <a:pt x="3254807" y="2729827"/>
                </a:moveTo>
                <a:lnTo>
                  <a:pt x="3232175" y="2729827"/>
                </a:lnTo>
                <a:lnTo>
                  <a:pt x="3232175" y="2752458"/>
                </a:lnTo>
                <a:lnTo>
                  <a:pt x="3209544" y="2752458"/>
                </a:lnTo>
                <a:lnTo>
                  <a:pt x="3209544" y="2775090"/>
                </a:lnTo>
                <a:lnTo>
                  <a:pt x="3232175" y="2775090"/>
                </a:lnTo>
                <a:lnTo>
                  <a:pt x="3232175" y="2797721"/>
                </a:lnTo>
                <a:lnTo>
                  <a:pt x="3254807" y="2797721"/>
                </a:lnTo>
                <a:lnTo>
                  <a:pt x="3254807" y="2775090"/>
                </a:lnTo>
                <a:lnTo>
                  <a:pt x="3277438" y="2775090"/>
                </a:lnTo>
                <a:lnTo>
                  <a:pt x="3277438" y="2752458"/>
                </a:lnTo>
                <a:lnTo>
                  <a:pt x="3254807" y="2752458"/>
                </a:lnTo>
                <a:lnTo>
                  <a:pt x="3254807" y="2729827"/>
                </a:lnTo>
                <a:close/>
                <a:moveTo>
                  <a:pt x="3319958" y="3151937"/>
                </a:moveTo>
                <a:lnTo>
                  <a:pt x="3304184" y="3151937"/>
                </a:lnTo>
                <a:lnTo>
                  <a:pt x="3304184" y="3167367"/>
                </a:lnTo>
                <a:lnTo>
                  <a:pt x="3288754" y="3167367"/>
                </a:lnTo>
                <a:lnTo>
                  <a:pt x="3288754" y="3183141"/>
                </a:lnTo>
                <a:lnTo>
                  <a:pt x="3304184" y="3183141"/>
                </a:lnTo>
                <a:lnTo>
                  <a:pt x="3304184" y="3198571"/>
                </a:lnTo>
                <a:lnTo>
                  <a:pt x="3319958" y="3198571"/>
                </a:lnTo>
                <a:lnTo>
                  <a:pt x="3319958" y="3183141"/>
                </a:lnTo>
                <a:lnTo>
                  <a:pt x="3335389" y="3183141"/>
                </a:lnTo>
                <a:lnTo>
                  <a:pt x="3335389" y="3167367"/>
                </a:lnTo>
                <a:lnTo>
                  <a:pt x="3319958" y="3167367"/>
                </a:lnTo>
                <a:lnTo>
                  <a:pt x="3319958" y="3151937"/>
                </a:lnTo>
                <a:close/>
                <a:moveTo>
                  <a:pt x="3322015" y="2871445"/>
                </a:moveTo>
                <a:lnTo>
                  <a:pt x="3302127" y="2871445"/>
                </a:lnTo>
                <a:lnTo>
                  <a:pt x="3302127" y="2890990"/>
                </a:lnTo>
                <a:lnTo>
                  <a:pt x="3282582" y="2890990"/>
                </a:lnTo>
                <a:lnTo>
                  <a:pt x="3282582" y="2910878"/>
                </a:lnTo>
                <a:lnTo>
                  <a:pt x="3302127" y="2910878"/>
                </a:lnTo>
                <a:lnTo>
                  <a:pt x="3302127" y="2930423"/>
                </a:lnTo>
                <a:lnTo>
                  <a:pt x="3322015" y="2930423"/>
                </a:lnTo>
                <a:lnTo>
                  <a:pt x="3322015" y="2910878"/>
                </a:lnTo>
                <a:lnTo>
                  <a:pt x="3341561" y="2910878"/>
                </a:lnTo>
                <a:lnTo>
                  <a:pt x="3341561" y="2890990"/>
                </a:lnTo>
                <a:lnTo>
                  <a:pt x="3322015" y="2890990"/>
                </a:lnTo>
                <a:lnTo>
                  <a:pt x="3322015" y="2871445"/>
                </a:lnTo>
                <a:close/>
                <a:moveTo>
                  <a:pt x="3253093" y="3009633"/>
                </a:moveTo>
                <a:lnTo>
                  <a:pt x="3233890" y="3009633"/>
                </a:lnTo>
                <a:lnTo>
                  <a:pt x="3233890" y="3028493"/>
                </a:lnTo>
                <a:lnTo>
                  <a:pt x="3215030" y="3028493"/>
                </a:lnTo>
                <a:lnTo>
                  <a:pt x="3215030" y="3047695"/>
                </a:lnTo>
                <a:lnTo>
                  <a:pt x="3233890" y="3047695"/>
                </a:lnTo>
                <a:lnTo>
                  <a:pt x="3233890" y="3066555"/>
                </a:lnTo>
                <a:lnTo>
                  <a:pt x="3253093" y="3066555"/>
                </a:lnTo>
                <a:lnTo>
                  <a:pt x="3253093" y="3047695"/>
                </a:lnTo>
                <a:lnTo>
                  <a:pt x="3271952" y="3047695"/>
                </a:lnTo>
                <a:lnTo>
                  <a:pt x="3271952" y="3028493"/>
                </a:lnTo>
                <a:lnTo>
                  <a:pt x="3253093" y="3028493"/>
                </a:lnTo>
                <a:lnTo>
                  <a:pt x="3253093" y="3009633"/>
                </a:lnTo>
                <a:close/>
                <a:moveTo>
                  <a:pt x="3323387" y="2592667"/>
                </a:moveTo>
                <a:lnTo>
                  <a:pt x="3300755" y="2592667"/>
                </a:lnTo>
                <a:lnTo>
                  <a:pt x="3300755" y="2615298"/>
                </a:lnTo>
                <a:lnTo>
                  <a:pt x="3278124" y="2615298"/>
                </a:lnTo>
                <a:lnTo>
                  <a:pt x="3278124" y="2637930"/>
                </a:lnTo>
                <a:lnTo>
                  <a:pt x="3300755" y="2637930"/>
                </a:lnTo>
                <a:lnTo>
                  <a:pt x="3300755" y="2660561"/>
                </a:lnTo>
                <a:lnTo>
                  <a:pt x="3323387" y="2660561"/>
                </a:lnTo>
                <a:lnTo>
                  <a:pt x="3323387" y="2637930"/>
                </a:lnTo>
                <a:lnTo>
                  <a:pt x="3346018" y="2637930"/>
                </a:lnTo>
                <a:lnTo>
                  <a:pt x="3346018" y="2615298"/>
                </a:lnTo>
                <a:lnTo>
                  <a:pt x="3323387" y="2615298"/>
                </a:lnTo>
                <a:lnTo>
                  <a:pt x="3323387" y="2592667"/>
                </a:lnTo>
                <a:close/>
                <a:moveTo>
                  <a:pt x="3388881" y="3013405"/>
                </a:moveTo>
                <a:lnTo>
                  <a:pt x="3372422" y="3013405"/>
                </a:lnTo>
                <a:lnTo>
                  <a:pt x="3372422" y="3029864"/>
                </a:lnTo>
                <a:lnTo>
                  <a:pt x="3355963" y="3029864"/>
                </a:lnTo>
                <a:lnTo>
                  <a:pt x="3355963" y="3046324"/>
                </a:lnTo>
                <a:lnTo>
                  <a:pt x="3372422" y="3046324"/>
                </a:lnTo>
                <a:lnTo>
                  <a:pt x="3372422" y="3062783"/>
                </a:lnTo>
                <a:lnTo>
                  <a:pt x="3388881" y="3062783"/>
                </a:lnTo>
                <a:lnTo>
                  <a:pt x="3388881" y="3046324"/>
                </a:lnTo>
                <a:lnTo>
                  <a:pt x="3405340" y="3046324"/>
                </a:lnTo>
                <a:lnTo>
                  <a:pt x="3405340" y="3029864"/>
                </a:lnTo>
                <a:lnTo>
                  <a:pt x="3388881" y="3029864"/>
                </a:lnTo>
                <a:lnTo>
                  <a:pt x="3388881" y="3013405"/>
                </a:lnTo>
                <a:close/>
                <a:moveTo>
                  <a:pt x="3391967" y="2455507"/>
                </a:moveTo>
                <a:lnTo>
                  <a:pt x="3369335" y="2455507"/>
                </a:lnTo>
                <a:lnTo>
                  <a:pt x="3369335" y="2478138"/>
                </a:lnTo>
                <a:lnTo>
                  <a:pt x="3346704" y="2478138"/>
                </a:lnTo>
                <a:lnTo>
                  <a:pt x="3346704" y="2500770"/>
                </a:lnTo>
                <a:lnTo>
                  <a:pt x="3369335" y="2500770"/>
                </a:lnTo>
                <a:lnTo>
                  <a:pt x="3369335" y="2523401"/>
                </a:lnTo>
                <a:lnTo>
                  <a:pt x="3391967" y="2523401"/>
                </a:lnTo>
                <a:lnTo>
                  <a:pt x="3391967" y="2500770"/>
                </a:lnTo>
                <a:lnTo>
                  <a:pt x="3414598" y="2500770"/>
                </a:lnTo>
                <a:lnTo>
                  <a:pt x="3414598" y="2478138"/>
                </a:lnTo>
                <a:lnTo>
                  <a:pt x="3391967" y="2478138"/>
                </a:lnTo>
                <a:lnTo>
                  <a:pt x="3391967" y="2455507"/>
                </a:lnTo>
                <a:close/>
                <a:moveTo>
                  <a:pt x="3390595" y="2733599"/>
                </a:moveTo>
                <a:lnTo>
                  <a:pt x="3370707" y="2733599"/>
                </a:lnTo>
                <a:lnTo>
                  <a:pt x="3370707" y="2753830"/>
                </a:lnTo>
                <a:lnTo>
                  <a:pt x="3350476" y="2753830"/>
                </a:lnTo>
                <a:lnTo>
                  <a:pt x="3350476" y="2773718"/>
                </a:lnTo>
                <a:lnTo>
                  <a:pt x="3370707" y="2773718"/>
                </a:lnTo>
                <a:lnTo>
                  <a:pt x="3370707" y="2793949"/>
                </a:lnTo>
                <a:lnTo>
                  <a:pt x="3390595" y="2793949"/>
                </a:lnTo>
                <a:lnTo>
                  <a:pt x="3390595" y="2773718"/>
                </a:lnTo>
                <a:lnTo>
                  <a:pt x="3410827" y="2773718"/>
                </a:lnTo>
                <a:lnTo>
                  <a:pt x="3410827" y="2753830"/>
                </a:lnTo>
                <a:lnTo>
                  <a:pt x="3390595" y="2753830"/>
                </a:lnTo>
                <a:lnTo>
                  <a:pt x="3390595" y="2733599"/>
                </a:lnTo>
                <a:close/>
                <a:moveTo>
                  <a:pt x="3386480" y="3294583"/>
                </a:moveTo>
                <a:lnTo>
                  <a:pt x="3374822" y="3294583"/>
                </a:lnTo>
                <a:lnTo>
                  <a:pt x="3374822" y="3306585"/>
                </a:lnTo>
                <a:lnTo>
                  <a:pt x="3362821" y="3306585"/>
                </a:lnTo>
                <a:lnTo>
                  <a:pt x="3362821" y="3318243"/>
                </a:lnTo>
                <a:lnTo>
                  <a:pt x="3374822" y="3318243"/>
                </a:lnTo>
                <a:lnTo>
                  <a:pt x="3374822" y="3330245"/>
                </a:lnTo>
                <a:lnTo>
                  <a:pt x="3386480" y="3330245"/>
                </a:lnTo>
                <a:lnTo>
                  <a:pt x="3386480" y="3318243"/>
                </a:lnTo>
                <a:lnTo>
                  <a:pt x="3398482" y="3318243"/>
                </a:lnTo>
                <a:lnTo>
                  <a:pt x="3398482" y="3306585"/>
                </a:lnTo>
                <a:lnTo>
                  <a:pt x="3386480" y="3306585"/>
                </a:lnTo>
                <a:lnTo>
                  <a:pt x="3386480" y="3294583"/>
                </a:lnTo>
                <a:close/>
                <a:moveTo>
                  <a:pt x="3527755" y="2459965"/>
                </a:moveTo>
                <a:lnTo>
                  <a:pt x="3507867" y="2459965"/>
                </a:lnTo>
                <a:lnTo>
                  <a:pt x="3507867" y="2479510"/>
                </a:lnTo>
                <a:lnTo>
                  <a:pt x="3488322" y="2479510"/>
                </a:lnTo>
                <a:lnTo>
                  <a:pt x="3488322" y="2499398"/>
                </a:lnTo>
                <a:lnTo>
                  <a:pt x="3507867" y="2499398"/>
                </a:lnTo>
                <a:lnTo>
                  <a:pt x="3507867" y="2518943"/>
                </a:lnTo>
                <a:lnTo>
                  <a:pt x="3527755" y="2518943"/>
                </a:lnTo>
                <a:lnTo>
                  <a:pt x="3527755" y="2499398"/>
                </a:lnTo>
                <a:lnTo>
                  <a:pt x="3547301" y="2499398"/>
                </a:lnTo>
                <a:lnTo>
                  <a:pt x="3547301" y="2479510"/>
                </a:lnTo>
                <a:lnTo>
                  <a:pt x="3527755" y="2479510"/>
                </a:lnTo>
                <a:lnTo>
                  <a:pt x="3527755" y="2459965"/>
                </a:lnTo>
                <a:close/>
                <a:moveTo>
                  <a:pt x="3799675" y="2192846"/>
                </a:moveTo>
                <a:lnTo>
                  <a:pt x="3784588" y="2192846"/>
                </a:lnTo>
                <a:lnTo>
                  <a:pt x="3784588" y="2207590"/>
                </a:lnTo>
                <a:lnTo>
                  <a:pt x="3769843" y="2207590"/>
                </a:lnTo>
                <a:lnTo>
                  <a:pt x="3769843" y="2222678"/>
                </a:lnTo>
                <a:lnTo>
                  <a:pt x="3784588" y="2222678"/>
                </a:lnTo>
                <a:lnTo>
                  <a:pt x="3784588" y="2237423"/>
                </a:lnTo>
                <a:lnTo>
                  <a:pt x="3799675" y="2237423"/>
                </a:lnTo>
                <a:lnTo>
                  <a:pt x="3799675" y="2222678"/>
                </a:lnTo>
                <a:lnTo>
                  <a:pt x="3814420" y="2222678"/>
                </a:lnTo>
                <a:lnTo>
                  <a:pt x="3814420" y="2207590"/>
                </a:lnTo>
                <a:lnTo>
                  <a:pt x="3799675" y="2207590"/>
                </a:lnTo>
                <a:lnTo>
                  <a:pt x="3799675" y="2192846"/>
                </a:lnTo>
                <a:close/>
                <a:moveTo>
                  <a:pt x="3798646" y="2469566"/>
                </a:moveTo>
                <a:lnTo>
                  <a:pt x="3785616" y="2469566"/>
                </a:lnTo>
                <a:lnTo>
                  <a:pt x="3785616" y="2482939"/>
                </a:lnTo>
                <a:lnTo>
                  <a:pt x="3772243" y="2482939"/>
                </a:lnTo>
                <a:lnTo>
                  <a:pt x="3772243" y="2495969"/>
                </a:lnTo>
                <a:lnTo>
                  <a:pt x="3785616" y="2495969"/>
                </a:lnTo>
                <a:lnTo>
                  <a:pt x="3785616" y="2509342"/>
                </a:lnTo>
                <a:lnTo>
                  <a:pt x="3798646" y="2509342"/>
                </a:lnTo>
                <a:lnTo>
                  <a:pt x="3798646" y="2495969"/>
                </a:lnTo>
                <a:lnTo>
                  <a:pt x="3812020" y="2495969"/>
                </a:lnTo>
                <a:lnTo>
                  <a:pt x="3812020" y="2482939"/>
                </a:lnTo>
                <a:lnTo>
                  <a:pt x="3798646" y="2482939"/>
                </a:lnTo>
                <a:lnTo>
                  <a:pt x="3798646" y="2469566"/>
                </a:lnTo>
                <a:close/>
                <a:moveTo>
                  <a:pt x="3799675" y="1917840"/>
                </a:moveTo>
                <a:lnTo>
                  <a:pt x="3784588" y="1917840"/>
                </a:lnTo>
                <a:lnTo>
                  <a:pt x="3784588" y="1933270"/>
                </a:lnTo>
                <a:lnTo>
                  <a:pt x="3769157" y="1933270"/>
                </a:lnTo>
                <a:lnTo>
                  <a:pt x="3769157" y="1948358"/>
                </a:lnTo>
                <a:lnTo>
                  <a:pt x="3784588" y="1948358"/>
                </a:lnTo>
                <a:lnTo>
                  <a:pt x="3784588" y="1963788"/>
                </a:lnTo>
                <a:lnTo>
                  <a:pt x="3799675" y="1963788"/>
                </a:lnTo>
                <a:lnTo>
                  <a:pt x="3799675" y="1948358"/>
                </a:lnTo>
                <a:lnTo>
                  <a:pt x="3815105" y="1948358"/>
                </a:lnTo>
                <a:lnTo>
                  <a:pt x="3815105" y="1933270"/>
                </a:lnTo>
                <a:lnTo>
                  <a:pt x="3799675" y="1933270"/>
                </a:lnTo>
                <a:lnTo>
                  <a:pt x="3799675" y="1917840"/>
                </a:lnTo>
                <a:close/>
                <a:moveTo>
                  <a:pt x="3732124" y="2052599"/>
                </a:moveTo>
                <a:lnTo>
                  <a:pt x="3714979" y="2052599"/>
                </a:lnTo>
                <a:lnTo>
                  <a:pt x="3714979" y="2069402"/>
                </a:lnTo>
                <a:lnTo>
                  <a:pt x="3698177" y="2069402"/>
                </a:lnTo>
                <a:lnTo>
                  <a:pt x="3698177" y="2086547"/>
                </a:lnTo>
                <a:lnTo>
                  <a:pt x="3714979" y="2086547"/>
                </a:lnTo>
                <a:lnTo>
                  <a:pt x="3714979" y="2103349"/>
                </a:lnTo>
                <a:lnTo>
                  <a:pt x="3732124" y="2103349"/>
                </a:lnTo>
                <a:lnTo>
                  <a:pt x="3732124" y="2086547"/>
                </a:lnTo>
                <a:lnTo>
                  <a:pt x="3748926" y="2086547"/>
                </a:lnTo>
                <a:lnTo>
                  <a:pt x="3748926" y="2069402"/>
                </a:lnTo>
                <a:lnTo>
                  <a:pt x="3732124" y="2069402"/>
                </a:lnTo>
                <a:lnTo>
                  <a:pt x="3732124" y="2052599"/>
                </a:lnTo>
                <a:close/>
                <a:moveTo>
                  <a:pt x="3593249" y="2880017"/>
                </a:moveTo>
                <a:lnTo>
                  <a:pt x="3579533" y="2880017"/>
                </a:lnTo>
                <a:lnTo>
                  <a:pt x="3579533" y="2894076"/>
                </a:lnTo>
                <a:lnTo>
                  <a:pt x="3565474" y="2894076"/>
                </a:lnTo>
                <a:lnTo>
                  <a:pt x="3565474" y="2907792"/>
                </a:lnTo>
                <a:lnTo>
                  <a:pt x="3579533" y="2907792"/>
                </a:lnTo>
                <a:lnTo>
                  <a:pt x="3579533" y="2921851"/>
                </a:lnTo>
                <a:lnTo>
                  <a:pt x="3593249" y="2921851"/>
                </a:lnTo>
                <a:lnTo>
                  <a:pt x="3593249" y="2907792"/>
                </a:lnTo>
                <a:lnTo>
                  <a:pt x="3607308" y="2907792"/>
                </a:lnTo>
                <a:lnTo>
                  <a:pt x="3607308" y="2894076"/>
                </a:lnTo>
                <a:lnTo>
                  <a:pt x="3593249" y="2894076"/>
                </a:lnTo>
                <a:lnTo>
                  <a:pt x="3593249" y="2880017"/>
                </a:lnTo>
                <a:close/>
                <a:moveTo>
                  <a:pt x="3732124" y="1778279"/>
                </a:moveTo>
                <a:lnTo>
                  <a:pt x="3714979" y="1778279"/>
                </a:lnTo>
                <a:lnTo>
                  <a:pt x="3714979" y="1795082"/>
                </a:lnTo>
                <a:lnTo>
                  <a:pt x="3698177" y="1795082"/>
                </a:lnTo>
                <a:lnTo>
                  <a:pt x="3698177" y="1812227"/>
                </a:lnTo>
                <a:lnTo>
                  <a:pt x="3714979" y="1812227"/>
                </a:lnTo>
                <a:lnTo>
                  <a:pt x="3714979" y="1829029"/>
                </a:lnTo>
                <a:lnTo>
                  <a:pt x="3732124" y="1829029"/>
                </a:lnTo>
                <a:lnTo>
                  <a:pt x="3732124" y="1812227"/>
                </a:lnTo>
                <a:lnTo>
                  <a:pt x="3748926" y="1812227"/>
                </a:lnTo>
                <a:lnTo>
                  <a:pt x="3748926" y="1795082"/>
                </a:lnTo>
                <a:lnTo>
                  <a:pt x="3732124" y="1795082"/>
                </a:lnTo>
                <a:lnTo>
                  <a:pt x="3732124" y="1778279"/>
                </a:lnTo>
                <a:close/>
                <a:moveTo>
                  <a:pt x="3866884" y="2333435"/>
                </a:moveTo>
                <a:lnTo>
                  <a:pt x="3854539" y="2333435"/>
                </a:lnTo>
                <a:lnTo>
                  <a:pt x="3854539" y="2346122"/>
                </a:lnTo>
                <a:lnTo>
                  <a:pt x="3841852" y="2346122"/>
                </a:lnTo>
                <a:lnTo>
                  <a:pt x="3841852" y="2358466"/>
                </a:lnTo>
                <a:lnTo>
                  <a:pt x="3854539" y="2358466"/>
                </a:lnTo>
                <a:lnTo>
                  <a:pt x="3854539" y="2371154"/>
                </a:lnTo>
                <a:lnTo>
                  <a:pt x="3866884" y="2371154"/>
                </a:lnTo>
                <a:lnTo>
                  <a:pt x="3866884" y="2358466"/>
                </a:lnTo>
                <a:lnTo>
                  <a:pt x="3879571" y="2358466"/>
                </a:lnTo>
                <a:lnTo>
                  <a:pt x="3879571" y="2346122"/>
                </a:lnTo>
                <a:lnTo>
                  <a:pt x="3866884" y="2346122"/>
                </a:lnTo>
                <a:lnTo>
                  <a:pt x="3866884" y="2333435"/>
                </a:lnTo>
                <a:close/>
                <a:moveTo>
                  <a:pt x="3947122" y="1934985"/>
                </a:moveTo>
                <a:lnTo>
                  <a:pt x="3935120" y="1934985"/>
                </a:lnTo>
                <a:lnTo>
                  <a:pt x="3935120" y="1922983"/>
                </a:lnTo>
                <a:lnTo>
                  <a:pt x="3923462" y="1922983"/>
                </a:lnTo>
                <a:lnTo>
                  <a:pt x="3923462" y="1934985"/>
                </a:lnTo>
                <a:lnTo>
                  <a:pt x="3911461" y="1934985"/>
                </a:lnTo>
                <a:lnTo>
                  <a:pt x="3911461" y="1946643"/>
                </a:lnTo>
                <a:lnTo>
                  <a:pt x="3923462" y="1946643"/>
                </a:lnTo>
                <a:lnTo>
                  <a:pt x="3923462" y="1958645"/>
                </a:lnTo>
                <a:lnTo>
                  <a:pt x="3935120" y="1958645"/>
                </a:lnTo>
                <a:lnTo>
                  <a:pt x="3935120" y="1946643"/>
                </a:lnTo>
                <a:lnTo>
                  <a:pt x="3947122" y="1946643"/>
                </a:lnTo>
                <a:cubicBezTo>
                  <a:pt x="3947122" y="1944586"/>
                  <a:pt x="3947122" y="1942871"/>
                  <a:pt x="3947122" y="1940814"/>
                </a:cubicBezTo>
                <a:cubicBezTo>
                  <a:pt x="3947122" y="1938757"/>
                  <a:pt x="3947122" y="1937042"/>
                  <a:pt x="3947122" y="1934985"/>
                </a:cubicBezTo>
                <a:close/>
                <a:moveTo>
                  <a:pt x="3867569" y="1783423"/>
                </a:moveTo>
                <a:lnTo>
                  <a:pt x="3853853" y="1783423"/>
                </a:lnTo>
                <a:lnTo>
                  <a:pt x="3853853" y="1796796"/>
                </a:lnTo>
                <a:lnTo>
                  <a:pt x="3840480" y="1796796"/>
                </a:lnTo>
                <a:lnTo>
                  <a:pt x="3840480" y="1810512"/>
                </a:lnTo>
                <a:lnTo>
                  <a:pt x="3853853" y="1810512"/>
                </a:lnTo>
                <a:lnTo>
                  <a:pt x="3853853" y="1823885"/>
                </a:lnTo>
                <a:lnTo>
                  <a:pt x="3867569" y="1823885"/>
                </a:lnTo>
                <a:lnTo>
                  <a:pt x="3867569" y="1810512"/>
                </a:lnTo>
                <a:lnTo>
                  <a:pt x="3880942" y="1810512"/>
                </a:lnTo>
                <a:lnTo>
                  <a:pt x="3880942" y="1796796"/>
                </a:lnTo>
                <a:lnTo>
                  <a:pt x="3867569" y="1796796"/>
                </a:lnTo>
                <a:lnTo>
                  <a:pt x="3867569" y="1783423"/>
                </a:lnTo>
                <a:close/>
                <a:moveTo>
                  <a:pt x="3867569" y="2057743"/>
                </a:moveTo>
                <a:lnTo>
                  <a:pt x="3853853" y="2057743"/>
                </a:lnTo>
                <a:lnTo>
                  <a:pt x="3853853" y="2071116"/>
                </a:lnTo>
                <a:lnTo>
                  <a:pt x="3840480" y="2071116"/>
                </a:lnTo>
                <a:lnTo>
                  <a:pt x="3840480" y="2084832"/>
                </a:lnTo>
                <a:lnTo>
                  <a:pt x="3853853" y="2084832"/>
                </a:lnTo>
                <a:lnTo>
                  <a:pt x="3853853" y="2098205"/>
                </a:lnTo>
                <a:lnTo>
                  <a:pt x="3867569" y="2098205"/>
                </a:lnTo>
                <a:lnTo>
                  <a:pt x="3867569" y="2084832"/>
                </a:lnTo>
                <a:lnTo>
                  <a:pt x="3880942" y="2084832"/>
                </a:lnTo>
                <a:lnTo>
                  <a:pt x="3880942" y="2071116"/>
                </a:lnTo>
                <a:lnTo>
                  <a:pt x="3867569" y="2071116"/>
                </a:lnTo>
                <a:lnTo>
                  <a:pt x="3867569" y="2057743"/>
                </a:lnTo>
                <a:close/>
                <a:moveTo>
                  <a:pt x="3731438" y="2328634"/>
                </a:moveTo>
                <a:lnTo>
                  <a:pt x="3715664" y="2328634"/>
                </a:lnTo>
                <a:lnTo>
                  <a:pt x="3715664" y="2344407"/>
                </a:lnTo>
                <a:lnTo>
                  <a:pt x="3699891" y="2344407"/>
                </a:lnTo>
                <a:lnTo>
                  <a:pt x="3699891" y="2360181"/>
                </a:lnTo>
                <a:lnTo>
                  <a:pt x="3715664" y="2360181"/>
                </a:lnTo>
                <a:lnTo>
                  <a:pt x="3715664" y="2375954"/>
                </a:lnTo>
                <a:lnTo>
                  <a:pt x="3731438" y="2375954"/>
                </a:lnTo>
                <a:lnTo>
                  <a:pt x="3731438" y="2360181"/>
                </a:lnTo>
                <a:lnTo>
                  <a:pt x="3747211" y="2360181"/>
                </a:lnTo>
                <a:lnTo>
                  <a:pt x="3747211" y="2344407"/>
                </a:lnTo>
                <a:lnTo>
                  <a:pt x="3731438" y="2344407"/>
                </a:lnTo>
                <a:lnTo>
                  <a:pt x="3731438" y="2328634"/>
                </a:lnTo>
                <a:close/>
                <a:moveTo>
                  <a:pt x="3596335" y="1773479"/>
                </a:moveTo>
                <a:lnTo>
                  <a:pt x="3576447" y="1773479"/>
                </a:lnTo>
                <a:lnTo>
                  <a:pt x="3576447" y="1793710"/>
                </a:lnTo>
                <a:lnTo>
                  <a:pt x="3556216" y="1793710"/>
                </a:lnTo>
                <a:lnTo>
                  <a:pt x="3556216" y="1813598"/>
                </a:lnTo>
                <a:lnTo>
                  <a:pt x="3576447" y="1813598"/>
                </a:lnTo>
                <a:lnTo>
                  <a:pt x="3576447" y="1833829"/>
                </a:lnTo>
                <a:lnTo>
                  <a:pt x="3596335" y="1833829"/>
                </a:lnTo>
                <a:lnTo>
                  <a:pt x="3596335" y="1813598"/>
                </a:lnTo>
                <a:lnTo>
                  <a:pt x="3616567" y="1813598"/>
                </a:lnTo>
                <a:lnTo>
                  <a:pt x="3616567" y="1793710"/>
                </a:lnTo>
                <a:lnTo>
                  <a:pt x="3596335" y="1793710"/>
                </a:lnTo>
                <a:lnTo>
                  <a:pt x="3596335" y="1773479"/>
                </a:lnTo>
                <a:close/>
                <a:moveTo>
                  <a:pt x="3595993" y="2323833"/>
                </a:moveTo>
                <a:lnTo>
                  <a:pt x="3576790" y="2323833"/>
                </a:lnTo>
                <a:lnTo>
                  <a:pt x="3576790" y="2342693"/>
                </a:lnTo>
                <a:lnTo>
                  <a:pt x="3557930" y="2342693"/>
                </a:lnTo>
                <a:lnTo>
                  <a:pt x="3557930" y="2361895"/>
                </a:lnTo>
                <a:lnTo>
                  <a:pt x="3576790" y="2361895"/>
                </a:lnTo>
                <a:lnTo>
                  <a:pt x="3576790" y="2380755"/>
                </a:lnTo>
                <a:lnTo>
                  <a:pt x="3595993" y="2380755"/>
                </a:lnTo>
                <a:lnTo>
                  <a:pt x="3595993" y="2361895"/>
                </a:lnTo>
                <a:lnTo>
                  <a:pt x="3614852" y="2361895"/>
                </a:lnTo>
                <a:lnTo>
                  <a:pt x="3614852" y="2342693"/>
                </a:lnTo>
                <a:lnTo>
                  <a:pt x="3595993" y="2342693"/>
                </a:lnTo>
                <a:lnTo>
                  <a:pt x="3595993" y="2323833"/>
                </a:lnTo>
                <a:close/>
                <a:moveTo>
                  <a:pt x="3596335" y="2047799"/>
                </a:moveTo>
                <a:lnTo>
                  <a:pt x="3576447" y="2047799"/>
                </a:lnTo>
                <a:lnTo>
                  <a:pt x="3576447" y="2068030"/>
                </a:lnTo>
                <a:lnTo>
                  <a:pt x="3556216" y="2068030"/>
                </a:lnTo>
                <a:lnTo>
                  <a:pt x="3556216" y="2087918"/>
                </a:lnTo>
                <a:lnTo>
                  <a:pt x="3576447" y="2087918"/>
                </a:lnTo>
                <a:lnTo>
                  <a:pt x="3576447" y="2108149"/>
                </a:lnTo>
                <a:lnTo>
                  <a:pt x="3596335" y="2108149"/>
                </a:lnTo>
                <a:lnTo>
                  <a:pt x="3596335" y="2087918"/>
                </a:lnTo>
                <a:lnTo>
                  <a:pt x="3616567" y="2087918"/>
                </a:lnTo>
                <a:lnTo>
                  <a:pt x="3616567" y="2068030"/>
                </a:lnTo>
                <a:lnTo>
                  <a:pt x="3596335" y="2068030"/>
                </a:lnTo>
                <a:lnTo>
                  <a:pt x="3596335" y="2047799"/>
                </a:lnTo>
                <a:close/>
                <a:moveTo>
                  <a:pt x="3730409" y="2606040"/>
                </a:moveTo>
                <a:lnTo>
                  <a:pt x="3716693" y="2606040"/>
                </a:lnTo>
                <a:lnTo>
                  <a:pt x="3716693" y="2619756"/>
                </a:lnTo>
                <a:lnTo>
                  <a:pt x="3702977" y="2619756"/>
                </a:lnTo>
                <a:lnTo>
                  <a:pt x="3702977" y="2633472"/>
                </a:lnTo>
                <a:lnTo>
                  <a:pt x="3716693" y="2633472"/>
                </a:lnTo>
                <a:lnTo>
                  <a:pt x="3716693" y="2647188"/>
                </a:lnTo>
                <a:lnTo>
                  <a:pt x="3730409" y="2647188"/>
                </a:lnTo>
                <a:lnTo>
                  <a:pt x="3730409" y="2633472"/>
                </a:lnTo>
                <a:lnTo>
                  <a:pt x="3744125" y="2633472"/>
                </a:lnTo>
                <a:lnTo>
                  <a:pt x="3744125" y="2619756"/>
                </a:lnTo>
                <a:lnTo>
                  <a:pt x="3730409" y="2619756"/>
                </a:lnTo>
                <a:lnTo>
                  <a:pt x="3730409" y="2606040"/>
                </a:lnTo>
                <a:close/>
                <a:moveTo>
                  <a:pt x="3594964" y="2600897"/>
                </a:moveTo>
                <a:lnTo>
                  <a:pt x="3577819" y="2600897"/>
                </a:lnTo>
                <a:lnTo>
                  <a:pt x="3577819" y="2618042"/>
                </a:lnTo>
                <a:lnTo>
                  <a:pt x="3560674" y="2618042"/>
                </a:lnTo>
                <a:lnTo>
                  <a:pt x="3560674" y="2635187"/>
                </a:lnTo>
                <a:lnTo>
                  <a:pt x="3577819" y="2635187"/>
                </a:lnTo>
                <a:lnTo>
                  <a:pt x="3577819" y="2652332"/>
                </a:lnTo>
                <a:lnTo>
                  <a:pt x="3594964" y="2652332"/>
                </a:lnTo>
                <a:lnTo>
                  <a:pt x="3594964" y="2635187"/>
                </a:lnTo>
                <a:lnTo>
                  <a:pt x="3612109" y="2635187"/>
                </a:lnTo>
                <a:lnTo>
                  <a:pt x="3612109" y="2618042"/>
                </a:lnTo>
                <a:lnTo>
                  <a:pt x="3594964" y="2618042"/>
                </a:lnTo>
                <a:lnTo>
                  <a:pt x="3594964" y="2600897"/>
                </a:lnTo>
                <a:close/>
                <a:moveTo>
                  <a:pt x="3664229" y="1913039"/>
                </a:moveTo>
                <a:lnTo>
                  <a:pt x="3645713" y="1913039"/>
                </a:lnTo>
                <a:lnTo>
                  <a:pt x="3645713" y="1931556"/>
                </a:lnTo>
                <a:lnTo>
                  <a:pt x="3627196" y="1931556"/>
                </a:lnTo>
                <a:lnTo>
                  <a:pt x="3627196" y="1950072"/>
                </a:lnTo>
                <a:lnTo>
                  <a:pt x="3645713" y="1950072"/>
                </a:lnTo>
                <a:lnTo>
                  <a:pt x="3645713" y="1968589"/>
                </a:lnTo>
                <a:lnTo>
                  <a:pt x="3664229" y="1968589"/>
                </a:lnTo>
                <a:lnTo>
                  <a:pt x="3664229" y="1950072"/>
                </a:lnTo>
                <a:lnTo>
                  <a:pt x="3682746" y="1950072"/>
                </a:lnTo>
                <a:lnTo>
                  <a:pt x="3682746" y="1931556"/>
                </a:lnTo>
                <a:lnTo>
                  <a:pt x="3664229" y="1931556"/>
                </a:lnTo>
                <a:lnTo>
                  <a:pt x="3664229" y="1913039"/>
                </a:lnTo>
                <a:close/>
                <a:moveTo>
                  <a:pt x="3663887" y="2188045"/>
                </a:moveTo>
                <a:lnTo>
                  <a:pt x="3646056" y="2188045"/>
                </a:lnTo>
                <a:lnTo>
                  <a:pt x="3646056" y="2206219"/>
                </a:lnTo>
                <a:lnTo>
                  <a:pt x="3627882" y="2206219"/>
                </a:lnTo>
                <a:lnTo>
                  <a:pt x="3627882" y="2224049"/>
                </a:lnTo>
                <a:lnTo>
                  <a:pt x="3646056" y="2224049"/>
                </a:lnTo>
                <a:lnTo>
                  <a:pt x="3646056" y="2242223"/>
                </a:lnTo>
                <a:lnTo>
                  <a:pt x="3663887" y="2242223"/>
                </a:lnTo>
                <a:lnTo>
                  <a:pt x="3663887" y="2224049"/>
                </a:lnTo>
                <a:lnTo>
                  <a:pt x="3682060" y="2224049"/>
                </a:lnTo>
                <a:lnTo>
                  <a:pt x="3682060" y="2206219"/>
                </a:lnTo>
                <a:lnTo>
                  <a:pt x="3663887" y="2206219"/>
                </a:lnTo>
                <a:lnTo>
                  <a:pt x="3663887" y="2188045"/>
                </a:lnTo>
                <a:close/>
                <a:moveTo>
                  <a:pt x="3661829" y="2742857"/>
                </a:moveTo>
                <a:lnTo>
                  <a:pt x="3648113" y="2742857"/>
                </a:lnTo>
                <a:lnTo>
                  <a:pt x="3648113" y="2756916"/>
                </a:lnTo>
                <a:lnTo>
                  <a:pt x="3634054" y="2756916"/>
                </a:lnTo>
                <a:lnTo>
                  <a:pt x="3634054" y="2770632"/>
                </a:lnTo>
                <a:lnTo>
                  <a:pt x="3648113" y="2770632"/>
                </a:lnTo>
                <a:lnTo>
                  <a:pt x="3648113" y="2784691"/>
                </a:lnTo>
                <a:lnTo>
                  <a:pt x="3661829" y="2784691"/>
                </a:lnTo>
                <a:lnTo>
                  <a:pt x="3661829" y="2770632"/>
                </a:lnTo>
                <a:lnTo>
                  <a:pt x="3675888" y="2770632"/>
                </a:lnTo>
                <a:lnTo>
                  <a:pt x="3675888" y="2756916"/>
                </a:lnTo>
                <a:lnTo>
                  <a:pt x="3661829" y="2756916"/>
                </a:lnTo>
                <a:lnTo>
                  <a:pt x="3661829" y="2742857"/>
                </a:lnTo>
                <a:close/>
                <a:moveTo>
                  <a:pt x="3663201" y="2464422"/>
                </a:moveTo>
                <a:lnTo>
                  <a:pt x="3646742" y="2464422"/>
                </a:lnTo>
                <a:lnTo>
                  <a:pt x="3646742" y="2481224"/>
                </a:lnTo>
                <a:lnTo>
                  <a:pt x="3629939" y="2481224"/>
                </a:lnTo>
                <a:lnTo>
                  <a:pt x="3629939" y="2497684"/>
                </a:lnTo>
                <a:lnTo>
                  <a:pt x="3646742" y="2497684"/>
                </a:lnTo>
                <a:lnTo>
                  <a:pt x="3646742" y="2514486"/>
                </a:lnTo>
                <a:lnTo>
                  <a:pt x="3663201" y="2514486"/>
                </a:lnTo>
                <a:lnTo>
                  <a:pt x="3663201" y="2497684"/>
                </a:lnTo>
                <a:lnTo>
                  <a:pt x="3680003" y="2497684"/>
                </a:lnTo>
                <a:lnTo>
                  <a:pt x="3680003" y="2481224"/>
                </a:lnTo>
                <a:lnTo>
                  <a:pt x="3663201" y="2481224"/>
                </a:lnTo>
                <a:lnTo>
                  <a:pt x="3663201" y="2464422"/>
                </a:lnTo>
                <a:close/>
                <a:moveTo>
                  <a:pt x="3528784" y="1907896"/>
                </a:moveTo>
                <a:lnTo>
                  <a:pt x="3506839" y="1907896"/>
                </a:lnTo>
                <a:lnTo>
                  <a:pt x="3506839" y="1929841"/>
                </a:lnTo>
                <a:lnTo>
                  <a:pt x="3484893" y="1929841"/>
                </a:lnTo>
                <a:lnTo>
                  <a:pt x="3484893" y="1951787"/>
                </a:lnTo>
                <a:lnTo>
                  <a:pt x="3506839" y="1951787"/>
                </a:lnTo>
                <a:lnTo>
                  <a:pt x="3506839" y="1973732"/>
                </a:lnTo>
                <a:lnTo>
                  <a:pt x="3528784" y="1973732"/>
                </a:lnTo>
                <a:lnTo>
                  <a:pt x="3528784" y="1951787"/>
                </a:lnTo>
                <a:lnTo>
                  <a:pt x="3550730" y="1951787"/>
                </a:lnTo>
                <a:lnTo>
                  <a:pt x="3550730" y="1929841"/>
                </a:lnTo>
                <a:lnTo>
                  <a:pt x="3528784" y="1929841"/>
                </a:lnTo>
                <a:lnTo>
                  <a:pt x="3528784" y="1907896"/>
                </a:lnTo>
                <a:close/>
                <a:moveTo>
                  <a:pt x="2362924" y="3416313"/>
                </a:moveTo>
                <a:lnTo>
                  <a:pt x="2340979" y="3416313"/>
                </a:lnTo>
                <a:lnTo>
                  <a:pt x="2340979" y="3438601"/>
                </a:lnTo>
                <a:lnTo>
                  <a:pt x="2318690" y="3438601"/>
                </a:lnTo>
                <a:lnTo>
                  <a:pt x="2318690" y="3460547"/>
                </a:lnTo>
                <a:lnTo>
                  <a:pt x="2340979" y="3460547"/>
                </a:lnTo>
                <a:lnTo>
                  <a:pt x="2340979" y="3482835"/>
                </a:lnTo>
                <a:lnTo>
                  <a:pt x="2362924" y="3482835"/>
                </a:lnTo>
                <a:lnTo>
                  <a:pt x="2362924" y="3460547"/>
                </a:lnTo>
                <a:lnTo>
                  <a:pt x="2385212" y="3460547"/>
                </a:lnTo>
                <a:lnTo>
                  <a:pt x="2385212" y="3438601"/>
                </a:lnTo>
                <a:lnTo>
                  <a:pt x="2362924" y="3438601"/>
                </a:lnTo>
                <a:lnTo>
                  <a:pt x="2362924" y="3416313"/>
                </a:lnTo>
                <a:close/>
                <a:moveTo>
                  <a:pt x="2426704" y="3842880"/>
                </a:moveTo>
                <a:lnTo>
                  <a:pt x="2414359" y="3842880"/>
                </a:lnTo>
                <a:lnTo>
                  <a:pt x="2414359" y="3854882"/>
                </a:lnTo>
                <a:lnTo>
                  <a:pt x="2402357" y="3854882"/>
                </a:lnTo>
                <a:lnTo>
                  <a:pt x="2402357" y="3867226"/>
                </a:lnTo>
                <a:lnTo>
                  <a:pt x="2414359" y="3867226"/>
                </a:lnTo>
                <a:lnTo>
                  <a:pt x="2414359" y="3879228"/>
                </a:lnTo>
                <a:lnTo>
                  <a:pt x="2426704" y="3879228"/>
                </a:lnTo>
                <a:lnTo>
                  <a:pt x="2426704" y="3867226"/>
                </a:lnTo>
                <a:lnTo>
                  <a:pt x="2438705" y="3867226"/>
                </a:lnTo>
                <a:lnTo>
                  <a:pt x="2438705" y="3854882"/>
                </a:lnTo>
                <a:lnTo>
                  <a:pt x="2426704" y="3854882"/>
                </a:lnTo>
                <a:lnTo>
                  <a:pt x="2426704" y="3842880"/>
                </a:lnTo>
                <a:close/>
                <a:moveTo>
                  <a:pt x="2289886" y="3841852"/>
                </a:moveTo>
                <a:lnTo>
                  <a:pt x="2276856" y="3841852"/>
                </a:lnTo>
                <a:lnTo>
                  <a:pt x="2276856" y="3854539"/>
                </a:lnTo>
                <a:lnTo>
                  <a:pt x="2264169" y="3854539"/>
                </a:lnTo>
                <a:lnTo>
                  <a:pt x="2264169" y="3867569"/>
                </a:lnTo>
                <a:lnTo>
                  <a:pt x="2276856" y="3867569"/>
                </a:lnTo>
                <a:lnTo>
                  <a:pt x="2276856" y="3880256"/>
                </a:lnTo>
                <a:lnTo>
                  <a:pt x="2289886" y="3880256"/>
                </a:lnTo>
                <a:lnTo>
                  <a:pt x="2289886" y="3867569"/>
                </a:lnTo>
                <a:lnTo>
                  <a:pt x="2302574" y="3867569"/>
                </a:lnTo>
                <a:lnTo>
                  <a:pt x="2302574" y="3854539"/>
                </a:lnTo>
                <a:lnTo>
                  <a:pt x="2289886" y="3854539"/>
                </a:lnTo>
                <a:lnTo>
                  <a:pt x="2289886" y="3841852"/>
                </a:lnTo>
                <a:close/>
                <a:moveTo>
                  <a:pt x="3185884" y="2867673"/>
                </a:moveTo>
                <a:lnTo>
                  <a:pt x="3163939" y="2867673"/>
                </a:lnTo>
                <a:lnTo>
                  <a:pt x="3163939" y="2889961"/>
                </a:lnTo>
                <a:lnTo>
                  <a:pt x="3141650" y="2889961"/>
                </a:lnTo>
                <a:lnTo>
                  <a:pt x="3141650" y="2911907"/>
                </a:lnTo>
                <a:lnTo>
                  <a:pt x="3163939" y="2911907"/>
                </a:lnTo>
                <a:lnTo>
                  <a:pt x="3163939" y="2934195"/>
                </a:lnTo>
                <a:lnTo>
                  <a:pt x="3185884" y="2934195"/>
                </a:lnTo>
                <a:lnTo>
                  <a:pt x="3185884" y="2911907"/>
                </a:lnTo>
                <a:lnTo>
                  <a:pt x="3208172" y="2911907"/>
                </a:lnTo>
                <a:lnTo>
                  <a:pt x="3208172" y="2889961"/>
                </a:lnTo>
                <a:lnTo>
                  <a:pt x="3185884" y="2889961"/>
                </a:lnTo>
                <a:lnTo>
                  <a:pt x="3185884" y="2867673"/>
                </a:lnTo>
                <a:close/>
                <a:moveTo>
                  <a:pt x="2359838" y="3700234"/>
                </a:moveTo>
                <a:lnTo>
                  <a:pt x="2344064" y="3700234"/>
                </a:lnTo>
                <a:lnTo>
                  <a:pt x="2344064" y="3716007"/>
                </a:lnTo>
                <a:lnTo>
                  <a:pt x="2328291" y="3716007"/>
                </a:lnTo>
                <a:lnTo>
                  <a:pt x="2328291" y="3731781"/>
                </a:lnTo>
                <a:lnTo>
                  <a:pt x="2344064" y="3731781"/>
                </a:lnTo>
                <a:lnTo>
                  <a:pt x="2344064" y="3747554"/>
                </a:lnTo>
                <a:lnTo>
                  <a:pt x="2359838" y="3747554"/>
                </a:lnTo>
                <a:lnTo>
                  <a:pt x="2359838" y="3731781"/>
                </a:lnTo>
                <a:lnTo>
                  <a:pt x="2375611" y="3731781"/>
                </a:lnTo>
                <a:lnTo>
                  <a:pt x="2375611" y="3716007"/>
                </a:lnTo>
                <a:lnTo>
                  <a:pt x="2359838" y="3716007"/>
                </a:lnTo>
                <a:lnTo>
                  <a:pt x="2359838" y="3700234"/>
                </a:lnTo>
                <a:close/>
                <a:moveTo>
                  <a:pt x="2292973" y="3557588"/>
                </a:moveTo>
                <a:lnTo>
                  <a:pt x="2273770" y="3557588"/>
                </a:lnTo>
                <a:lnTo>
                  <a:pt x="2273770" y="3577133"/>
                </a:lnTo>
                <a:lnTo>
                  <a:pt x="2254225" y="3577133"/>
                </a:lnTo>
                <a:lnTo>
                  <a:pt x="2254225" y="3596335"/>
                </a:lnTo>
                <a:lnTo>
                  <a:pt x="2273770" y="3596335"/>
                </a:lnTo>
                <a:lnTo>
                  <a:pt x="2273770" y="3615881"/>
                </a:lnTo>
                <a:lnTo>
                  <a:pt x="2292973" y="3615881"/>
                </a:lnTo>
                <a:lnTo>
                  <a:pt x="2292973" y="3596335"/>
                </a:lnTo>
                <a:lnTo>
                  <a:pt x="2312518" y="3596335"/>
                </a:lnTo>
                <a:lnTo>
                  <a:pt x="2312518" y="3577133"/>
                </a:lnTo>
                <a:lnTo>
                  <a:pt x="2292973" y="3577133"/>
                </a:lnTo>
                <a:lnTo>
                  <a:pt x="2292973" y="3557588"/>
                </a:lnTo>
                <a:close/>
                <a:moveTo>
                  <a:pt x="2566607" y="3560331"/>
                </a:moveTo>
                <a:lnTo>
                  <a:pt x="2548776" y="3560331"/>
                </a:lnTo>
                <a:lnTo>
                  <a:pt x="2548776" y="3577819"/>
                </a:lnTo>
                <a:lnTo>
                  <a:pt x="2531288" y="3577819"/>
                </a:lnTo>
                <a:lnTo>
                  <a:pt x="2531288" y="3595649"/>
                </a:lnTo>
                <a:lnTo>
                  <a:pt x="2548776" y="3595649"/>
                </a:lnTo>
                <a:lnTo>
                  <a:pt x="2548776" y="3613137"/>
                </a:lnTo>
                <a:lnTo>
                  <a:pt x="2566607" y="3613137"/>
                </a:lnTo>
                <a:lnTo>
                  <a:pt x="2566607" y="3595649"/>
                </a:lnTo>
                <a:lnTo>
                  <a:pt x="2584094" y="3595649"/>
                </a:lnTo>
                <a:lnTo>
                  <a:pt x="2584094" y="3577819"/>
                </a:lnTo>
                <a:lnTo>
                  <a:pt x="2566607" y="3577819"/>
                </a:lnTo>
                <a:lnTo>
                  <a:pt x="2566607" y="3560331"/>
                </a:lnTo>
                <a:close/>
                <a:moveTo>
                  <a:pt x="2569350" y="3277438"/>
                </a:moveTo>
                <a:lnTo>
                  <a:pt x="2546033" y="3277438"/>
                </a:lnTo>
                <a:lnTo>
                  <a:pt x="2546033" y="3300755"/>
                </a:lnTo>
                <a:lnTo>
                  <a:pt x="2522716" y="3300755"/>
                </a:lnTo>
                <a:lnTo>
                  <a:pt x="2522716" y="3324073"/>
                </a:lnTo>
                <a:lnTo>
                  <a:pt x="2546033" y="3324073"/>
                </a:lnTo>
                <a:lnTo>
                  <a:pt x="2546033" y="3347390"/>
                </a:lnTo>
                <a:lnTo>
                  <a:pt x="2569350" y="3347390"/>
                </a:lnTo>
                <a:lnTo>
                  <a:pt x="2569350" y="3324073"/>
                </a:lnTo>
                <a:lnTo>
                  <a:pt x="2592667" y="3324073"/>
                </a:lnTo>
                <a:lnTo>
                  <a:pt x="2592667" y="3300755"/>
                </a:lnTo>
                <a:lnTo>
                  <a:pt x="2569350" y="3300755"/>
                </a:lnTo>
                <a:lnTo>
                  <a:pt x="2569350" y="3277438"/>
                </a:lnTo>
                <a:close/>
                <a:moveTo>
                  <a:pt x="2496655" y="3701263"/>
                </a:moveTo>
                <a:lnTo>
                  <a:pt x="2481568" y="3701263"/>
                </a:lnTo>
                <a:lnTo>
                  <a:pt x="2481568" y="3716350"/>
                </a:lnTo>
                <a:lnTo>
                  <a:pt x="2466480" y="3716350"/>
                </a:lnTo>
                <a:lnTo>
                  <a:pt x="2466480" y="3731438"/>
                </a:lnTo>
                <a:lnTo>
                  <a:pt x="2481568" y="3731438"/>
                </a:lnTo>
                <a:lnTo>
                  <a:pt x="2481568" y="3746525"/>
                </a:lnTo>
                <a:lnTo>
                  <a:pt x="2496655" y="3746525"/>
                </a:lnTo>
                <a:lnTo>
                  <a:pt x="2496655" y="3731438"/>
                </a:lnTo>
                <a:lnTo>
                  <a:pt x="2511743" y="3731438"/>
                </a:lnTo>
                <a:lnTo>
                  <a:pt x="2511743" y="3716350"/>
                </a:lnTo>
                <a:lnTo>
                  <a:pt x="2496655" y="3716350"/>
                </a:lnTo>
                <a:lnTo>
                  <a:pt x="2496655" y="3701263"/>
                </a:lnTo>
                <a:close/>
                <a:moveTo>
                  <a:pt x="2499741" y="3417684"/>
                </a:moveTo>
                <a:lnTo>
                  <a:pt x="2478481" y="3417684"/>
                </a:lnTo>
                <a:lnTo>
                  <a:pt x="2478481" y="3438944"/>
                </a:lnTo>
                <a:lnTo>
                  <a:pt x="2457221" y="3438944"/>
                </a:lnTo>
                <a:lnTo>
                  <a:pt x="2457221" y="3460204"/>
                </a:lnTo>
                <a:lnTo>
                  <a:pt x="2478481" y="3460204"/>
                </a:lnTo>
                <a:lnTo>
                  <a:pt x="2478481" y="3481464"/>
                </a:lnTo>
                <a:lnTo>
                  <a:pt x="2499741" y="3481464"/>
                </a:lnTo>
                <a:lnTo>
                  <a:pt x="2499741" y="3460204"/>
                </a:lnTo>
                <a:lnTo>
                  <a:pt x="2521001" y="3460204"/>
                </a:lnTo>
                <a:lnTo>
                  <a:pt x="2521001" y="3438944"/>
                </a:lnTo>
                <a:lnTo>
                  <a:pt x="2499741" y="3438944"/>
                </a:lnTo>
                <a:lnTo>
                  <a:pt x="2499741" y="3417684"/>
                </a:lnTo>
                <a:close/>
                <a:moveTo>
                  <a:pt x="1952130" y="3414598"/>
                </a:moveTo>
                <a:lnTo>
                  <a:pt x="1928812" y="3414598"/>
                </a:lnTo>
                <a:lnTo>
                  <a:pt x="1928812" y="3437915"/>
                </a:lnTo>
                <a:lnTo>
                  <a:pt x="1905495" y="3437915"/>
                </a:lnTo>
                <a:lnTo>
                  <a:pt x="1905495" y="3461233"/>
                </a:lnTo>
                <a:lnTo>
                  <a:pt x="1928812" y="3461233"/>
                </a:lnTo>
                <a:lnTo>
                  <a:pt x="1928812" y="3484550"/>
                </a:lnTo>
                <a:lnTo>
                  <a:pt x="1952130" y="3484550"/>
                </a:lnTo>
                <a:lnTo>
                  <a:pt x="1952130" y="3461233"/>
                </a:lnTo>
                <a:lnTo>
                  <a:pt x="1975447" y="3461233"/>
                </a:lnTo>
                <a:lnTo>
                  <a:pt x="1975447" y="3437915"/>
                </a:lnTo>
                <a:lnTo>
                  <a:pt x="1952130" y="3437915"/>
                </a:lnTo>
                <a:lnTo>
                  <a:pt x="1952130" y="3414598"/>
                </a:lnTo>
                <a:close/>
                <a:moveTo>
                  <a:pt x="2019338" y="3556216"/>
                </a:moveTo>
                <a:lnTo>
                  <a:pt x="1998764" y="3556216"/>
                </a:lnTo>
                <a:lnTo>
                  <a:pt x="1998764" y="3576447"/>
                </a:lnTo>
                <a:lnTo>
                  <a:pt x="1978533" y="3576447"/>
                </a:lnTo>
                <a:lnTo>
                  <a:pt x="1978533" y="3597021"/>
                </a:lnTo>
                <a:lnTo>
                  <a:pt x="1998764" y="3597021"/>
                </a:lnTo>
                <a:lnTo>
                  <a:pt x="1998764" y="3617252"/>
                </a:lnTo>
                <a:lnTo>
                  <a:pt x="2019338" y="3617252"/>
                </a:lnTo>
                <a:lnTo>
                  <a:pt x="2019338" y="3597021"/>
                </a:lnTo>
                <a:lnTo>
                  <a:pt x="2039569" y="3597021"/>
                </a:lnTo>
                <a:lnTo>
                  <a:pt x="2039569" y="3576447"/>
                </a:lnTo>
                <a:lnTo>
                  <a:pt x="2019338" y="3576447"/>
                </a:lnTo>
                <a:lnTo>
                  <a:pt x="2019338" y="3556216"/>
                </a:lnTo>
                <a:close/>
                <a:moveTo>
                  <a:pt x="2015909" y="3840823"/>
                </a:moveTo>
                <a:lnTo>
                  <a:pt x="2002193" y="3840823"/>
                </a:lnTo>
                <a:lnTo>
                  <a:pt x="2002193" y="3854196"/>
                </a:lnTo>
                <a:lnTo>
                  <a:pt x="1988820" y="3854196"/>
                </a:lnTo>
                <a:lnTo>
                  <a:pt x="1988820" y="3867912"/>
                </a:lnTo>
                <a:lnTo>
                  <a:pt x="2002193" y="3867912"/>
                </a:lnTo>
                <a:lnTo>
                  <a:pt x="2002193" y="3881285"/>
                </a:lnTo>
                <a:lnTo>
                  <a:pt x="2015909" y="3881285"/>
                </a:lnTo>
                <a:lnTo>
                  <a:pt x="2015909" y="3867912"/>
                </a:lnTo>
                <a:lnTo>
                  <a:pt x="2029282" y="3867912"/>
                </a:lnTo>
                <a:lnTo>
                  <a:pt x="2029282" y="3854196"/>
                </a:lnTo>
                <a:lnTo>
                  <a:pt x="2015909" y="3854196"/>
                </a:lnTo>
                <a:lnTo>
                  <a:pt x="2015909" y="3840823"/>
                </a:lnTo>
                <a:close/>
                <a:moveTo>
                  <a:pt x="2086204" y="3698519"/>
                </a:moveTo>
                <a:lnTo>
                  <a:pt x="2069059" y="3698519"/>
                </a:lnTo>
                <a:lnTo>
                  <a:pt x="2069059" y="3715322"/>
                </a:lnTo>
                <a:lnTo>
                  <a:pt x="2052256" y="3715322"/>
                </a:lnTo>
                <a:lnTo>
                  <a:pt x="2052256" y="3732467"/>
                </a:lnTo>
                <a:lnTo>
                  <a:pt x="2069059" y="3732467"/>
                </a:lnTo>
                <a:lnTo>
                  <a:pt x="2069059" y="3749269"/>
                </a:lnTo>
                <a:lnTo>
                  <a:pt x="2086204" y="3749269"/>
                </a:lnTo>
                <a:lnTo>
                  <a:pt x="2086204" y="3732467"/>
                </a:lnTo>
                <a:lnTo>
                  <a:pt x="2103006" y="3732467"/>
                </a:lnTo>
                <a:lnTo>
                  <a:pt x="2103006" y="3715322"/>
                </a:lnTo>
                <a:lnTo>
                  <a:pt x="2086204" y="3715322"/>
                </a:lnTo>
                <a:lnTo>
                  <a:pt x="2086204" y="3698519"/>
                </a:lnTo>
                <a:close/>
                <a:moveTo>
                  <a:pt x="2633129" y="3703320"/>
                </a:moveTo>
                <a:lnTo>
                  <a:pt x="2619413" y="3703320"/>
                </a:lnTo>
                <a:lnTo>
                  <a:pt x="2619413" y="3717036"/>
                </a:lnTo>
                <a:lnTo>
                  <a:pt x="2605697" y="3717036"/>
                </a:lnTo>
                <a:lnTo>
                  <a:pt x="2605697" y="3730752"/>
                </a:lnTo>
                <a:lnTo>
                  <a:pt x="2619413" y="3730752"/>
                </a:lnTo>
                <a:lnTo>
                  <a:pt x="2619413" y="3744468"/>
                </a:lnTo>
                <a:lnTo>
                  <a:pt x="2633129" y="3744468"/>
                </a:lnTo>
                <a:lnTo>
                  <a:pt x="2633129" y="3730752"/>
                </a:lnTo>
                <a:lnTo>
                  <a:pt x="2646845" y="3730752"/>
                </a:lnTo>
                <a:lnTo>
                  <a:pt x="2646845" y="3717036"/>
                </a:lnTo>
                <a:lnTo>
                  <a:pt x="2633129" y="3717036"/>
                </a:lnTo>
                <a:lnTo>
                  <a:pt x="2633129" y="3703320"/>
                </a:lnTo>
                <a:close/>
                <a:moveTo>
                  <a:pt x="2156155" y="3556559"/>
                </a:moveTo>
                <a:lnTo>
                  <a:pt x="2136267" y="3556559"/>
                </a:lnTo>
                <a:lnTo>
                  <a:pt x="2136267" y="3576790"/>
                </a:lnTo>
                <a:lnTo>
                  <a:pt x="2116036" y="3576790"/>
                </a:lnTo>
                <a:lnTo>
                  <a:pt x="2116036" y="3596678"/>
                </a:lnTo>
                <a:lnTo>
                  <a:pt x="2136267" y="3596678"/>
                </a:lnTo>
                <a:lnTo>
                  <a:pt x="2136267" y="3616909"/>
                </a:lnTo>
                <a:lnTo>
                  <a:pt x="2156155" y="3616909"/>
                </a:lnTo>
                <a:lnTo>
                  <a:pt x="2156155" y="3596678"/>
                </a:lnTo>
                <a:lnTo>
                  <a:pt x="2176387" y="3596678"/>
                </a:lnTo>
                <a:lnTo>
                  <a:pt x="2176387" y="3576790"/>
                </a:lnTo>
                <a:lnTo>
                  <a:pt x="2156155" y="3576790"/>
                </a:lnTo>
                <a:lnTo>
                  <a:pt x="2156155" y="3556559"/>
                </a:lnTo>
                <a:close/>
                <a:moveTo>
                  <a:pt x="2223021" y="3699205"/>
                </a:moveTo>
                <a:lnTo>
                  <a:pt x="2206562" y="3699205"/>
                </a:lnTo>
                <a:lnTo>
                  <a:pt x="2206562" y="3715664"/>
                </a:lnTo>
                <a:lnTo>
                  <a:pt x="2190103" y="3715664"/>
                </a:lnTo>
                <a:lnTo>
                  <a:pt x="2190103" y="3732124"/>
                </a:lnTo>
                <a:lnTo>
                  <a:pt x="2206562" y="3732124"/>
                </a:lnTo>
                <a:lnTo>
                  <a:pt x="2206562" y="3748583"/>
                </a:lnTo>
                <a:lnTo>
                  <a:pt x="2223021" y="3748583"/>
                </a:lnTo>
                <a:lnTo>
                  <a:pt x="2223021" y="3732124"/>
                </a:lnTo>
                <a:lnTo>
                  <a:pt x="2239480" y="3732124"/>
                </a:lnTo>
                <a:lnTo>
                  <a:pt x="2239480" y="3715664"/>
                </a:lnTo>
                <a:lnTo>
                  <a:pt x="2223021" y="3715664"/>
                </a:lnTo>
                <a:lnTo>
                  <a:pt x="2223021" y="3699205"/>
                </a:lnTo>
                <a:close/>
                <a:moveTo>
                  <a:pt x="2089290" y="3414598"/>
                </a:moveTo>
                <a:lnTo>
                  <a:pt x="2065972" y="3414598"/>
                </a:lnTo>
                <a:lnTo>
                  <a:pt x="2065972" y="3437915"/>
                </a:lnTo>
                <a:lnTo>
                  <a:pt x="2042656" y="3437915"/>
                </a:lnTo>
                <a:lnTo>
                  <a:pt x="2042656" y="3461233"/>
                </a:lnTo>
                <a:lnTo>
                  <a:pt x="2065972" y="3461233"/>
                </a:lnTo>
                <a:lnTo>
                  <a:pt x="2065972" y="3484550"/>
                </a:lnTo>
                <a:lnTo>
                  <a:pt x="2089290" y="3484550"/>
                </a:lnTo>
                <a:lnTo>
                  <a:pt x="2089290" y="3461233"/>
                </a:lnTo>
                <a:lnTo>
                  <a:pt x="2112607" y="3461233"/>
                </a:lnTo>
                <a:lnTo>
                  <a:pt x="2112607" y="3437915"/>
                </a:lnTo>
                <a:lnTo>
                  <a:pt x="2089290" y="3437915"/>
                </a:lnTo>
                <a:lnTo>
                  <a:pt x="2089290" y="3414598"/>
                </a:lnTo>
                <a:close/>
                <a:moveTo>
                  <a:pt x="2226107" y="3415627"/>
                </a:moveTo>
                <a:lnTo>
                  <a:pt x="2203475" y="3415627"/>
                </a:lnTo>
                <a:lnTo>
                  <a:pt x="2203475" y="3438258"/>
                </a:lnTo>
                <a:lnTo>
                  <a:pt x="2180844" y="3438258"/>
                </a:lnTo>
                <a:lnTo>
                  <a:pt x="2180844" y="3460890"/>
                </a:lnTo>
                <a:lnTo>
                  <a:pt x="2203475" y="3460890"/>
                </a:lnTo>
                <a:lnTo>
                  <a:pt x="2203475" y="3483521"/>
                </a:lnTo>
                <a:lnTo>
                  <a:pt x="2226107" y="3483521"/>
                </a:lnTo>
                <a:lnTo>
                  <a:pt x="2226107" y="3460890"/>
                </a:lnTo>
                <a:lnTo>
                  <a:pt x="2248738" y="3460890"/>
                </a:lnTo>
                <a:lnTo>
                  <a:pt x="2248738" y="3438258"/>
                </a:lnTo>
                <a:lnTo>
                  <a:pt x="2226107" y="3438258"/>
                </a:lnTo>
                <a:lnTo>
                  <a:pt x="2226107" y="3415627"/>
                </a:lnTo>
                <a:close/>
                <a:moveTo>
                  <a:pt x="2153069" y="3840823"/>
                </a:moveTo>
                <a:lnTo>
                  <a:pt x="2139353" y="3840823"/>
                </a:lnTo>
                <a:lnTo>
                  <a:pt x="2139353" y="3854196"/>
                </a:lnTo>
                <a:lnTo>
                  <a:pt x="2125980" y="3854196"/>
                </a:lnTo>
                <a:lnTo>
                  <a:pt x="2125980" y="3867912"/>
                </a:lnTo>
                <a:lnTo>
                  <a:pt x="2139353" y="3867912"/>
                </a:lnTo>
                <a:lnTo>
                  <a:pt x="2139353" y="3881285"/>
                </a:lnTo>
                <a:lnTo>
                  <a:pt x="2153069" y="3881285"/>
                </a:lnTo>
                <a:lnTo>
                  <a:pt x="2153069" y="3867912"/>
                </a:lnTo>
                <a:lnTo>
                  <a:pt x="2166442" y="3867912"/>
                </a:lnTo>
                <a:lnTo>
                  <a:pt x="2166442" y="3854196"/>
                </a:lnTo>
                <a:lnTo>
                  <a:pt x="2153069" y="3854196"/>
                </a:lnTo>
                <a:lnTo>
                  <a:pt x="2153069" y="3840823"/>
                </a:lnTo>
                <a:close/>
                <a:moveTo>
                  <a:pt x="2429789" y="3558616"/>
                </a:moveTo>
                <a:lnTo>
                  <a:pt x="2411273" y="3558616"/>
                </a:lnTo>
                <a:lnTo>
                  <a:pt x="2411273" y="3577476"/>
                </a:lnTo>
                <a:lnTo>
                  <a:pt x="2392414" y="3577476"/>
                </a:lnTo>
                <a:lnTo>
                  <a:pt x="2392414" y="3595992"/>
                </a:lnTo>
                <a:lnTo>
                  <a:pt x="2411273" y="3595992"/>
                </a:lnTo>
                <a:lnTo>
                  <a:pt x="2411273" y="3614852"/>
                </a:lnTo>
                <a:lnTo>
                  <a:pt x="2429789" y="3614852"/>
                </a:lnTo>
                <a:lnTo>
                  <a:pt x="2429789" y="3595992"/>
                </a:lnTo>
                <a:lnTo>
                  <a:pt x="2448649" y="3595992"/>
                </a:lnTo>
                <a:lnTo>
                  <a:pt x="2448649" y="3577476"/>
                </a:lnTo>
                <a:lnTo>
                  <a:pt x="2429789" y="3577476"/>
                </a:lnTo>
                <a:lnTo>
                  <a:pt x="2429789" y="3558616"/>
                </a:lnTo>
                <a:close/>
                <a:moveTo>
                  <a:pt x="3048038" y="3144736"/>
                </a:moveTo>
                <a:lnTo>
                  <a:pt x="3027464" y="3144736"/>
                </a:lnTo>
                <a:lnTo>
                  <a:pt x="3027464" y="3164967"/>
                </a:lnTo>
                <a:lnTo>
                  <a:pt x="3007233" y="3164967"/>
                </a:lnTo>
                <a:lnTo>
                  <a:pt x="3007233" y="3185541"/>
                </a:lnTo>
                <a:lnTo>
                  <a:pt x="3027464" y="3185541"/>
                </a:lnTo>
                <a:lnTo>
                  <a:pt x="3027464" y="3205772"/>
                </a:lnTo>
                <a:lnTo>
                  <a:pt x="3048038" y="3205772"/>
                </a:lnTo>
                <a:lnTo>
                  <a:pt x="3048038" y="3185541"/>
                </a:lnTo>
                <a:lnTo>
                  <a:pt x="3068269" y="3185541"/>
                </a:lnTo>
                <a:lnTo>
                  <a:pt x="3068269" y="3164967"/>
                </a:lnTo>
                <a:lnTo>
                  <a:pt x="3048038" y="3164967"/>
                </a:lnTo>
                <a:lnTo>
                  <a:pt x="3048038" y="3144736"/>
                </a:lnTo>
                <a:close/>
                <a:moveTo>
                  <a:pt x="2980830" y="3003118"/>
                </a:moveTo>
                <a:lnTo>
                  <a:pt x="2957513" y="3003118"/>
                </a:lnTo>
                <a:lnTo>
                  <a:pt x="2957513" y="3026435"/>
                </a:lnTo>
                <a:lnTo>
                  <a:pt x="2934196" y="3026435"/>
                </a:lnTo>
                <a:lnTo>
                  <a:pt x="2934196" y="3049753"/>
                </a:lnTo>
                <a:lnTo>
                  <a:pt x="2957513" y="3049753"/>
                </a:lnTo>
                <a:lnTo>
                  <a:pt x="2957513" y="3073070"/>
                </a:lnTo>
                <a:lnTo>
                  <a:pt x="2980830" y="3073070"/>
                </a:lnTo>
                <a:lnTo>
                  <a:pt x="2980830" y="3049753"/>
                </a:lnTo>
                <a:lnTo>
                  <a:pt x="3004147" y="3049753"/>
                </a:lnTo>
                <a:lnTo>
                  <a:pt x="3004147" y="3026435"/>
                </a:lnTo>
                <a:lnTo>
                  <a:pt x="2980830" y="3026435"/>
                </a:lnTo>
                <a:lnTo>
                  <a:pt x="2980830" y="3003118"/>
                </a:lnTo>
                <a:close/>
                <a:moveTo>
                  <a:pt x="3045295" y="3426943"/>
                </a:moveTo>
                <a:lnTo>
                  <a:pt x="3030208" y="3426943"/>
                </a:lnTo>
                <a:lnTo>
                  <a:pt x="3030208" y="3442030"/>
                </a:lnTo>
                <a:lnTo>
                  <a:pt x="3015120" y="3442030"/>
                </a:lnTo>
                <a:lnTo>
                  <a:pt x="3015120" y="3457118"/>
                </a:lnTo>
                <a:lnTo>
                  <a:pt x="3030208" y="3457118"/>
                </a:lnTo>
                <a:lnTo>
                  <a:pt x="3030208" y="3472205"/>
                </a:lnTo>
                <a:lnTo>
                  <a:pt x="3045295" y="3472205"/>
                </a:lnTo>
                <a:lnTo>
                  <a:pt x="3045295" y="3457118"/>
                </a:lnTo>
                <a:lnTo>
                  <a:pt x="3060383" y="3457118"/>
                </a:lnTo>
                <a:lnTo>
                  <a:pt x="3060383" y="3442030"/>
                </a:lnTo>
                <a:lnTo>
                  <a:pt x="3045295" y="3442030"/>
                </a:lnTo>
                <a:lnTo>
                  <a:pt x="3045295" y="3426943"/>
                </a:lnTo>
                <a:close/>
                <a:moveTo>
                  <a:pt x="2636215" y="3419399"/>
                </a:moveTo>
                <a:lnTo>
                  <a:pt x="2616327" y="3419399"/>
                </a:lnTo>
                <a:lnTo>
                  <a:pt x="2616327" y="3439630"/>
                </a:lnTo>
                <a:lnTo>
                  <a:pt x="2596096" y="3439630"/>
                </a:lnTo>
                <a:lnTo>
                  <a:pt x="2596096" y="3459518"/>
                </a:lnTo>
                <a:lnTo>
                  <a:pt x="2616327" y="3459518"/>
                </a:lnTo>
                <a:lnTo>
                  <a:pt x="2616327" y="3479749"/>
                </a:lnTo>
                <a:lnTo>
                  <a:pt x="2636215" y="3479749"/>
                </a:lnTo>
                <a:lnTo>
                  <a:pt x="2636215" y="3459518"/>
                </a:lnTo>
                <a:lnTo>
                  <a:pt x="2656447" y="3459518"/>
                </a:lnTo>
                <a:lnTo>
                  <a:pt x="2656447" y="3439630"/>
                </a:lnTo>
                <a:lnTo>
                  <a:pt x="2636215" y="3439630"/>
                </a:lnTo>
                <a:lnTo>
                  <a:pt x="2636215" y="3419399"/>
                </a:lnTo>
                <a:close/>
                <a:moveTo>
                  <a:pt x="3114561" y="3287382"/>
                </a:moveTo>
                <a:lnTo>
                  <a:pt x="3098102" y="3287382"/>
                </a:lnTo>
                <a:lnTo>
                  <a:pt x="3098102" y="3304184"/>
                </a:lnTo>
                <a:lnTo>
                  <a:pt x="3081299" y="3304184"/>
                </a:lnTo>
                <a:lnTo>
                  <a:pt x="3081299" y="3320644"/>
                </a:lnTo>
                <a:lnTo>
                  <a:pt x="3098102" y="3320644"/>
                </a:lnTo>
                <a:lnTo>
                  <a:pt x="3098102" y="3337446"/>
                </a:lnTo>
                <a:lnTo>
                  <a:pt x="3114561" y="3337446"/>
                </a:lnTo>
                <a:lnTo>
                  <a:pt x="3114561" y="3320644"/>
                </a:lnTo>
                <a:lnTo>
                  <a:pt x="3131363" y="3320644"/>
                </a:lnTo>
                <a:lnTo>
                  <a:pt x="3131363" y="3304184"/>
                </a:lnTo>
                <a:lnTo>
                  <a:pt x="3114561" y="3304184"/>
                </a:lnTo>
                <a:lnTo>
                  <a:pt x="3114561" y="3287382"/>
                </a:lnTo>
                <a:close/>
                <a:moveTo>
                  <a:pt x="2975686" y="3567189"/>
                </a:moveTo>
                <a:lnTo>
                  <a:pt x="2962656" y="3567189"/>
                </a:lnTo>
                <a:lnTo>
                  <a:pt x="2962656" y="3580219"/>
                </a:lnTo>
                <a:lnTo>
                  <a:pt x="2949626" y="3580219"/>
                </a:lnTo>
                <a:lnTo>
                  <a:pt x="2949626" y="3593249"/>
                </a:lnTo>
                <a:lnTo>
                  <a:pt x="2962656" y="3593249"/>
                </a:lnTo>
                <a:lnTo>
                  <a:pt x="2962656" y="3606279"/>
                </a:lnTo>
                <a:lnTo>
                  <a:pt x="2975686" y="3606279"/>
                </a:lnTo>
                <a:lnTo>
                  <a:pt x="2975686" y="3593249"/>
                </a:lnTo>
                <a:lnTo>
                  <a:pt x="2988716" y="3593249"/>
                </a:lnTo>
                <a:lnTo>
                  <a:pt x="2988716" y="3580219"/>
                </a:lnTo>
                <a:lnTo>
                  <a:pt x="2975686" y="3580219"/>
                </a:lnTo>
                <a:lnTo>
                  <a:pt x="2975686" y="3567189"/>
                </a:lnTo>
                <a:close/>
                <a:moveTo>
                  <a:pt x="3183827" y="3148508"/>
                </a:moveTo>
                <a:lnTo>
                  <a:pt x="3165996" y="3148508"/>
                </a:lnTo>
                <a:lnTo>
                  <a:pt x="3165996" y="3166339"/>
                </a:lnTo>
                <a:lnTo>
                  <a:pt x="3148165" y="3166339"/>
                </a:lnTo>
                <a:lnTo>
                  <a:pt x="3148165" y="3184169"/>
                </a:lnTo>
                <a:lnTo>
                  <a:pt x="3165996" y="3184169"/>
                </a:lnTo>
                <a:lnTo>
                  <a:pt x="3165996" y="3202000"/>
                </a:lnTo>
                <a:lnTo>
                  <a:pt x="3183827" y="3202000"/>
                </a:lnTo>
                <a:lnTo>
                  <a:pt x="3183827" y="3184169"/>
                </a:lnTo>
                <a:lnTo>
                  <a:pt x="3201658" y="3184169"/>
                </a:lnTo>
                <a:lnTo>
                  <a:pt x="3201658" y="3166339"/>
                </a:lnTo>
                <a:lnTo>
                  <a:pt x="3183827" y="3166339"/>
                </a:lnTo>
                <a:lnTo>
                  <a:pt x="3183827" y="3148508"/>
                </a:lnTo>
                <a:close/>
                <a:moveTo>
                  <a:pt x="3181426" y="3430029"/>
                </a:moveTo>
                <a:lnTo>
                  <a:pt x="3168396" y="3430029"/>
                </a:lnTo>
                <a:lnTo>
                  <a:pt x="3168396" y="3443059"/>
                </a:lnTo>
                <a:lnTo>
                  <a:pt x="3155366" y="3443059"/>
                </a:lnTo>
                <a:lnTo>
                  <a:pt x="3155366" y="3456089"/>
                </a:lnTo>
                <a:lnTo>
                  <a:pt x="3168396" y="3456089"/>
                </a:lnTo>
                <a:lnTo>
                  <a:pt x="3168396" y="3469119"/>
                </a:lnTo>
                <a:lnTo>
                  <a:pt x="3181426" y="3469119"/>
                </a:lnTo>
                <a:lnTo>
                  <a:pt x="3181426" y="3456089"/>
                </a:lnTo>
                <a:lnTo>
                  <a:pt x="3194456" y="3456089"/>
                </a:lnTo>
                <a:lnTo>
                  <a:pt x="3194456" y="3443059"/>
                </a:lnTo>
                <a:lnTo>
                  <a:pt x="3181426" y="3443059"/>
                </a:lnTo>
                <a:lnTo>
                  <a:pt x="3181426" y="3430029"/>
                </a:lnTo>
                <a:close/>
                <a:moveTo>
                  <a:pt x="3116961" y="3006204"/>
                </a:moveTo>
                <a:lnTo>
                  <a:pt x="3095701" y="3006204"/>
                </a:lnTo>
                <a:lnTo>
                  <a:pt x="3095701" y="3027464"/>
                </a:lnTo>
                <a:lnTo>
                  <a:pt x="3074441" y="3027464"/>
                </a:lnTo>
                <a:lnTo>
                  <a:pt x="3074441" y="3048724"/>
                </a:lnTo>
                <a:lnTo>
                  <a:pt x="3095701" y="3048724"/>
                </a:lnTo>
                <a:lnTo>
                  <a:pt x="3095701" y="3069984"/>
                </a:lnTo>
                <a:lnTo>
                  <a:pt x="3116961" y="3069984"/>
                </a:lnTo>
                <a:lnTo>
                  <a:pt x="3116961" y="3048724"/>
                </a:lnTo>
                <a:lnTo>
                  <a:pt x="3138221" y="3048724"/>
                </a:lnTo>
                <a:lnTo>
                  <a:pt x="3138221" y="3027464"/>
                </a:lnTo>
                <a:lnTo>
                  <a:pt x="3116961" y="3027464"/>
                </a:lnTo>
                <a:lnTo>
                  <a:pt x="3116961" y="3006204"/>
                </a:lnTo>
                <a:close/>
                <a:moveTo>
                  <a:pt x="2978429" y="3284296"/>
                </a:moveTo>
                <a:lnTo>
                  <a:pt x="2959913" y="3284296"/>
                </a:lnTo>
                <a:lnTo>
                  <a:pt x="2959913" y="3303156"/>
                </a:lnTo>
                <a:lnTo>
                  <a:pt x="2941054" y="3303156"/>
                </a:lnTo>
                <a:lnTo>
                  <a:pt x="2941054" y="3321672"/>
                </a:lnTo>
                <a:lnTo>
                  <a:pt x="2959913" y="3321672"/>
                </a:lnTo>
                <a:lnTo>
                  <a:pt x="2959913" y="3340532"/>
                </a:lnTo>
                <a:lnTo>
                  <a:pt x="2978429" y="3340532"/>
                </a:lnTo>
                <a:lnTo>
                  <a:pt x="2978429" y="3321672"/>
                </a:lnTo>
                <a:lnTo>
                  <a:pt x="2997289" y="3321672"/>
                </a:lnTo>
                <a:lnTo>
                  <a:pt x="2997289" y="3303156"/>
                </a:lnTo>
                <a:lnTo>
                  <a:pt x="2978429" y="3303156"/>
                </a:lnTo>
                <a:lnTo>
                  <a:pt x="2978429" y="3284296"/>
                </a:lnTo>
                <a:close/>
                <a:moveTo>
                  <a:pt x="2772689" y="3421799"/>
                </a:moveTo>
                <a:lnTo>
                  <a:pt x="2754173" y="3421799"/>
                </a:lnTo>
                <a:lnTo>
                  <a:pt x="2754173" y="3440316"/>
                </a:lnTo>
                <a:lnTo>
                  <a:pt x="2735656" y="3440316"/>
                </a:lnTo>
                <a:lnTo>
                  <a:pt x="2735656" y="3458832"/>
                </a:lnTo>
                <a:lnTo>
                  <a:pt x="2754173" y="3458832"/>
                </a:lnTo>
                <a:lnTo>
                  <a:pt x="2754173" y="3477349"/>
                </a:lnTo>
                <a:lnTo>
                  <a:pt x="2772689" y="3477349"/>
                </a:lnTo>
                <a:lnTo>
                  <a:pt x="2772689" y="3458832"/>
                </a:lnTo>
                <a:lnTo>
                  <a:pt x="2791206" y="3458832"/>
                </a:lnTo>
                <a:lnTo>
                  <a:pt x="2791206" y="3440316"/>
                </a:lnTo>
                <a:lnTo>
                  <a:pt x="2772689" y="3440316"/>
                </a:lnTo>
                <a:lnTo>
                  <a:pt x="2772689" y="3421799"/>
                </a:lnTo>
                <a:close/>
                <a:moveTo>
                  <a:pt x="2705824" y="3279153"/>
                </a:moveTo>
                <a:lnTo>
                  <a:pt x="2683879" y="3279153"/>
                </a:lnTo>
                <a:lnTo>
                  <a:pt x="2683879" y="3301441"/>
                </a:lnTo>
                <a:lnTo>
                  <a:pt x="2661590" y="3301441"/>
                </a:lnTo>
                <a:lnTo>
                  <a:pt x="2661590" y="3323387"/>
                </a:lnTo>
                <a:lnTo>
                  <a:pt x="2683879" y="3323387"/>
                </a:lnTo>
                <a:lnTo>
                  <a:pt x="2683879" y="3345675"/>
                </a:lnTo>
                <a:lnTo>
                  <a:pt x="2705824" y="3345675"/>
                </a:lnTo>
                <a:lnTo>
                  <a:pt x="2705824" y="3323387"/>
                </a:lnTo>
                <a:lnTo>
                  <a:pt x="2728112" y="3323387"/>
                </a:lnTo>
                <a:lnTo>
                  <a:pt x="2728112" y="3301441"/>
                </a:lnTo>
                <a:lnTo>
                  <a:pt x="2705824" y="3301441"/>
                </a:lnTo>
                <a:lnTo>
                  <a:pt x="2705824" y="3279153"/>
                </a:lnTo>
                <a:close/>
                <a:moveTo>
                  <a:pt x="2769604" y="3705035"/>
                </a:moveTo>
                <a:lnTo>
                  <a:pt x="2757259" y="3705035"/>
                </a:lnTo>
                <a:lnTo>
                  <a:pt x="2757259" y="3717722"/>
                </a:lnTo>
                <a:lnTo>
                  <a:pt x="2744572" y="3717722"/>
                </a:lnTo>
                <a:lnTo>
                  <a:pt x="2744572" y="3730066"/>
                </a:lnTo>
                <a:lnTo>
                  <a:pt x="2757259" y="3730066"/>
                </a:lnTo>
                <a:lnTo>
                  <a:pt x="2757259" y="3742754"/>
                </a:lnTo>
                <a:lnTo>
                  <a:pt x="2769604" y="3742754"/>
                </a:lnTo>
                <a:lnTo>
                  <a:pt x="2769604" y="3730066"/>
                </a:lnTo>
                <a:lnTo>
                  <a:pt x="2782291" y="3730066"/>
                </a:lnTo>
                <a:lnTo>
                  <a:pt x="2782291" y="3717722"/>
                </a:lnTo>
                <a:lnTo>
                  <a:pt x="2769604" y="3717722"/>
                </a:lnTo>
                <a:lnTo>
                  <a:pt x="2769604" y="3705035"/>
                </a:lnTo>
                <a:close/>
                <a:moveTo>
                  <a:pt x="2911564" y="3141993"/>
                </a:moveTo>
                <a:lnTo>
                  <a:pt x="2889619" y="3141993"/>
                </a:lnTo>
                <a:lnTo>
                  <a:pt x="2889619" y="3164281"/>
                </a:lnTo>
                <a:lnTo>
                  <a:pt x="2867330" y="3164281"/>
                </a:lnTo>
                <a:lnTo>
                  <a:pt x="2867330" y="3186227"/>
                </a:lnTo>
                <a:lnTo>
                  <a:pt x="2889619" y="3186227"/>
                </a:lnTo>
                <a:lnTo>
                  <a:pt x="2889619" y="3208515"/>
                </a:lnTo>
                <a:lnTo>
                  <a:pt x="2911564" y="3208515"/>
                </a:lnTo>
                <a:lnTo>
                  <a:pt x="2911564" y="3186227"/>
                </a:lnTo>
                <a:lnTo>
                  <a:pt x="2933852" y="3186227"/>
                </a:lnTo>
                <a:lnTo>
                  <a:pt x="2933852" y="3164281"/>
                </a:lnTo>
                <a:lnTo>
                  <a:pt x="2911564" y="3164281"/>
                </a:lnTo>
                <a:lnTo>
                  <a:pt x="2911564" y="3141993"/>
                </a:lnTo>
                <a:close/>
                <a:moveTo>
                  <a:pt x="2703081" y="3562045"/>
                </a:moveTo>
                <a:lnTo>
                  <a:pt x="2686622" y="3562045"/>
                </a:lnTo>
                <a:lnTo>
                  <a:pt x="2686622" y="3578504"/>
                </a:lnTo>
                <a:lnTo>
                  <a:pt x="2670163" y="3578504"/>
                </a:lnTo>
                <a:lnTo>
                  <a:pt x="2670163" y="3594964"/>
                </a:lnTo>
                <a:lnTo>
                  <a:pt x="2686622" y="3594964"/>
                </a:lnTo>
                <a:lnTo>
                  <a:pt x="2686622" y="3611423"/>
                </a:lnTo>
                <a:lnTo>
                  <a:pt x="2703081" y="3611423"/>
                </a:lnTo>
                <a:lnTo>
                  <a:pt x="2703081" y="3594964"/>
                </a:lnTo>
                <a:lnTo>
                  <a:pt x="2719540" y="3594964"/>
                </a:lnTo>
                <a:lnTo>
                  <a:pt x="2719540" y="3578504"/>
                </a:lnTo>
                <a:lnTo>
                  <a:pt x="2703081" y="3578504"/>
                </a:lnTo>
                <a:lnTo>
                  <a:pt x="2703081" y="3562045"/>
                </a:lnTo>
                <a:close/>
                <a:moveTo>
                  <a:pt x="2909164" y="3424199"/>
                </a:moveTo>
                <a:lnTo>
                  <a:pt x="2892019" y="3424199"/>
                </a:lnTo>
                <a:lnTo>
                  <a:pt x="2892019" y="3441002"/>
                </a:lnTo>
                <a:lnTo>
                  <a:pt x="2875217" y="3441002"/>
                </a:lnTo>
                <a:lnTo>
                  <a:pt x="2875217" y="3458147"/>
                </a:lnTo>
                <a:lnTo>
                  <a:pt x="2892019" y="3458147"/>
                </a:lnTo>
                <a:lnTo>
                  <a:pt x="2892019" y="3474949"/>
                </a:lnTo>
                <a:lnTo>
                  <a:pt x="2909164" y="3474949"/>
                </a:lnTo>
                <a:lnTo>
                  <a:pt x="2909164" y="3458147"/>
                </a:lnTo>
                <a:lnTo>
                  <a:pt x="2925966" y="3458147"/>
                </a:lnTo>
                <a:lnTo>
                  <a:pt x="2925966" y="3441002"/>
                </a:lnTo>
                <a:lnTo>
                  <a:pt x="2909164" y="3441002"/>
                </a:lnTo>
                <a:lnTo>
                  <a:pt x="2909164" y="3424199"/>
                </a:lnTo>
                <a:close/>
                <a:moveTo>
                  <a:pt x="2842298" y="3281553"/>
                </a:moveTo>
                <a:lnTo>
                  <a:pt x="2821724" y="3281553"/>
                </a:lnTo>
                <a:lnTo>
                  <a:pt x="2821724" y="3302127"/>
                </a:lnTo>
                <a:lnTo>
                  <a:pt x="2801150" y="3302127"/>
                </a:lnTo>
                <a:lnTo>
                  <a:pt x="2801150" y="3322701"/>
                </a:lnTo>
                <a:lnTo>
                  <a:pt x="2821724" y="3322701"/>
                </a:lnTo>
                <a:lnTo>
                  <a:pt x="2821724" y="3343275"/>
                </a:lnTo>
                <a:lnTo>
                  <a:pt x="2842298" y="3343275"/>
                </a:lnTo>
                <a:lnTo>
                  <a:pt x="2842298" y="3322701"/>
                </a:lnTo>
                <a:lnTo>
                  <a:pt x="2862872" y="3322701"/>
                </a:lnTo>
                <a:lnTo>
                  <a:pt x="2862872" y="3302127"/>
                </a:lnTo>
                <a:lnTo>
                  <a:pt x="2842298" y="3302127"/>
                </a:lnTo>
                <a:lnTo>
                  <a:pt x="2842298" y="3281553"/>
                </a:lnTo>
                <a:close/>
                <a:moveTo>
                  <a:pt x="2839555" y="3564446"/>
                </a:moveTo>
                <a:lnTo>
                  <a:pt x="2824468" y="3564446"/>
                </a:lnTo>
                <a:lnTo>
                  <a:pt x="2824468" y="3579190"/>
                </a:lnTo>
                <a:lnTo>
                  <a:pt x="2809723" y="3579190"/>
                </a:lnTo>
                <a:lnTo>
                  <a:pt x="2809723" y="3594278"/>
                </a:lnTo>
                <a:lnTo>
                  <a:pt x="2824468" y="3594278"/>
                </a:lnTo>
                <a:lnTo>
                  <a:pt x="2824468" y="3609023"/>
                </a:lnTo>
                <a:lnTo>
                  <a:pt x="2839555" y="3609023"/>
                </a:lnTo>
                <a:lnTo>
                  <a:pt x="2839555" y="3594278"/>
                </a:lnTo>
                <a:lnTo>
                  <a:pt x="2854300" y="3594278"/>
                </a:lnTo>
                <a:lnTo>
                  <a:pt x="2854300" y="3579190"/>
                </a:lnTo>
                <a:lnTo>
                  <a:pt x="2839555" y="3579190"/>
                </a:lnTo>
                <a:lnTo>
                  <a:pt x="2839555" y="3564446"/>
                </a:lnTo>
                <a:close/>
                <a:moveTo>
                  <a:pt x="2775433" y="3139592"/>
                </a:moveTo>
                <a:lnTo>
                  <a:pt x="2751430" y="3139592"/>
                </a:lnTo>
                <a:lnTo>
                  <a:pt x="2751430" y="3163253"/>
                </a:lnTo>
                <a:lnTo>
                  <a:pt x="2727770" y="3163253"/>
                </a:lnTo>
                <a:lnTo>
                  <a:pt x="2727770" y="3187256"/>
                </a:lnTo>
                <a:lnTo>
                  <a:pt x="2751430" y="3187256"/>
                </a:lnTo>
                <a:lnTo>
                  <a:pt x="2751430" y="3210916"/>
                </a:lnTo>
                <a:lnTo>
                  <a:pt x="2775433" y="3210916"/>
                </a:lnTo>
                <a:lnTo>
                  <a:pt x="2775433" y="3187256"/>
                </a:lnTo>
                <a:lnTo>
                  <a:pt x="2799093" y="3187256"/>
                </a:lnTo>
                <a:lnTo>
                  <a:pt x="2799093" y="3163253"/>
                </a:lnTo>
                <a:lnTo>
                  <a:pt x="2775433" y="3163253"/>
                </a:lnTo>
                <a:lnTo>
                  <a:pt x="2775433" y="3139592"/>
                </a:lnTo>
                <a:close/>
                <a:moveTo>
                  <a:pt x="1038644" y="600075"/>
                </a:moveTo>
                <a:lnTo>
                  <a:pt x="1059218" y="600075"/>
                </a:lnTo>
                <a:lnTo>
                  <a:pt x="1059218" y="579501"/>
                </a:lnTo>
                <a:lnTo>
                  <a:pt x="1079792" y="579501"/>
                </a:lnTo>
                <a:lnTo>
                  <a:pt x="1079792" y="558927"/>
                </a:lnTo>
                <a:lnTo>
                  <a:pt x="1059218" y="558927"/>
                </a:lnTo>
                <a:lnTo>
                  <a:pt x="1059218" y="538353"/>
                </a:lnTo>
                <a:lnTo>
                  <a:pt x="1038644" y="538353"/>
                </a:lnTo>
                <a:lnTo>
                  <a:pt x="1038644" y="558927"/>
                </a:lnTo>
                <a:lnTo>
                  <a:pt x="1018070" y="558927"/>
                </a:lnTo>
                <a:lnTo>
                  <a:pt x="1018070" y="579501"/>
                </a:lnTo>
                <a:lnTo>
                  <a:pt x="1038644" y="579501"/>
                </a:lnTo>
                <a:lnTo>
                  <a:pt x="1038644" y="600075"/>
                </a:lnTo>
                <a:close/>
                <a:moveTo>
                  <a:pt x="3236290" y="590817"/>
                </a:moveTo>
                <a:lnTo>
                  <a:pt x="3250692" y="590817"/>
                </a:lnTo>
                <a:lnTo>
                  <a:pt x="3250692" y="576415"/>
                </a:lnTo>
                <a:lnTo>
                  <a:pt x="3265094" y="576415"/>
                </a:lnTo>
                <a:lnTo>
                  <a:pt x="3265094" y="562013"/>
                </a:lnTo>
                <a:lnTo>
                  <a:pt x="3250692" y="562013"/>
                </a:lnTo>
                <a:lnTo>
                  <a:pt x="3250692" y="547611"/>
                </a:lnTo>
                <a:lnTo>
                  <a:pt x="3236290" y="547611"/>
                </a:lnTo>
                <a:lnTo>
                  <a:pt x="3236290" y="562013"/>
                </a:lnTo>
                <a:lnTo>
                  <a:pt x="3221888" y="562013"/>
                </a:lnTo>
                <a:lnTo>
                  <a:pt x="3221888" y="576415"/>
                </a:lnTo>
                <a:lnTo>
                  <a:pt x="3236290" y="576415"/>
                </a:lnTo>
                <a:lnTo>
                  <a:pt x="3236290" y="590817"/>
                </a:lnTo>
                <a:close/>
                <a:moveTo>
                  <a:pt x="3233890" y="871995"/>
                </a:moveTo>
                <a:lnTo>
                  <a:pt x="3253093" y="871995"/>
                </a:lnTo>
                <a:lnTo>
                  <a:pt x="3253093" y="853135"/>
                </a:lnTo>
                <a:lnTo>
                  <a:pt x="3271952" y="853135"/>
                </a:lnTo>
                <a:lnTo>
                  <a:pt x="3271952" y="833933"/>
                </a:lnTo>
                <a:lnTo>
                  <a:pt x="3253093" y="833933"/>
                </a:lnTo>
                <a:lnTo>
                  <a:pt x="3253093" y="815073"/>
                </a:lnTo>
                <a:lnTo>
                  <a:pt x="3233890" y="815073"/>
                </a:lnTo>
                <a:lnTo>
                  <a:pt x="3233890" y="833933"/>
                </a:lnTo>
                <a:lnTo>
                  <a:pt x="3215030" y="833933"/>
                </a:lnTo>
                <a:lnTo>
                  <a:pt x="3215030" y="853135"/>
                </a:lnTo>
                <a:lnTo>
                  <a:pt x="3233890" y="853135"/>
                </a:lnTo>
                <a:lnTo>
                  <a:pt x="3233890" y="871995"/>
                </a:lnTo>
                <a:close/>
                <a:moveTo>
                  <a:pt x="3300755" y="1288961"/>
                </a:moveTo>
                <a:lnTo>
                  <a:pt x="3323387" y="1288961"/>
                </a:lnTo>
                <a:lnTo>
                  <a:pt x="3323387" y="1266330"/>
                </a:lnTo>
                <a:lnTo>
                  <a:pt x="3346018" y="1266330"/>
                </a:lnTo>
                <a:lnTo>
                  <a:pt x="3346018" y="1243698"/>
                </a:lnTo>
                <a:lnTo>
                  <a:pt x="3323387" y="1243698"/>
                </a:lnTo>
                <a:lnTo>
                  <a:pt x="3323387" y="1221067"/>
                </a:lnTo>
                <a:lnTo>
                  <a:pt x="3300755" y="1221067"/>
                </a:lnTo>
                <a:lnTo>
                  <a:pt x="3300755" y="1243698"/>
                </a:lnTo>
                <a:lnTo>
                  <a:pt x="3278124" y="1243698"/>
                </a:lnTo>
                <a:lnTo>
                  <a:pt x="3278124" y="1266330"/>
                </a:lnTo>
                <a:lnTo>
                  <a:pt x="3300755" y="1266330"/>
                </a:lnTo>
                <a:lnTo>
                  <a:pt x="3300755" y="1288961"/>
                </a:lnTo>
                <a:close/>
                <a:moveTo>
                  <a:pt x="3304184" y="729691"/>
                </a:moveTo>
                <a:lnTo>
                  <a:pt x="3319958" y="729691"/>
                </a:lnTo>
                <a:lnTo>
                  <a:pt x="3319958" y="714261"/>
                </a:lnTo>
                <a:lnTo>
                  <a:pt x="3335389" y="714261"/>
                </a:lnTo>
                <a:lnTo>
                  <a:pt x="3335389" y="698487"/>
                </a:lnTo>
                <a:lnTo>
                  <a:pt x="3319958" y="698487"/>
                </a:lnTo>
                <a:lnTo>
                  <a:pt x="3319958" y="683057"/>
                </a:lnTo>
                <a:lnTo>
                  <a:pt x="3304184" y="683057"/>
                </a:lnTo>
                <a:lnTo>
                  <a:pt x="3304184" y="698487"/>
                </a:lnTo>
                <a:lnTo>
                  <a:pt x="3288754" y="698487"/>
                </a:lnTo>
                <a:lnTo>
                  <a:pt x="3288754" y="714261"/>
                </a:lnTo>
                <a:lnTo>
                  <a:pt x="3304184" y="714261"/>
                </a:lnTo>
                <a:lnTo>
                  <a:pt x="3304184" y="729691"/>
                </a:lnTo>
                <a:close/>
                <a:moveTo>
                  <a:pt x="3232175" y="1151801"/>
                </a:moveTo>
                <a:lnTo>
                  <a:pt x="3254807" y="1151801"/>
                </a:lnTo>
                <a:lnTo>
                  <a:pt x="3254807" y="1129170"/>
                </a:lnTo>
                <a:lnTo>
                  <a:pt x="3277438" y="1129170"/>
                </a:lnTo>
                <a:lnTo>
                  <a:pt x="3277438" y="1106538"/>
                </a:lnTo>
                <a:lnTo>
                  <a:pt x="3254807" y="1106538"/>
                </a:lnTo>
                <a:lnTo>
                  <a:pt x="3254807" y="1083907"/>
                </a:lnTo>
                <a:lnTo>
                  <a:pt x="3232175" y="1083907"/>
                </a:lnTo>
                <a:lnTo>
                  <a:pt x="3232175" y="1106538"/>
                </a:lnTo>
                <a:lnTo>
                  <a:pt x="3209544" y="1106538"/>
                </a:lnTo>
                <a:lnTo>
                  <a:pt x="3209544" y="1129170"/>
                </a:lnTo>
                <a:lnTo>
                  <a:pt x="3232175" y="1129170"/>
                </a:lnTo>
                <a:lnTo>
                  <a:pt x="3232175" y="1151801"/>
                </a:lnTo>
                <a:close/>
                <a:moveTo>
                  <a:pt x="3302127" y="1010183"/>
                </a:moveTo>
                <a:lnTo>
                  <a:pt x="3322015" y="1010183"/>
                </a:lnTo>
                <a:lnTo>
                  <a:pt x="3322015" y="990638"/>
                </a:lnTo>
                <a:lnTo>
                  <a:pt x="3341561" y="990638"/>
                </a:lnTo>
                <a:lnTo>
                  <a:pt x="3341561" y="970750"/>
                </a:lnTo>
                <a:lnTo>
                  <a:pt x="3322015" y="970750"/>
                </a:lnTo>
                <a:lnTo>
                  <a:pt x="3322015" y="951205"/>
                </a:lnTo>
                <a:lnTo>
                  <a:pt x="3302127" y="951205"/>
                </a:lnTo>
                <a:lnTo>
                  <a:pt x="3302127" y="970750"/>
                </a:lnTo>
                <a:lnTo>
                  <a:pt x="3282582" y="970750"/>
                </a:lnTo>
                <a:lnTo>
                  <a:pt x="3282582" y="990638"/>
                </a:lnTo>
                <a:lnTo>
                  <a:pt x="3302127" y="990638"/>
                </a:lnTo>
                <a:lnTo>
                  <a:pt x="3302127" y="1010183"/>
                </a:lnTo>
                <a:close/>
                <a:moveTo>
                  <a:pt x="3098102" y="594246"/>
                </a:moveTo>
                <a:lnTo>
                  <a:pt x="3114561" y="594246"/>
                </a:lnTo>
                <a:lnTo>
                  <a:pt x="3114561" y="577444"/>
                </a:lnTo>
                <a:lnTo>
                  <a:pt x="3131363" y="577444"/>
                </a:lnTo>
                <a:lnTo>
                  <a:pt x="3131363" y="560984"/>
                </a:lnTo>
                <a:lnTo>
                  <a:pt x="3114561" y="560984"/>
                </a:lnTo>
                <a:lnTo>
                  <a:pt x="3114561" y="544182"/>
                </a:lnTo>
                <a:lnTo>
                  <a:pt x="3098102" y="544182"/>
                </a:lnTo>
                <a:lnTo>
                  <a:pt x="3098102" y="560984"/>
                </a:lnTo>
                <a:lnTo>
                  <a:pt x="3081299" y="560984"/>
                </a:lnTo>
                <a:lnTo>
                  <a:pt x="3081299" y="577444"/>
                </a:lnTo>
                <a:lnTo>
                  <a:pt x="3098102" y="577444"/>
                </a:lnTo>
                <a:lnTo>
                  <a:pt x="3098102" y="594246"/>
                </a:lnTo>
                <a:close/>
                <a:moveTo>
                  <a:pt x="3163939" y="1013955"/>
                </a:moveTo>
                <a:lnTo>
                  <a:pt x="3185884" y="1013955"/>
                </a:lnTo>
                <a:lnTo>
                  <a:pt x="3185884" y="991667"/>
                </a:lnTo>
                <a:lnTo>
                  <a:pt x="3208172" y="991667"/>
                </a:lnTo>
                <a:lnTo>
                  <a:pt x="3208172" y="969721"/>
                </a:lnTo>
                <a:lnTo>
                  <a:pt x="3185884" y="969721"/>
                </a:lnTo>
                <a:lnTo>
                  <a:pt x="3185884" y="947433"/>
                </a:lnTo>
                <a:lnTo>
                  <a:pt x="3163939" y="947433"/>
                </a:lnTo>
                <a:lnTo>
                  <a:pt x="3163939" y="969721"/>
                </a:lnTo>
                <a:lnTo>
                  <a:pt x="3141650" y="969721"/>
                </a:lnTo>
                <a:lnTo>
                  <a:pt x="3141650" y="991667"/>
                </a:lnTo>
                <a:lnTo>
                  <a:pt x="3163939" y="991667"/>
                </a:lnTo>
                <a:lnTo>
                  <a:pt x="3163939" y="1013955"/>
                </a:lnTo>
                <a:close/>
                <a:moveTo>
                  <a:pt x="3165996" y="733463"/>
                </a:moveTo>
                <a:lnTo>
                  <a:pt x="3183827" y="733463"/>
                </a:lnTo>
                <a:lnTo>
                  <a:pt x="3183827" y="715289"/>
                </a:lnTo>
                <a:lnTo>
                  <a:pt x="3202000" y="715289"/>
                </a:lnTo>
                <a:lnTo>
                  <a:pt x="3202000" y="697459"/>
                </a:lnTo>
                <a:lnTo>
                  <a:pt x="3183827" y="697459"/>
                </a:lnTo>
                <a:lnTo>
                  <a:pt x="3183827" y="679285"/>
                </a:lnTo>
                <a:lnTo>
                  <a:pt x="3165996" y="679285"/>
                </a:lnTo>
                <a:lnTo>
                  <a:pt x="3165996" y="697459"/>
                </a:lnTo>
                <a:lnTo>
                  <a:pt x="3147822" y="697459"/>
                </a:lnTo>
                <a:lnTo>
                  <a:pt x="3147822" y="715289"/>
                </a:lnTo>
                <a:lnTo>
                  <a:pt x="3165996" y="715289"/>
                </a:lnTo>
                <a:lnTo>
                  <a:pt x="3165996" y="733463"/>
                </a:lnTo>
                <a:close/>
                <a:moveTo>
                  <a:pt x="3168396" y="451599"/>
                </a:moveTo>
                <a:lnTo>
                  <a:pt x="3181426" y="451599"/>
                </a:lnTo>
                <a:lnTo>
                  <a:pt x="3181426" y="438569"/>
                </a:lnTo>
                <a:lnTo>
                  <a:pt x="3194456" y="438569"/>
                </a:lnTo>
                <a:lnTo>
                  <a:pt x="3194456" y="425539"/>
                </a:lnTo>
                <a:lnTo>
                  <a:pt x="3181426" y="425539"/>
                </a:lnTo>
                <a:lnTo>
                  <a:pt x="3181426" y="412509"/>
                </a:lnTo>
                <a:lnTo>
                  <a:pt x="3168396" y="412509"/>
                </a:lnTo>
                <a:lnTo>
                  <a:pt x="3168396" y="425539"/>
                </a:lnTo>
                <a:lnTo>
                  <a:pt x="3155366" y="425539"/>
                </a:lnTo>
                <a:lnTo>
                  <a:pt x="3155366" y="438569"/>
                </a:lnTo>
                <a:lnTo>
                  <a:pt x="3168396" y="438569"/>
                </a:lnTo>
                <a:lnTo>
                  <a:pt x="3168396" y="451599"/>
                </a:lnTo>
                <a:close/>
                <a:moveTo>
                  <a:pt x="3374822" y="587045"/>
                </a:moveTo>
                <a:lnTo>
                  <a:pt x="3386480" y="587045"/>
                </a:lnTo>
                <a:lnTo>
                  <a:pt x="3386480" y="575043"/>
                </a:lnTo>
                <a:lnTo>
                  <a:pt x="3398482" y="575043"/>
                </a:lnTo>
                <a:lnTo>
                  <a:pt x="3398482" y="563385"/>
                </a:lnTo>
                <a:lnTo>
                  <a:pt x="3386480" y="563385"/>
                </a:lnTo>
                <a:lnTo>
                  <a:pt x="3386480" y="551383"/>
                </a:lnTo>
                <a:lnTo>
                  <a:pt x="3374822" y="551383"/>
                </a:lnTo>
                <a:lnTo>
                  <a:pt x="3374822" y="563385"/>
                </a:lnTo>
                <a:lnTo>
                  <a:pt x="3362821" y="563385"/>
                </a:lnTo>
                <a:lnTo>
                  <a:pt x="3362821" y="575043"/>
                </a:lnTo>
                <a:lnTo>
                  <a:pt x="3374822" y="575043"/>
                </a:lnTo>
                <a:lnTo>
                  <a:pt x="3374822" y="587045"/>
                </a:lnTo>
                <a:close/>
                <a:moveTo>
                  <a:pt x="1065047" y="1989163"/>
                </a:moveTo>
                <a:lnTo>
                  <a:pt x="1065047" y="1956930"/>
                </a:lnTo>
                <a:lnTo>
                  <a:pt x="1097280" y="1956930"/>
                </a:lnTo>
                <a:lnTo>
                  <a:pt x="1097280" y="1924698"/>
                </a:lnTo>
                <a:lnTo>
                  <a:pt x="1065047" y="1924698"/>
                </a:lnTo>
                <a:lnTo>
                  <a:pt x="1065047" y="1892465"/>
                </a:lnTo>
                <a:lnTo>
                  <a:pt x="1032815" y="1892465"/>
                </a:lnTo>
                <a:lnTo>
                  <a:pt x="1032815" y="1924698"/>
                </a:lnTo>
                <a:lnTo>
                  <a:pt x="1000582" y="1924698"/>
                </a:lnTo>
                <a:lnTo>
                  <a:pt x="1000582" y="1956930"/>
                </a:lnTo>
                <a:lnTo>
                  <a:pt x="1032815" y="1956930"/>
                </a:lnTo>
                <a:lnTo>
                  <a:pt x="1032815" y="1989163"/>
                </a:lnTo>
                <a:lnTo>
                  <a:pt x="1065047" y="1989163"/>
                </a:lnTo>
                <a:close/>
                <a:moveTo>
                  <a:pt x="2610155" y="1755305"/>
                </a:moveTo>
                <a:lnTo>
                  <a:pt x="2610155" y="1787538"/>
                </a:lnTo>
                <a:lnTo>
                  <a:pt x="2577922" y="1787538"/>
                </a:lnTo>
                <a:lnTo>
                  <a:pt x="2577922" y="1819770"/>
                </a:lnTo>
                <a:lnTo>
                  <a:pt x="2610155" y="1819770"/>
                </a:lnTo>
                <a:lnTo>
                  <a:pt x="2610155" y="1852003"/>
                </a:lnTo>
                <a:lnTo>
                  <a:pt x="2642387" y="1852003"/>
                </a:lnTo>
                <a:lnTo>
                  <a:pt x="2642387" y="1819770"/>
                </a:lnTo>
                <a:lnTo>
                  <a:pt x="2674620" y="1819770"/>
                </a:lnTo>
                <a:lnTo>
                  <a:pt x="2674620" y="1787538"/>
                </a:lnTo>
                <a:lnTo>
                  <a:pt x="2642387" y="1787538"/>
                </a:lnTo>
                <a:lnTo>
                  <a:pt x="2642387" y="1755305"/>
                </a:lnTo>
                <a:lnTo>
                  <a:pt x="2610155" y="1755305"/>
                </a:lnTo>
                <a:close/>
                <a:moveTo>
                  <a:pt x="1613687" y="1989163"/>
                </a:moveTo>
                <a:lnTo>
                  <a:pt x="1613687" y="1956930"/>
                </a:lnTo>
                <a:lnTo>
                  <a:pt x="1645920" y="1956930"/>
                </a:lnTo>
                <a:lnTo>
                  <a:pt x="1645920" y="1924698"/>
                </a:lnTo>
                <a:lnTo>
                  <a:pt x="1613687" y="1924698"/>
                </a:lnTo>
                <a:lnTo>
                  <a:pt x="1613687" y="1892465"/>
                </a:lnTo>
                <a:lnTo>
                  <a:pt x="1581455" y="1892465"/>
                </a:lnTo>
                <a:lnTo>
                  <a:pt x="1581455" y="1924698"/>
                </a:lnTo>
                <a:lnTo>
                  <a:pt x="1549222" y="1924698"/>
                </a:lnTo>
                <a:lnTo>
                  <a:pt x="1549222" y="1956930"/>
                </a:lnTo>
                <a:lnTo>
                  <a:pt x="1581455" y="1956930"/>
                </a:lnTo>
                <a:lnTo>
                  <a:pt x="1581455" y="1989163"/>
                </a:lnTo>
                <a:lnTo>
                  <a:pt x="1613687" y="1989163"/>
                </a:lnTo>
                <a:close/>
                <a:moveTo>
                  <a:pt x="1750847" y="1989163"/>
                </a:moveTo>
                <a:lnTo>
                  <a:pt x="1750847" y="1956930"/>
                </a:lnTo>
                <a:lnTo>
                  <a:pt x="1783080" y="1956930"/>
                </a:lnTo>
                <a:lnTo>
                  <a:pt x="1783080" y="1924698"/>
                </a:lnTo>
                <a:lnTo>
                  <a:pt x="1750847" y="1924698"/>
                </a:lnTo>
                <a:lnTo>
                  <a:pt x="1750847" y="1892465"/>
                </a:lnTo>
                <a:lnTo>
                  <a:pt x="1718615" y="1892465"/>
                </a:lnTo>
                <a:lnTo>
                  <a:pt x="1718615" y="1924698"/>
                </a:lnTo>
                <a:lnTo>
                  <a:pt x="1686382" y="1924698"/>
                </a:lnTo>
                <a:lnTo>
                  <a:pt x="1686382" y="1956930"/>
                </a:lnTo>
                <a:lnTo>
                  <a:pt x="1718615" y="1956930"/>
                </a:lnTo>
                <a:lnTo>
                  <a:pt x="1718615" y="1989163"/>
                </a:lnTo>
                <a:lnTo>
                  <a:pt x="1750847" y="1989163"/>
                </a:lnTo>
                <a:close/>
                <a:moveTo>
                  <a:pt x="3372422" y="868223"/>
                </a:moveTo>
                <a:lnTo>
                  <a:pt x="3388881" y="868223"/>
                </a:lnTo>
                <a:lnTo>
                  <a:pt x="3388881" y="851764"/>
                </a:lnTo>
                <a:lnTo>
                  <a:pt x="3405340" y="851764"/>
                </a:lnTo>
                <a:lnTo>
                  <a:pt x="3405340" y="835304"/>
                </a:lnTo>
                <a:lnTo>
                  <a:pt x="3388881" y="835304"/>
                </a:lnTo>
                <a:lnTo>
                  <a:pt x="3388881" y="818845"/>
                </a:lnTo>
                <a:lnTo>
                  <a:pt x="3372422" y="818845"/>
                </a:lnTo>
                <a:lnTo>
                  <a:pt x="3372422" y="835304"/>
                </a:lnTo>
                <a:lnTo>
                  <a:pt x="3355963" y="835304"/>
                </a:lnTo>
                <a:lnTo>
                  <a:pt x="3355963" y="851764"/>
                </a:lnTo>
                <a:lnTo>
                  <a:pt x="3372422" y="851764"/>
                </a:lnTo>
                <a:lnTo>
                  <a:pt x="3372422" y="868223"/>
                </a:lnTo>
                <a:close/>
                <a:moveTo>
                  <a:pt x="3369335" y="1426121"/>
                </a:moveTo>
                <a:lnTo>
                  <a:pt x="3391967" y="1426121"/>
                </a:lnTo>
                <a:lnTo>
                  <a:pt x="3391967" y="1403490"/>
                </a:lnTo>
                <a:lnTo>
                  <a:pt x="3414598" y="1403490"/>
                </a:lnTo>
                <a:lnTo>
                  <a:pt x="3414598" y="1380858"/>
                </a:lnTo>
                <a:lnTo>
                  <a:pt x="3391967" y="1380858"/>
                </a:lnTo>
                <a:lnTo>
                  <a:pt x="3391967" y="1358227"/>
                </a:lnTo>
                <a:lnTo>
                  <a:pt x="3369335" y="1358227"/>
                </a:lnTo>
                <a:lnTo>
                  <a:pt x="3369335" y="1380858"/>
                </a:lnTo>
                <a:lnTo>
                  <a:pt x="3346704" y="1380858"/>
                </a:lnTo>
                <a:lnTo>
                  <a:pt x="3346704" y="1403490"/>
                </a:lnTo>
                <a:lnTo>
                  <a:pt x="3369335" y="1403490"/>
                </a:lnTo>
                <a:lnTo>
                  <a:pt x="3369335" y="1426121"/>
                </a:lnTo>
                <a:close/>
                <a:moveTo>
                  <a:pt x="3370707" y="1148029"/>
                </a:moveTo>
                <a:lnTo>
                  <a:pt x="3390595" y="1148029"/>
                </a:lnTo>
                <a:lnTo>
                  <a:pt x="3390595" y="1127798"/>
                </a:lnTo>
                <a:lnTo>
                  <a:pt x="3410827" y="1127798"/>
                </a:lnTo>
                <a:lnTo>
                  <a:pt x="3410827" y="1107910"/>
                </a:lnTo>
                <a:lnTo>
                  <a:pt x="3390595" y="1107910"/>
                </a:lnTo>
                <a:lnTo>
                  <a:pt x="3390595" y="1087679"/>
                </a:lnTo>
                <a:lnTo>
                  <a:pt x="3370707" y="1087679"/>
                </a:lnTo>
                <a:lnTo>
                  <a:pt x="3370707" y="1107910"/>
                </a:lnTo>
                <a:lnTo>
                  <a:pt x="3350476" y="1107910"/>
                </a:lnTo>
                <a:lnTo>
                  <a:pt x="3350476" y="1127798"/>
                </a:lnTo>
                <a:lnTo>
                  <a:pt x="3370707" y="1127798"/>
                </a:lnTo>
                <a:lnTo>
                  <a:pt x="3370707" y="1148029"/>
                </a:lnTo>
                <a:close/>
                <a:moveTo>
                  <a:pt x="3095701" y="875424"/>
                </a:moveTo>
                <a:lnTo>
                  <a:pt x="3116961" y="875424"/>
                </a:lnTo>
                <a:lnTo>
                  <a:pt x="3116961" y="854164"/>
                </a:lnTo>
                <a:lnTo>
                  <a:pt x="3138221" y="854164"/>
                </a:lnTo>
                <a:lnTo>
                  <a:pt x="3138221" y="832904"/>
                </a:lnTo>
                <a:lnTo>
                  <a:pt x="3116961" y="832904"/>
                </a:lnTo>
                <a:lnTo>
                  <a:pt x="3116961" y="811644"/>
                </a:lnTo>
                <a:lnTo>
                  <a:pt x="3095701" y="811644"/>
                </a:lnTo>
                <a:lnTo>
                  <a:pt x="3095701" y="832904"/>
                </a:lnTo>
                <a:lnTo>
                  <a:pt x="3074441" y="832904"/>
                </a:lnTo>
                <a:lnTo>
                  <a:pt x="3074441" y="854164"/>
                </a:lnTo>
                <a:lnTo>
                  <a:pt x="3095701" y="854164"/>
                </a:lnTo>
                <a:lnTo>
                  <a:pt x="3095701" y="875424"/>
                </a:lnTo>
                <a:close/>
                <a:moveTo>
                  <a:pt x="3416999" y="1654493"/>
                </a:moveTo>
                <a:lnTo>
                  <a:pt x="3392653" y="1654493"/>
                </a:lnTo>
                <a:lnTo>
                  <a:pt x="3392653" y="1630147"/>
                </a:lnTo>
                <a:lnTo>
                  <a:pt x="3368650" y="1630147"/>
                </a:lnTo>
                <a:lnTo>
                  <a:pt x="3368650" y="1654493"/>
                </a:lnTo>
                <a:lnTo>
                  <a:pt x="3344304" y="1654493"/>
                </a:lnTo>
                <a:lnTo>
                  <a:pt x="3344304" y="1678496"/>
                </a:lnTo>
                <a:lnTo>
                  <a:pt x="3368650" y="1678496"/>
                </a:lnTo>
                <a:lnTo>
                  <a:pt x="3368650" y="1702841"/>
                </a:lnTo>
                <a:lnTo>
                  <a:pt x="3392653" y="1702841"/>
                </a:lnTo>
                <a:lnTo>
                  <a:pt x="3392653" y="1678496"/>
                </a:lnTo>
                <a:lnTo>
                  <a:pt x="3416999" y="1678496"/>
                </a:lnTo>
                <a:lnTo>
                  <a:pt x="3416999" y="1654493"/>
                </a:lnTo>
                <a:close/>
                <a:moveTo>
                  <a:pt x="1888007" y="1989163"/>
                </a:moveTo>
                <a:lnTo>
                  <a:pt x="1888007" y="1956930"/>
                </a:lnTo>
                <a:lnTo>
                  <a:pt x="1920240" y="1956930"/>
                </a:lnTo>
                <a:lnTo>
                  <a:pt x="1920240" y="1924698"/>
                </a:lnTo>
                <a:lnTo>
                  <a:pt x="1888007" y="1924698"/>
                </a:lnTo>
                <a:lnTo>
                  <a:pt x="1888007" y="1892465"/>
                </a:lnTo>
                <a:lnTo>
                  <a:pt x="1855775" y="1892465"/>
                </a:lnTo>
                <a:lnTo>
                  <a:pt x="1855775" y="1924698"/>
                </a:lnTo>
                <a:lnTo>
                  <a:pt x="1823542" y="1924698"/>
                </a:lnTo>
                <a:lnTo>
                  <a:pt x="1823542" y="1956930"/>
                </a:lnTo>
                <a:lnTo>
                  <a:pt x="1855775" y="1956930"/>
                </a:lnTo>
                <a:lnTo>
                  <a:pt x="1855775" y="1989163"/>
                </a:lnTo>
                <a:lnTo>
                  <a:pt x="1888007" y="1989163"/>
                </a:lnTo>
                <a:close/>
                <a:moveTo>
                  <a:pt x="2686622" y="319583"/>
                </a:moveTo>
                <a:lnTo>
                  <a:pt x="2703081" y="319583"/>
                </a:lnTo>
                <a:lnTo>
                  <a:pt x="2703081" y="303124"/>
                </a:lnTo>
                <a:lnTo>
                  <a:pt x="2719540" y="303124"/>
                </a:lnTo>
                <a:lnTo>
                  <a:pt x="2719540" y="286664"/>
                </a:lnTo>
                <a:lnTo>
                  <a:pt x="2703081" y="286664"/>
                </a:lnTo>
                <a:lnTo>
                  <a:pt x="2703081" y="270205"/>
                </a:lnTo>
                <a:lnTo>
                  <a:pt x="2686622" y="270205"/>
                </a:lnTo>
                <a:lnTo>
                  <a:pt x="2686622" y="286664"/>
                </a:lnTo>
                <a:lnTo>
                  <a:pt x="2670163" y="286664"/>
                </a:lnTo>
                <a:lnTo>
                  <a:pt x="2670163" y="303124"/>
                </a:lnTo>
                <a:lnTo>
                  <a:pt x="2686622" y="303124"/>
                </a:lnTo>
                <a:lnTo>
                  <a:pt x="2686622" y="319583"/>
                </a:lnTo>
                <a:close/>
                <a:moveTo>
                  <a:pt x="2683879" y="602132"/>
                </a:moveTo>
                <a:lnTo>
                  <a:pt x="2705824" y="602132"/>
                </a:lnTo>
                <a:lnTo>
                  <a:pt x="2705824" y="580187"/>
                </a:lnTo>
                <a:lnTo>
                  <a:pt x="2727770" y="580187"/>
                </a:lnTo>
                <a:lnTo>
                  <a:pt x="2727770" y="558241"/>
                </a:lnTo>
                <a:lnTo>
                  <a:pt x="2705824" y="558241"/>
                </a:lnTo>
                <a:lnTo>
                  <a:pt x="2705824" y="536296"/>
                </a:lnTo>
                <a:lnTo>
                  <a:pt x="2683879" y="536296"/>
                </a:lnTo>
                <a:lnTo>
                  <a:pt x="2683879" y="558241"/>
                </a:lnTo>
                <a:lnTo>
                  <a:pt x="2661933" y="558241"/>
                </a:lnTo>
                <a:lnTo>
                  <a:pt x="2661933" y="580187"/>
                </a:lnTo>
                <a:lnTo>
                  <a:pt x="2683879" y="580187"/>
                </a:lnTo>
                <a:lnTo>
                  <a:pt x="2683879" y="602132"/>
                </a:lnTo>
                <a:close/>
                <a:moveTo>
                  <a:pt x="2619413" y="178651"/>
                </a:moveTo>
                <a:lnTo>
                  <a:pt x="2633129" y="178651"/>
                </a:lnTo>
                <a:lnTo>
                  <a:pt x="2633129" y="164592"/>
                </a:lnTo>
                <a:lnTo>
                  <a:pt x="2647188" y="164592"/>
                </a:lnTo>
                <a:lnTo>
                  <a:pt x="2647188" y="150876"/>
                </a:lnTo>
                <a:lnTo>
                  <a:pt x="2633129" y="150876"/>
                </a:lnTo>
                <a:lnTo>
                  <a:pt x="2633129" y="136817"/>
                </a:lnTo>
                <a:lnTo>
                  <a:pt x="2619413" y="136817"/>
                </a:lnTo>
                <a:lnTo>
                  <a:pt x="2619413" y="150876"/>
                </a:lnTo>
                <a:lnTo>
                  <a:pt x="2605354" y="150876"/>
                </a:lnTo>
                <a:lnTo>
                  <a:pt x="2605354" y="164592"/>
                </a:lnTo>
                <a:lnTo>
                  <a:pt x="2619413" y="164592"/>
                </a:lnTo>
                <a:lnTo>
                  <a:pt x="2619413" y="178651"/>
                </a:lnTo>
                <a:close/>
                <a:moveTo>
                  <a:pt x="2754173" y="459829"/>
                </a:moveTo>
                <a:lnTo>
                  <a:pt x="2772689" y="459829"/>
                </a:lnTo>
                <a:lnTo>
                  <a:pt x="2772689" y="441312"/>
                </a:lnTo>
                <a:lnTo>
                  <a:pt x="2791206" y="441312"/>
                </a:lnTo>
                <a:lnTo>
                  <a:pt x="2791206" y="422796"/>
                </a:lnTo>
                <a:lnTo>
                  <a:pt x="2772689" y="422796"/>
                </a:lnTo>
                <a:lnTo>
                  <a:pt x="2772689" y="404279"/>
                </a:lnTo>
                <a:lnTo>
                  <a:pt x="2754173" y="404279"/>
                </a:lnTo>
                <a:lnTo>
                  <a:pt x="2754173" y="422796"/>
                </a:lnTo>
                <a:lnTo>
                  <a:pt x="2735656" y="422796"/>
                </a:lnTo>
                <a:lnTo>
                  <a:pt x="2735656" y="441312"/>
                </a:lnTo>
                <a:lnTo>
                  <a:pt x="2754173" y="441312"/>
                </a:lnTo>
                <a:lnTo>
                  <a:pt x="2754173" y="459829"/>
                </a:lnTo>
                <a:close/>
                <a:moveTo>
                  <a:pt x="3049753" y="944347"/>
                </a:moveTo>
                <a:lnTo>
                  <a:pt x="3025750" y="944347"/>
                </a:lnTo>
                <a:lnTo>
                  <a:pt x="3025750" y="968693"/>
                </a:lnTo>
                <a:lnTo>
                  <a:pt x="3001404" y="968693"/>
                </a:lnTo>
                <a:lnTo>
                  <a:pt x="3001404" y="992696"/>
                </a:lnTo>
                <a:lnTo>
                  <a:pt x="3025750" y="992696"/>
                </a:lnTo>
                <a:lnTo>
                  <a:pt x="3025750" y="1017041"/>
                </a:lnTo>
                <a:lnTo>
                  <a:pt x="3049753" y="1017041"/>
                </a:lnTo>
                <a:lnTo>
                  <a:pt x="3049753" y="992696"/>
                </a:lnTo>
                <a:lnTo>
                  <a:pt x="3074099" y="992696"/>
                </a:lnTo>
                <a:lnTo>
                  <a:pt x="3074099" y="968693"/>
                </a:lnTo>
                <a:lnTo>
                  <a:pt x="3049753" y="968693"/>
                </a:lnTo>
                <a:lnTo>
                  <a:pt x="3049753" y="944347"/>
                </a:lnTo>
                <a:close/>
                <a:moveTo>
                  <a:pt x="2616327" y="462229"/>
                </a:moveTo>
                <a:lnTo>
                  <a:pt x="2636215" y="462229"/>
                </a:lnTo>
                <a:lnTo>
                  <a:pt x="2636215" y="441998"/>
                </a:lnTo>
                <a:lnTo>
                  <a:pt x="2656447" y="441998"/>
                </a:lnTo>
                <a:lnTo>
                  <a:pt x="2656447" y="422110"/>
                </a:lnTo>
                <a:lnTo>
                  <a:pt x="2636215" y="422110"/>
                </a:lnTo>
                <a:lnTo>
                  <a:pt x="2636215" y="401879"/>
                </a:lnTo>
                <a:lnTo>
                  <a:pt x="2616327" y="401879"/>
                </a:lnTo>
                <a:lnTo>
                  <a:pt x="2616327" y="422110"/>
                </a:lnTo>
                <a:lnTo>
                  <a:pt x="2596096" y="422110"/>
                </a:lnTo>
                <a:lnTo>
                  <a:pt x="2596096" y="441998"/>
                </a:lnTo>
                <a:lnTo>
                  <a:pt x="2616327" y="441998"/>
                </a:lnTo>
                <a:lnTo>
                  <a:pt x="2616327" y="462229"/>
                </a:lnTo>
                <a:close/>
                <a:moveTo>
                  <a:pt x="2546033" y="604190"/>
                </a:moveTo>
                <a:lnTo>
                  <a:pt x="2569350" y="604190"/>
                </a:lnTo>
                <a:lnTo>
                  <a:pt x="2569350" y="580873"/>
                </a:lnTo>
                <a:lnTo>
                  <a:pt x="2592667" y="580873"/>
                </a:lnTo>
                <a:lnTo>
                  <a:pt x="2592667" y="557555"/>
                </a:lnTo>
                <a:lnTo>
                  <a:pt x="2569350" y="557555"/>
                </a:lnTo>
                <a:lnTo>
                  <a:pt x="2569350" y="534238"/>
                </a:lnTo>
                <a:lnTo>
                  <a:pt x="2546033" y="534238"/>
                </a:lnTo>
                <a:lnTo>
                  <a:pt x="2546033" y="557555"/>
                </a:lnTo>
                <a:lnTo>
                  <a:pt x="2522716" y="557555"/>
                </a:lnTo>
                <a:lnTo>
                  <a:pt x="2522716" y="580873"/>
                </a:lnTo>
                <a:lnTo>
                  <a:pt x="2546033" y="580873"/>
                </a:lnTo>
                <a:lnTo>
                  <a:pt x="2546033" y="604190"/>
                </a:lnTo>
                <a:close/>
                <a:moveTo>
                  <a:pt x="2775433" y="670712"/>
                </a:moveTo>
                <a:lnTo>
                  <a:pt x="2751430" y="670712"/>
                </a:lnTo>
                <a:lnTo>
                  <a:pt x="2751430" y="694373"/>
                </a:lnTo>
                <a:lnTo>
                  <a:pt x="2727770" y="694373"/>
                </a:lnTo>
                <a:lnTo>
                  <a:pt x="2727770" y="718376"/>
                </a:lnTo>
                <a:lnTo>
                  <a:pt x="2751430" y="718376"/>
                </a:lnTo>
                <a:lnTo>
                  <a:pt x="2751430" y="742036"/>
                </a:lnTo>
                <a:lnTo>
                  <a:pt x="2775433" y="742036"/>
                </a:lnTo>
                <a:lnTo>
                  <a:pt x="2775433" y="718376"/>
                </a:lnTo>
                <a:lnTo>
                  <a:pt x="2799093" y="718376"/>
                </a:lnTo>
                <a:lnTo>
                  <a:pt x="2799093" y="694373"/>
                </a:lnTo>
                <a:lnTo>
                  <a:pt x="2775433" y="694373"/>
                </a:lnTo>
                <a:lnTo>
                  <a:pt x="2775433" y="670712"/>
                </a:lnTo>
                <a:close/>
                <a:moveTo>
                  <a:pt x="2481568" y="180365"/>
                </a:moveTo>
                <a:lnTo>
                  <a:pt x="2496655" y="180365"/>
                </a:lnTo>
                <a:lnTo>
                  <a:pt x="2496655" y="165278"/>
                </a:lnTo>
                <a:lnTo>
                  <a:pt x="2511743" y="165278"/>
                </a:lnTo>
                <a:lnTo>
                  <a:pt x="2511743" y="150190"/>
                </a:lnTo>
                <a:lnTo>
                  <a:pt x="2496655" y="150190"/>
                </a:lnTo>
                <a:lnTo>
                  <a:pt x="2496655" y="135103"/>
                </a:lnTo>
                <a:lnTo>
                  <a:pt x="2481568" y="135103"/>
                </a:lnTo>
                <a:lnTo>
                  <a:pt x="2481568" y="150190"/>
                </a:lnTo>
                <a:lnTo>
                  <a:pt x="2466480" y="150190"/>
                </a:lnTo>
                <a:lnTo>
                  <a:pt x="2466480" y="165278"/>
                </a:lnTo>
                <a:lnTo>
                  <a:pt x="2481568" y="165278"/>
                </a:lnTo>
                <a:lnTo>
                  <a:pt x="2481568" y="180365"/>
                </a:lnTo>
                <a:close/>
                <a:moveTo>
                  <a:pt x="2548776" y="321297"/>
                </a:moveTo>
                <a:lnTo>
                  <a:pt x="2566607" y="321297"/>
                </a:lnTo>
                <a:lnTo>
                  <a:pt x="2566607" y="303809"/>
                </a:lnTo>
                <a:lnTo>
                  <a:pt x="2584094" y="303809"/>
                </a:lnTo>
                <a:lnTo>
                  <a:pt x="2584094" y="285979"/>
                </a:lnTo>
                <a:lnTo>
                  <a:pt x="2566607" y="285979"/>
                </a:lnTo>
                <a:lnTo>
                  <a:pt x="2566607" y="268491"/>
                </a:lnTo>
                <a:lnTo>
                  <a:pt x="2548776" y="268491"/>
                </a:lnTo>
                <a:lnTo>
                  <a:pt x="2548776" y="285979"/>
                </a:lnTo>
                <a:lnTo>
                  <a:pt x="2531288" y="285979"/>
                </a:lnTo>
                <a:lnTo>
                  <a:pt x="2531288" y="303809"/>
                </a:lnTo>
                <a:lnTo>
                  <a:pt x="2548776" y="303809"/>
                </a:lnTo>
                <a:lnTo>
                  <a:pt x="2548776" y="321297"/>
                </a:lnTo>
                <a:close/>
                <a:moveTo>
                  <a:pt x="2757259" y="176594"/>
                </a:moveTo>
                <a:lnTo>
                  <a:pt x="2769604" y="176594"/>
                </a:lnTo>
                <a:lnTo>
                  <a:pt x="2769604" y="163906"/>
                </a:lnTo>
                <a:lnTo>
                  <a:pt x="2782291" y="163906"/>
                </a:lnTo>
                <a:lnTo>
                  <a:pt x="2782291" y="151562"/>
                </a:lnTo>
                <a:lnTo>
                  <a:pt x="2769604" y="151562"/>
                </a:lnTo>
                <a:lnTo>
                  <a:pt x="2769604" y="138875"/>
                </a:lnTo>
                <a:lnTo>
                  <a:pt x="2757259" y="138875"/>
                </a:lnTo>
                <a:lnTo>
                  <a:pt x="2757259" y="151562"/>
                </a:lnTo>
                <a:lnTo>
                  <a:pt x="2744572" y="151562"/>
                </a:lnTo>
                <a:lnTo>
                  <a:pt x="2744572" y="163906"/>
                </a:lnTo>
                <a:lnTo>
                  <a:pt x="2757259" y="163906"/>
                </a:lnTo>
                <a:lnTo>
                  <a:pt x="2757259" y="176594"/>
                </a:lnTo>
                <a:close/>
                <a:moveTo>
                  <a:pt x="2821724" y="600075"/>
                </a:moveTo>
                <a:lnTo>
                  <a:pt x="2842298" y="600075"/>
                </a:lnTo>
                <a:lnTo>
                  <a:pt x="2842298" y="579501"/>
                </a:lnTo>
                <a:lnTo>
                  <a:pt x="2862872" y="579501"/>
                </a:lnTo>
                <a:lnTo>
                  <a:pt x="2862872" y="558927"/>
                </a:lnTo>
                <a:lnTo>
                  <a:pt x="2842298" y="558927"/>
                </a:lnTo>
                <a:lnTo>
                  <a:pt x="2842298" y="538353"/>
                </a:lnTo>
                <a:lnTo>
                  <a:pt x="2821724" y="538353"/>
                </a:lnTo>
                <a:lnTo>
                  <a:pt x="2821724" y="558927"/>
                </a:lnTo>
                <a:lnTo>
                  <a:pt x="2801150" y="558927"/>
                </a:lnTo>
                <a:lnTo>
                  <a:pt x="2801150" y="579501"/>
                </a:lnTo>
                <a:lnTo>
                  <a:pt x="2821724" y="579501"/>
                </a:lnTo>
                <a:lnTo>
                  <a:pt x="2821724" y="600075"/>
                </a:lnTo>
                <a:close/>
                <a:moveTo>
                  <a:pt x="2980830" y="808215"/>
                </a:moveTo>
                <a:lnTo>
                  <a:pt x="2957513" y="808215"/>
                </a:lnTo>
                <a:lnTo>
                  <a:pt x="2957513" y="831875"/>
                </a:lnTo>
                <a:lnTo>
                  <a:pt x="2933852" y="831875"/>
                </a:lnTo>
                <a:lnTo>
                  <a:pt x="2933852" y="855193"/>
                </a:lnTo>
                <a:lnTo>
                  <a:pt x="2957513" y="855193"/>
                </a:lnTo>
                <a:lnTo>
                  <a:pt x="2957513" y="878853"/>
                </a:lnTo>
                <a:lnTo>
                  <a:pt x="2980830" y="878853"/>
                </a:lnTo>
                <a:lnTo>
                  <a:pt x="2980830" y="855193"/>
                </a:lnTo>
                <a:lnTo>
                  <a:pt x="3004490" y="855193"/>
                </a:lnTo>
                <a:lnTo>
                  <a:pt x="3004490" y="831875"/>
                </a:lnTo>
                <a:lnTo>
                  <a:pt x="2980830" y="831875"/>
                </a:lnTo>
                <a:lnTo>
                  <a:pt x="2980830" y="808215"/>
                </a:lnTo>
                <a:close/>
                <a:moveTo>
                  <a:pt x="2962656" y="314439"/>
                </a:moveTo>
                <a:lnTo>
                  <a:pt x="2975686" y="314439"/>
                </a:lnTo>
                <a:lnTo>
                  <a:pt x="2975686" y="301409"/>
                </a:lnTo>
                <a:lnTo>
                  <a:pt x="2988716" y="301409"/>
                </a:lnTo>
                <a:lnTo>
                  <a:pt x="2988716" y="288379"/>
                </a:lnTo>
                <a:lnTo>
                  <a:pt x="2975686" y="288379"/>
                </a:lnTo>
                <a:lnTo>
                  <a:pt x="2975686" y="275349"/>
                </a:lnTo>
                <a:lnTo>
                  <a:pt x="2962656" y="275349"/>
                </a:lnTo>
                <a:lnTo>
                  <a:pt x="2962656" y="288379"/>
                </a:lnTo>
                <a:lnTo>
                  <a:pt x="2949626" y="288379"/>
                </a:lnTo>
                <a:lnTo>
                  <a:pt x="2949626" y="301409"/>
                </a:lnTo>
                <a:lnTo>
                  <a:pt x="2962656" y="301409"/>
                </a:lnTo>
                <a:lnTo>
                  <a:pt x="2962656" y="314439"/>
                </a:lnTo>
                <a:close/>
                <a:moveTo>
                  <a:pt x="3030208" y="454685"/>
                </a:moveTo>
                <a:lnTo>
                  <a:pt x="3045295" y="454685"/>
                </a:lnTo>
                <a:lnTo>
                  <a:pt x="3045295" y="439598"/>
                </a:lnTo>
                <a:lnTo>
                  <a:pt x="3060383" y="439598"/>
                </a:lnTo>
                <a:lnTo>
                  <a:pt x="3060383" y="424510"/>
                </a:lnTo>
                <a:lnTo>
                  <a:pt x="3045295" y="424510"/>
                </a:lnTo>
                <a:lnTo>
                  <a:pt x="3045295" y="409423"/>
                </a:lnTo>
                <a:lnTo>
                  <a:pt x="3030208" y="409423"/>
                </a:lnTo>
                <a:lnTo>
                  <a:pt x="3030208" y="424510"/>
                </a:lnTo>
                <a:lnTo>
                  <a:pt x="3015120" y="424510"/>
                </a:lnTo>
                <a:lnTo>
                  <a:pt x="3015120" y="439598"/>
                </a:lnTo>
                <a:lnTo>
                  <a:pt x="3030208" y="439598"/>
                </a:lnTo>
                <a:lnTo>
                  <a:pt x="3030208" y="454685"/>
                </a:lnTo>
                <a:close/>
                <a:moveTo>
                  <a:pt x="3027807" y="736549"/>
                </a:moveTo>
                <a:lnTo>
                  <a:pt x="3047695" y="736549"/>
                </a:lnTo>
                <a:lnTo>
                  <a:pt x="3047695" y="716318"/>
                </a:lnTo>
                <a:lnTo>
                  <a:pt x="3067927" y="716318"/>
                </a:lnTo>
                <a:lnTo>
                  <a:pt x="3067927" y="696430"/>
                </a:lnTo>
                <a:lnTo>
                  <a:pt x="3047695" y="696430"/>
                </a:lnTo>
                <a:lnTo>
                  <a:pt x="3047695" y="676199"/>
                </a:lnTo>
                <a:lnTo>
                  <a:pt x="3027807" y="676199"/>
                </a:lnTo>
                <a:lnTo>
                  <a:pt x="3027807" y="696430"/>
                </a:lnTo>
                <a:lnTo>
                  <a:pt x="3007576" y="696430"/>
                </a:lnTo>
                <a:lnTo>
                  <a:pt x="3007576" y="716318"/>
                </a:lnTo>
                <a:lnTo>
                  <a:pt x="3027807" y="716318"/>
                </a:lnTo>
                <a:lnTo>
                  <a:pt x="3027807" y="736549"/>
                </a:lnTo>
                <a:close/>
                <a:moveTo>
                  <a:pt x="2889619" y="739635"/>
                </a:moveTo>
                <a:lnTo>
                  <a:pt x="2911564" y="739635"/>
                </a:lnTo>
                <a:lnTo>
                  <a:pt x="2911564" y="717347"/>
                </a:lnTo>
                <a:lnTo>
                  <a:pt x="2933852" y="717347"/>
                </a:lnTo>
                <a:lnTo>
                  <a:pt x="2933852" y="695401"/>
                </a:lnTo>
                <a:lnTo>
                  <a:pt x="2911564" y="695401"/>
                </a:lnTo>
                <a:lnTo>
                  <a:pt x="2911564" y="673113"/>
                </a:lnTo>
                <a:lnTo>
                  <a:pt x="2889619" y="673113"/>
                </a:lnTo>
                <a:lnTo>
                  <a:pt x="2889619" y="695401"/>
                </a:lnTo>
                <a:lnTo>
                  <a:pt x="2867330" y="695401"/>
                </a:lnTo>
                <a:lnTo>
                  <a:pt x="2867330" y="717347"/>
                </a:lnTo>
                <a:lnTo>
                  <a:pt x="2889619" y="717347"/>
                </a:lnTo>
                <a:lnTo>
                  <a:pt x="2889619" y="739635"/>
                </a:lnTo>
                <a:close/>
                <a:moveTo>
                  <a:pt x="2824468" y="317183"/>
                </a:moveTo>
                <a:lnTo>
                  <a:pt x="2839555" y="317183"/>
                </a:lnTo>
                <a:lnTo>
                  <a:pt x="2839555" y="302438"/>
                </a:lnTo>
                <a:lnTo>
                  <a:pt x="2854300" y="302438"/>
                </a:lnTo>
                <a:lnTo>
                  <a:pt x="2854300" y="287350"/>
                </a:lnTo>
                <a:lnTo>
                  <a:pt x="2839555" y="287350"/>
                </a:lnTo>
                <a:lnTo>
                  <a:pt x="2839555" y="272606"/>
                </a:lnTo>
                <a:lnTo>
                  <a:pt x="2824468" y="272606"/>
                </a:lnTo>
                <a:lnTo>
                  <a:pt x="2824468" y="287350"/>
                </a:lnTo>
                <a:lnTo>
                  <a:pt x="2809723" y="287350"/>
                </a:lnTo>
                <a:lnTo>
                  <a:pt x="2809723" y="302438"/>
                </a:lnTo>
                <a:lnTo>
                  <a:pt x="2824468" y="302438"/>
                </a:lnTo>
                <a:lnTo>
                  <a:pt x="2824468" y="317183"/>
                </a:lnTo>
                <a:close/>
                <a:moveTo>
                  <a:pt x="2892019" y="457429"/>
                </a:moveTo>
                <a:lnTo>
                  <a:pt x="2909164" y="457429"/>
                </a:lnTo>
                <a:lnTo>
                  <a:pt x="2909164" y="440627"/>
                </a:lnTo>
                <a:lnTo>
                  <a:pt x="2925966" y="440627"/>
                </a:lnTo>
                <a:lnTo>
                  <a:pt x="2925966" y="423482"/>
                </a:lnTo>
                <a:lnTo>
                  <a:pt x="2909164" y="423482"/>
                </a:lnTo>
                <a:lnTo>
                  <a:pt x="2909164" y="406679"/>
                </a:lnTo>
                <a:lnTo>
                  <a:pt x="2892019" y="406679"/>
                </a:lnTo>
                <a:lnTo>
                  <a:pt x="2892019" y="423482"/>
                </a:lnTo>
                <a:lnTo>
                  <a:pt x="2875217" y="423482"/>
                </a:lnTo>
                <a:lnTo>
                  <a:pt x="2875217" y="440627"/>
                </a:lnTo>
                <a:lnTo>
                  <a:pt x="2892019" y="440627"/>
                </a:lnTo>
                <a:lnTo>
                  <a:pt x="2892019" y="457429"/>
                </a:lnTo>
                <a:close/>
                <a:moveTo>
                  <a:pt x="2959913" y="597332"/>
                </a:moveTo>
                <a:lnTo>
                  <a:pt x="2978429" y="597332"/>
                </a:lnTo>
                <a:lnTo>
                  <a:pt x="2978429" y="578472"/>
                </a:lnTo>
                <a:lnTo>
                  <a:pt x="2997289" y="578472"/>
                </a:lnTo>
                <a:lnTo>
                  <a:pt x="2997289" y="559956"/>
                </a:lnTo>
                <a:lnTo>
                  <a:pt x="2978429" y="559956"/>
                </a:lnTo>
                <a:lnTo>
                  <a:pt x="2978429" y="541096"/>
                </a:lnTo>
                <a:lnTo>
                  <a:pt x="2959913" y="541096"/>
                </a:lnTo>
                <a:lnTo>
                  <a:pt x="2959913" y="559956"/>
                </a:lnTo>
                <a:lnTo>
                  <a:pt x="2941054" y="559956"/>
                </a:lnTo>
                <a:lnTo>
                  <a:pt x="2941054" y="578472"/>
                </a:lnTo>
                <a:lnTo>
                  <a:pt x="2959913" y="578472"/>
                </a:lnTo>
                <a:lnTo>
                  <a:pt x="2959913" y="597332"/>
                </a:lnTo>
                <a:close/>
                <a:moveTo>
                  <a:pt x="2230907" y="2126323"/>
                </a:moveTo>
                <a:lnTo>
                  <a:pt x="2230907" y="2094090"/>
                </a:lnTo>
                <a:lnTo>
                  <a:pt x="2263140" y="2094090"/>
                </a:lnTo>
                <a:lnTo>
                  <a:pt x="2263140" y="2061858"/>
                </a:lnTo>
                <a:lnTo>
                  <a:pt x="2230907" y="2061858"/>
                </a:lnTo>
                <a:lnTo>
                  <a:pt x="2230907" y="2029625"/>
                </a:lnTo>
                <a:lnTo>
                  <a:pt x="2198675" y="2029625"/>
                </a:lnTo>
                <a:lnTo>
                  <a:pt x="2198675" y="2061858"/>
                </a:lnTo>
                <a:lnTo>
                  <a:pt x="2166442" y="2061858"/>
                </a:lnTo>
                <a:lnTo>
                  <a:pt x="2166442" y="2094090"/>
                </a:lnTo>
                <a:lnTo>
                  <a:pt x="2198675" y="2094090"/>
                </a:lnTo>
                <a:lnTo>
                  <a:pt x="2198675" y="2126323"/>
                </a:lnTo>
                <a:lnTo>
                  <a:pt x="2230907" y="2126323"/>
                </a:lnTo>
                <a:close/>
                <a:moveTo>
                  <a:pt x="1476527" y="1989163"/>
                </a:moveTo>
                <a:lnTo>
                  <a:pt x="1476527" y="1956930"/>
                </a:lnTo>
                <a:lnTo>
                  <a:pt x="1508760" y="1956930"/>
                </a:lnTo>
                <a:lnTo>
                  <a:pt x="1508760" y="1924698"/>
                </a:lnTo>
                <a:lnTo>
                  <a:pt x="1476527" y="1924698"/>
                </a:lnTo>
                <a:lnTo>
                  <a:pt x="1476527" y="1892465"/>
                </a:lnTo>
                <a:lnTo>
                  <a:pt x="1444295" y="1892465"/>
                </a:lnTo>
                <a:lnTo>
                  <a:pt x="1444295" y="1924698"/>
                </a:lnTo>
                <a:lnTo>
                  <a:pt x="1412062" y="1924698"/>
                </a:lnTo>
                <a:lnTo>
                  <a:pt x="1412062" y="1956930"/>
                </a:lnTo>
                <a:lnTo>
                  <a:pt x="1444295" y="1956930"/>
                </a:lnTo>
                <a:lnTo>
                  <a:pt x="1444295" y="1989163"/>
                </a:lnTo>
                <a:lnTo>
                  <a:pt x="1476527" y="1989163"/>
                </a:lnTo>
                <a:close/>
                <a:moveTo>
                  <a:pt x="1545107" y="2126323"/>
                </a:moveTo>
                <a:lnTo>
                  <a:pt x="1545107" y="2094090"/>
                </a:lnTo>
                <a:lnTo>
                  <a:pt x="1577340" y="2094090"/>
                </a:lnTo>
                <a:lnTo>
                  <a:pt x="1577340" y="2061858"/>
                </a:lnTo>
                <a:lnTo>
                  <a:pt x="1545107" y="2061858"/>
                </a:lnTo>
                <a:lnTo>
                  <a:pt x="1545107" y="2029625"/>
                </a:lnTo>
                <a:lnTo>
                  <a:pt x="1512875" y="2029625"/>
                </a:lnTo>
                <a:lnTo>
                  <a:pt x="1512875" y="2061858"/>
                </a:lnTo>
                <a:lnTo>
                  <a:pt x="1480642" y="2061858"/>
                </a:lnTo>
                <a:lnTo>
                  <a:pt x="1480642" y="2094090"/>
                </a:lnTo>
                <a:lnTo>
                  <a:pt x="1512875" y="2094090"/>
                </a:lnTo>
                <a:lnTo>
                  <a:pt x="1512875" y="2126323"/>
                </a:lnTo>
                <a:lnTo>
                  <a:pt x="1545107" y="2126323"/>
                </a:lnTo>
                <a:close/>
                <a:moveTo>
                  <a:pt x="1613687" y="2263483"/>
                </a:moveTo>
                <a:lnTo>
                  <a:pt x="1613687" y="2231250"/>
                </a:lnTo>
                <a:lnTo>
                  <a:pt x="1645920" y="2231250"/>
                </a:lnTo>
                <a:lnTo>
                  <a:pt x="1645920" y="2199018"/>
                </a:lnTo>
                <a:lnTo>
                  <a:pt x="1613687" y="2199018"/>
                </a:lnTo>
                <a:lnTo>
                  <a:pt x="1613687" y="2166785"/>
                </a:lnTo>
                <a:lnTo>
                  <a:pt x="1581455" y="2166785"/>
                </a:lnTo>
                <a:lnTo>
                  <a:pt x="1581455" y="2199018"/>
                </a:lnTo>
                <a:lnTo>
                  <a:pt x="1549222" y="2199018"/>
                </a:lnTo>
                <a:lnTo>
                  <a:pt x="1549222" y="2231250"/>
                </a:lnTo>
                <a:lnTo>
                  <a:pt x="1581455" y="2231250"/>
                </a:lnTo>
                <a:lnTo>
                  <a:pt x="1581455" y="2263483"/>
                </a:lnTo>
                <a:lnTo>
                  <a:pt x="1613687" y="2263483"/>
                </a:lnTo>
                <a:close/>
                <a:moveTo>
                  <a:pt x="1819427" y="2126323"/>
                </a:moveTo>
                <a:lnTo>
                  <a:pt x="1819427" y="2094090"/>
                </a:lnTo>
                <a:lnTo>
                  <a:pt x="1851660" y="2094090"/>
                </a:lnTo>
                <a:lnTo>
                  <a:pt x="1851660" y="2061858"/>
                </a:lnTo>
                <a:lnTo>
                  <a:pt x="1819427" y="2061858"/>
                </a:lnTo>
                <a:lnTo>
                  <a:pt x="1819427" y="2029625"/>
                </a:lnTo>
                <a:lnTo>
                  <a:pt x="1787195" y="2029625"/>
                </a:lnTo>
                <a:lnTo>
                  <a:pt x="1787195" y="2061858"/>
                </a:lnTo>
                <a:lnTo>
                  <a:pt x="1754962" y="2061858"/>
                </a:lnTo>
                <a:lnTo>
                  <a:pt x="1754962" y="2094090"/>
                </a:lnTo>
                <a:lnTo>
                  <a:pt x="1787195" y="2094090"/>
                </a:lnTo>
                <a:lnTo>
                  <a:pt x="1787195" y="2126323"/>
                </a:lnTo>
                <a:lnTo>
                  <a:pt x="1819427" y="2126323"/>
                </a:lnTo>
                <a:close/>
                <a:moveTo>
                  <a:pt x="1682267" y="2126323"/>
                </a:moveTo>
                <a:lnTo>
                  <a:pt x="1682267" y="2094090"/>
                </a:lnTo>
                <a:lnTo>
                  <a:pt x="1714500" y="2094090"/>
                </a:lnTo>
                <a:lnTo>
                  <a:pt x="1714500" y="2061858"/>
                </a:lnTo>
                <a:lnTo>
                  <a:pt x="1682267" y="2061858"/>
                </a:lnTo>
                <a:lnTo>
                  <a:pt x="1682267" y="2029625"/>
                </a:lnTo>
                <a:lnTo>
                  <a:pt x="1650035" y="2029625"/>
                </a:lnTo>
                <a:lnTo>
                  <a:pt x="1650035" y="2061858"/>
                </a:lnTo>
                <a:lnTo>
                  <a:pt x="1617802" y="2061858"/>
                </a:lnTo>
                <a:lnTo>
                  <a:pt x="1617802" y="2094090"/>
                </a:lnTo>
                <a:lnTo>
                  <a:pt x="1650035" y="2094090"/>
                </a:lnTo>
                <a:lnTo>
                  <a:pt x="1650035" y="2126323"/>
                </a:lnTo>
                <a:lnTo>
                  <a:pt x="1682267" y="2126323"/>
                </a:lnTo>
                <a:close/>
                <a:moveTo>
                  <a:pt x="1750847" y="2263483"/>
                </a:moveTo>
                <a:lnTo>
                  <a:pt x="1750847" y="2231250"/>
                </a:lnTo>
                <a:lnTo>
                  <a:pt x="1783080" y="2231250"/>
                </a:lnTo>
                <a:lnTo>
                  <a:pt x="1783080" y="2199018"/>
                </a:lnTo>
                <a:lnTo>
                  <a:pt x="1750847" y="2199018"/>
                </a:lnTo>
                <a:lnTo>
                  <a:pt x="1750847" y="2166785"/>
                </a:lnTo>
                <a:lnTo>
                  <a:pt x="1718615" y="2166785"/>
                </a:lnTo>
                <a:lnTo>
                  <a:pt x="1718615" y="2199018"/>
                </a:lnTo>
                <a:lnTo>
                  <a:pt x="1686382" y="2199018"/>
                </a:lnTo>
                <a:lnTo>
                  <a:pt x="1686382" y="2231250"/>
                </a:lnTo>
                <a:lnTo>
                  <a:pt x="1718615" y="2231250"/>
                </a:lnTo>
                <a:lnTo>
                  <a:pt x="1718615" y="2263483"/>
                </a:lnTo>
                <a:lnTo>
                  <a:pt x="1750847" y="2263483"/>
                </a:lnTo>
                <a:close/>
                <a:moveTo>
                  <a:pt x="1407947" y="2126323"/>
                </a:moveTo>
                <a:lnTo>
                  <a:pt x="1407947" y="2094090"/>
                </a:lnTo>
                <a:lnTo>
                  <a:pt x="1440180" y="2094090"/>
                </a:lnTo>
                <a:lnTo>
                  <a:pt x="1440180" y="2061858"/>
                </a:lnTo>
                <a:lnTo>
                  <a:pt x="1407947" y="2061858"/>
                </a:lnTo>
                <a:lnTo>
                  <a:pt x="1407947" y="2029625"/>
                </a:lnTo>
                <a:lnTo>
                  <a:pt x="1375715" y="2029625"/>
                </a:lnTo>
                <a:lnTo>
                  <a:pt x="1375715" y="2061858"/>
                </a:lnTo>
                <a:lnTo>
                  <a:pt x="1343482" y="2061858"/>
                </a:lnTo>
                <a:lnTo>
                  <a:pt x="1343482" y="2094090"/>
                </a:lnTo>
                <a:lnTo>
                  <a:pt x="1375715" y="2094090"/>
                </a:lnTo>
                <a:lnTo>
                  <a:pt x="1375715" y="2126323"/>
                </a:lnTo>
                <a:lnTo>
                  <a:pt x="1407947" y="2126323"/>
                </a:lnTo>
                <a:close/>
                <a:moveTo>
                  <a:pt x="1202207" y="1989163"/>
                </a:moveTo>
                <a:lnTo>
                  <a:pt x="1202207" y="1956930"/>
                </a:lnTo>
                <a:lnTo>
                  <a:pt x="1234440" y="1956930"/>
                </a:lnTo>
                <a:lnTo>
                  <a:pt x="1234440" y="1924698"/>
                </a:lnTo>
                <a:lnTo>
                  <a:pt x="1202207" y="1924698"/>
                </a:lnTo>
                <a:lnTo>
                  <a:pt x="1202207" y="1892465"/>
                </a:lnTo>
                <a:lnTo>
                  <a:pt x="1169975" y="1892465"/>
                </a:lnTo>
                <a:lnTo>
                  <a:pt x="1169975" y="1924698"/>
                </a:lnTo>
                <a:lnTo>
                  <a:pt x="1137742" y="1924698"/>
                </a:lnTo>
                <a:lnTo>
                  <a:pt x="1137742" y="1956930"/>
                </a:lnTo>
                <a:lnTo>
                  <a:pt x="1169975" y="1956930"/>
                </a:lnTo>
                <a:lnTo>
                  <a:pt x="1169975" y="1989163"/>
                </a:lnTo>
                <a:lnTo>
                  <a:pt x="1202207" y="1989163"/>
                </a:lnTo>
                <a:close/>
                <a:moveTo>
                  <a:pt x="1270787" y="2126323"/>
                </a:moveTo>
                <a:lnTo>
                  <a:pt x="1270787" y="2094090"/>
                </a:lnTo>
                <a:lnTo>
                  <a:pt x="1303020" y="2094090"/>
                </a:lnTo>
                <a:lnTo>
                  <a:pt x="1303020" y="2061858"/>
                </a:lnTo>
                <a:lnTo>
                  <a:pt x="1270787" y="2061858"/>
                </a:lnTo>
                <a:lnTo>
                  <a:pt x="1270787" y="2029625"/>
                </a:lnTo>
                <a:lnTo>
                  <a:pt x="1238555" y="2029625"/>
                </a:lnTo>
                <a:lnTo>
                  <a:pt x="1238555" y="2061858"/>
                </a:lnTo>
                <a:lnTo>
                  <a:pt x="1206322" y="2061858"/>
                </a:lnTo>
                <a:lnTo>
                  <a:pt x="1206322" y="2094090"/>
                </a:lnTo>
                <a:lnTo>
                  <a:pt x="1238555" y="2094090"/>
                </a:lnTo>
                <a:lnTo>
                  <a:pt x="1238555" y="2126323"/>
                </a:lnTo>
                <a:lnTo>
                  <a:pt x="1270787" y="2126323"/>
                </a:lnTo>
                <a:close/>
                <a:moveTo>
                  <a:pt x="1339367" y="1989163"/>
                </a:moveTo>
                <a:lnTo>
                  <a:pt x="1339367" y="1956930"/>
                </a:lnTo>
                <a:lnTo>
                  <a:pt x="1371600" y="1956930"/>
                </a:lnTo>
                <a:lnTo>
                  <a:pt x="1371600" y="1924698"/>
                </a:lnTo>
                <a:lnTo>
                  <a:pt x="1339367" y="1924698"/>
                </a:lnTo>
                <a:lnTo>
                  <a:pt x="1339367" y="1892465"/>
                </a:lnTo>
                <a:lnTo>
                  <a:pt x="1307135" y="1892465"/>
                </a:lnTo>
                <a:lnTo>
                  <a:pt x="1307135" y="1924698"/>
                </a:lnTo>
                <a:lnTo>
                  <a:pt x="1274902" y="1924698"/>
                </a:lnTo>
                <a:lnTo>
                  <a:pt x="1274902" y="1956930"/>
                </a:lnTo>
                <a:lnTo>
                  <a:pt x="1307135" y="1956930"/>
                </a:lnTo>
                <a:lnTo>
                  <a:pt x="1307135" y="1989163"/>
                </a:lnTo>
                <a:lnTo>
                  <a:pt x="1339367" y="1989163"/>
                </a:lnTo>
                <a:close/>
                <a:moveTo>
                  <a:pt x="2299487" y="2263483"/>
                </a:moveTo>
                <a:lnTo>
                  <a:pt x="2299487" y="2231250"/>
                </a:lnTo>
                <a:lnTo>
                  <a:pt x="2331720" y="2231250"/>
                </a:lnTo>
                <a:lnTo>
                  <a:pt x="2331720" y="2199018"/>
                </a:lnTo>
                <a:lnTo>
                  <a:pt x="2299487" y="2199018"/>
                </a:lnTo>
                <a:lnTo>
                  <a:pt x="2299487" y="2166785"/>
                </a:lnTo>
                <a:lnTo>
                  <a:pt x="2267255" y="2166785"/>
                </a:lnTo>
                <a:lnTo>
                  <a:pt x="2267255" y="2199018"/>
                </a:lnTo>
                <a:lnTo>
                  <a:pt x="2235022" y="2199018"/>
                </a:lnTo>
                <a:lnTo>
                  <a:pt x="2235022" y="2231250"/>
                </a:lnTo>
                <a:lnTo>
                  <a:pt x="2267255" y="2231250"/>
                </a:lnTo>
                <a:lnTo>
                  <a:pt x="2267255" y="2263483"/>
                </a:lnTo>
                <a:lnTo>
                  <a:pt x="2299487" y="2263483"/>
                </a:lnTo>
                <a:close/>
                <a:moveTo>
                  <a:pt x="2368067" y="2126323"/>
                </a:moveTo>
                <a:lnTo>
                  <a:pt x="2368067" y="2094090"/>
                </a:lnTo>
                <a:lnTo>
                  <a:pt x="2400300" y="2094090"/>
                </a:lnTo>
                <a:lnTo>
                  <a:pt x="2400300" y="2061858"/>
                </a:lnTo>
                <a:lnTo>
                  <a:pt x="2368067" y="2061858"/>
                </a:lnTo>
                <a:lnTo>
                  <a:pt x="2368067" y="2029625"/>
                </a:lnTo>
                <a:lnTo>
                  <a:pt x="2335835" y="2029625"/>
                </a:lnTo>
                <a:lnTo>
                  <a:pt x="2335835" y="2061858"/>
                </a:lnTo>
                <a:lnTo>
                  <a:pt x="2303602" y="2061858"/>
                </a:lnTo>
                <a:lnTo>
                  <a:pt x="2303602" y="2094090"/>
                </a:lnTo>
                <a:lnTo>
                  <a:pt x="2335835" y="2094090"/>
                </a:lnTo>
                <a:lnTo>
                  <a:pt x="2335835" y="2126323"/>
                </a:lnTo>
                <a:lnTo>
                  <a:pt x="2368067" y="2126323"/>
                </a:lnTo>
                <a:close/>
                <a:moveTo>
                  <a:pt x="1888007" y="2263483"/>
                </a:moveTo>
                <a:lnTo>
                  <a:pt x="1888007" y="2231250"/>
                </a:lnTo>
                <a:lnTo>
                  <a:pt x="1920240" y="2231250"/>
                </a:lnTo>
                <a:lnTo>
                  <a:pt x="1920240" y="2199018"/>
                </a:lnTo>
                <a:lnTo>
                  <a:pt x="1888007" y="2199018"/>
                </a:lnTo>
                <a:lnTo>
                  <a:pt x="1888007" y="2166785"/>
                </a:lnTo>
                <a:lnTo>
                  <a:pt x="1855775" y="2166785"/>
                </a:lnTo>
                <a:lnTo>
                  <a:pt x="1855775" y="2199018"/>
                </a:lnTo>
                <a:lnTo>
                  <a:pt x="1823542" y="2199018"/>
                </a:lnTo>
                <a:lnTo>
                  <a:pt x="1823542" y="2231250"/>
                </a:lnTo>
                <a:lnTo>
                  <a:pt x="1855775" y="2231250"/>
                </a:lnTo>
                <a:lnTo>
                  <a:pt x="1855775" y="2263483"/>
                </a:lnTo>
                <a:lnTo>
                  <a:pt x="1888007" y="2263483"/>
                </a:lnTo>
                <a:close/>
                <a:moveTo>
                  <a:pt x="2436647" y="2263483"/>
                </a:moveTo>
                <a:lnTo>
                  <a:pt x="2436647" y="2231250"/>
                </a:lnTo>
                <a:lnTo>
                  <a:pt x="2468880" y="2231250"/>
                </a:lnTo>
                <a:lnTo>
                  <a:pt x="2468880" y="2199018"/>
                </a:lnTo>
                <a:lnTo>
                  <a:pt x="2436647" y="2199018"/>
                </a:lnTo>
                <a:lnTo>
                  <a:pt x="2436647" y="2166785"/>
                </a:lnTo>
                <a:lnTo>
                  <a:pt x="2404415" y="2166785"/>
                </a:lnTo>
                <a:lnTo>
                  <a:pt x="2404415" y="2199018"/>
                </a:lnTo>
                <a:lnTo>
                  <a:pt x="2372182" y="2199018"/>
                </a:lnTo>
                <a:lnTo>
                  <a:pt x="2372182" y="2231250"/>
                </a:lnTo>
                <a:lnTo>
                  <a:pt x="2404415" y="2231250"/>
                </a:lnTo>
                <a:lnTo>
                  <a:pt x="2404415" y="2263483"/>
                </a:lnTo>
                <a:lnTo>
                  <a:pt x="2436647" y="2263483"/>
                </a:lnTo>
                <a:close/>
                <a:moveTo>
                  <a:pt x="2478481" y="463944"/>
                </a:moveTo>
                <a:lnTo>
                  <a:pt x="2499741" y="463944"/>
                </a:lnTo>
                <a:lnTo>
                  <a:pt x="2499741" y="442684"/>
                </a:lnTo>
                <a:lnTo>
                  <a:pt x="2521001" y="442684"/>
                </a:lnTo>
                <a:lnTo>
                  <a:pt x="2521001" y="421424"/>
                </a:lnTo>
                <a:lnTo>
                  <a:pt x="2499741" y="421424"/>
                </a:lnTo>
                <a:lnTo>
                  <a:pt x="2499741" y="400164"/>
                </a:lnTo>
                <a:lnTo>
                  <a:pt x="2478481" y="400164"/>
                </a:lnTo>
                <a:lnTo>
                  <a:pt x="2478481" y="421424"/>
                </a:lnTo>
                <a:lnTo>
                  <a:pt x="2457221" y="421424"/>
                </a:lnTo>
                <a:lnTo>
                  <a:pt x="2457221" y="442684"/>
                </a:lnTo>
                <a:lnTo>
                  <a:pt x="2478481" y="442684"/>
                </a:lnTo>
                <a:lnTo>
                  <a:pt x="2478481" y="463944"/>
                </a:lnTo>
                <a:close/>
                <a:moveTo>
                  <a:pt x="1238555" y="1755305"/>
                </a:moveTo>
                <a:lnTo>
                  <a:pt x="1238555" y="1787538"/>
                </a:lnTo>
                <a:lnTo>
                  <a:pt x="1206322" y="1787538"/>
                </a:lnTo>
                <a:lnTo>
                  <a:pt x="1206322" y="1819770"/>
                </a:lnTo>
                <a:lnTo>
                  <a:pt x="1238555" y="1819770"/>
                </a:lnTo>
                <a:lnTo>
                  <a:pt x="1238555" y="1852003"/>
                </a:lnTo>
                <a:lnTo>
                  <a:pt x="1270787" y="1852003"/>
                </a:lnTo>
                <a:lnTo>
                  <a:pt x="1270787" y="1819770"/>
                </a:lnTo>
                <a:lnTo>
                  <a:pt x="1303020" y="1819770"/>
                </a:lnTo>
                <a:lnTo>
                  <a:pt x="1303020" y="1787538"/>
                </a:lnTo>
                <a:lnTo>
                  <a:pt x="1270787" y="1787538"/>
                </a:lnTo>
                <a:lnTo>
                  <a:pt x="1270787" y="1755305"/>
                </a:lnTo>
                <a:lnTo>
                  <a:pt x="1238555" y="1755305"/>
                </a:lnTo>
                <a:close/>
                <a:moveTo>
                  <a:pt x="2025167" y="2263483"/>
                </a:moveTo>
                <a:lnTo>
                  <a:pt x="2025167" y="2231250"/>
                </a:lnTo>
                <a:lnTo>
                  <a:pt x="2057400" y="2231250"/>
                </a:lnTo>
                <a:lnTo>
                  <a:pt x="2057400" y="2199018"/>
                </a:lnTo>
                <a:lnTo>
                  <a:pt x="2025167" y="2199018"/>
                </a:lnTo>
                <a:lnTo>
                  <a:pt x="2025167" y="2166785"/>
                </a:lnTo>
                <a:lnTo>
                  <a:pt x="1992935" y="2166785"/>
                </a:lnTo>
                <a:lnTo>
                  <a:pt x="1992935" y="2199018"/>
                </a:lnTo>
                <a:lnTo>
                  <a:pt x="1960702" y="2199018"/>
                </a:lnTo>
                <a:lnTo>
                  <a:pt x="1960702" y="2231250"/>
                </a:lnTo>
                <a:lnTo>
                  <a:pt x="1992935" y="2231250"/>
                </a:lnTo>
                <a:lnTo>
                  <a:pt x="1992935" y="2263483"/>
                </a:lnTo>
                <a:lnTo>
                  <a:pt x="2025167" y="2263483"/>
                </a:lnTo>
                <a:close/>
                <a:moveTo>
                  <a:pt x="1956587" y="2126323"/>
                </a:moveTo>
                <a:lnTo>
                  <a:pt x="1956587" y="2094090"/>
                </a:lnTo>
                <a:lnTo>
                  <a:pt x="1988820" y="2094090"/>
                </a:lnTo>
                <a:lnTo>
                  <a:pt x="1988820" y="2061858"/>
                </a:lnTo>
                <a:lnTo>
                  <a:pt x="1956587" y="2061858"/>
                </a:lnTo>
                <a:lnTo>
                  <a:pt x="1956587" y="2029625"/>
                </a:lnTo>
                <a:lnTo>
                  <a:pt x="1924355" y="2029625"/>
                </a:lnTo>
                <a:lnTo>
                  <a:pt x="1924355" y="2061858"/>
                </a:lnTo>
                <a:lnTo>
                  <a:pt x="1892122" y="2061858"/>
                </a:lnTo>
                <a:lnTo>
                  <a:pt x="1892122" y="2094090"/>
                </a:lnTo>
                <a:lnTo>
                  <a:pt x="1924355" y="2094090"/>
                </a:lnTo>
                <a:lnTo>
                  <a:pt x="1924355" y="2126323"/>
                </a:lnTo>
                <a:lnTo>
                  <a:pt x="1956587" y="2126323"/>
                </a:lnTo>
                <a:close/>
                <a:moveTo>
                  <a:pt x="2093747" y="2126323"/>
                </a:moveTo>
                <a:lnTo>
                  <a:pt x="2093747" y="2094090"/>
                </a:lnTo>
                <a:lnTo>
                  <a:pt x="2125980" y="2094090"/>
                </a:lnTo>
                <a:lnTo>
                  <a:pt x="2125980" y="2061858"/>
                </a:lnTo>
                <a:lnTo>
                  <a:pt x="2093747" y="2061858"/>
                </a:lnTo>
                <a:lnTo>
                  <a:pt x="2093747" y="2029625"/>
                </a:lnTo>
                <a:lnTo>
                  <a:pt x="2061515" y="2029625"/>
                </a:lnTo>
                <a:lnTo>
                  <a:pt x="2061515" y="2061858"/>
                </a:lnTo>
                <a:lnTo>
                  <a:pt x="2029282" y="2061858"/>
                </a:lnTo>
                <a:lnTo>
                  <a:pt x="2029282" y="2094090"/>
                </a:lnTo>
                <a:lnTo>
                  <a:pt x="2061515" y="2094090"/>
                </a:lnTo>
                <a:lnTo>
                  <a:pt x="2061515" y="2126323"/>
                </a:lnTo>
                <a:lnTo>
                  <a:pt x="2093747" y="2126323"/>
                </a:lnTo>
                <a:close/>
                <a:moveTo>
                  <a:pt x="2162327" y="2263483"/>
                </a:moveTo>
                <a:lnTo>
                  <a:pt x="2162327" y="2231250"/>
                </a:lnTo>
                <a:lnTo>
                  <a:pt x="2194560" y="2231250"/>
                </a:lnTo>
                <a:lnTo>
                  <a:pt x="2194560" y="2199018"/>
                </a:lnTo>
                <a:lnTo>
                  <a:pt x="2162327" y="2199018"/>
                </a:lnTo>
                <a:lnTo>
                  <a:pt x="2162327" y="2166785"/>
                </a:lnTo>
                <a:lnTo>
                  <a:pt x="2130095" y="2166785"/>
                </a:lnTo>
                <a:lnTo>
                  <a:pt x="2130095" y="2199018"/>
                </a:lnTo>
                <a:lnTo>
                  <a:pt x="2097862" y="2199018"/>
                </a:lnTo>
                <a:lnTo>
                  <a:pt x="2097862" y="2231250"/>
                </a:lnTo>
                <a:lnTo>
                  <a:pt x="2130095" y="2231250"/>
                </a:lnTo>
                <a:lnTo>
                  <a:pt x="2130095" y="2263483"/>
                </a:lnTo>
                <a:lnTo>
                  <a:pt x="2162327" y="2263483"/>
                </a:lnTo>
                <a:close/>
                <a:moveTo>
                  <a:pt x="1581455" y="1618145"/>
                </a:moveTo>
                <a:lnTo>
                  <a:pt x="1581455" y="1650378"/>
                </a:lnTo>
                <a:lnTo>
                  <a:pt x="1549222" y="1650378"/>
                </a:lnTo>
                <a:lnTo>
                  <a:pt x="1549222" y="1682610"/>
                </a:lnTo>
                <a:lnTo>
                  <a:pt x="1581455" y="1682610"/>
                </a:lnTo>
                <a:lnTo>
                  <a:pt x="1581455" y="1714843"/>
                </a:lnTo>
                <a:lnTo>
                  <a:pt x="1613687" y="1714843"/>
                </a:lnTo>
                <a:lnTo>
                  <a:pt x="1613687" y="1682610"/>
                </a:lnTo>
                <a:lnTo>
                  <a:pt x="1645920" y="1682610"/>
                </a:lnTo>
                <a:lnTo>
                  <a:pt x="1645920" y="1650378"/>
                </a:lnTo>
                <a:lnTo>
                  <a:pt x="1613687" y="1650378"/>
                </a:lnTo>
                <a:lnTo>
                  <a:pt x="1613687" y="1618145"/>
                </a:lnTo>
                <a:lnTo>
                  <a:pt x="1581455" y="1618145"/>
                </a:lnTo>
                <a:close/>
                <a:moveTo>
                  <a:pt x="2198675" y="1755305"/>
                </a:moveTo>
                <a:lnTo>
                  <a:pt x="2198675" y="1787538"/>
                </a:lnTo>
                <a:lnTo>
                  <a:pt x="2166442" y="1787538"/>
                </a:lnTo>
                <a:lnTo>
                  <a:pt x="2166442" y="1819770"/>
                </a:lnTo>
                <a:lnTo>
                  <a:pt x="2198675" y="1819770"/>
                </a:lnTo>
                <a:lnTo>
                  <a:pt x="2198675" y="1852003"/>
                </a:lnTo>
                <a:lnTo>
                  <a:pt x="2230907" y="1852003"/>
                </a:lnTo>
                <a:lnTo>
                  <a:pt x="2230907" y="1819770"/>
                </a:lnTo>
                <a:lnTo>
                  <a:pt x="2263140" y="1819770"/>
                </a:lnTo>
                <a:lnTo>
                  <a:pt x="2263140" y="1787538"/>
                </a:lnTo>
                <a:lnTo>
                  <a:pt x="2230907" y="1787538"/>
                </a:lnTo>
                <a:lnTo>
                  <a:pt x="2230907" y="1755305"/>
                </a:lnTo>
                <a:lnTo>
                  <a:pt x="2198675" y="1755305"/>
                </a:lnTo>
                <a:close/>
                <a:moveTo>
                  <a:pt x="2267255" y="1618145"/>
                </a:moveTo>
                <a:lnTo>
                  <a:pt x="2267255" y="1650378"/>
                </a:lnTo>
                <a:lnTo>
                  <a:pt x="2235022" y="1650378"/>
                </a:lnTo>
                <a:lnTo>
                  <a:pt x="2235022" y="1682610"/>
                </a:lnTo>
                <a:lnTo>
                  <a:pt x="2267255" y="1682610"/>
                </a:lnTo>
                <a:lnTo>
                  <a:pt x="2267255" y="1714843"/>
                </a:lnTo>
                <a:lnTo>
                  <a:pt x="2299487" y="1714843"/>
                </a:lnTo>
                <a:lnTo>
                  <a:pt x="2299487" y="1682610"/>
                </a:lnTo>
                <a:lnTo>
                  <a:pt x="2331720" y="1682610"/>
                </a:lnTo>
                <a:lnTo>
                  <a:pt x="2331720" y="1650378"/>
                </a:lnTo>
                <a:lnTo>
                  <a:pt x="2299487" y="1650378"/>
                </a:lnTo>
                <a:lnTo>
                  <a:pt x="2299487" y="1618145"/>
                </a:lnTo>
                <a:lnTo>
                  <a:pt x="2267255" y="1618145"/>
                </a:lnTo>
                <a:close/>
                <a:moveTo>
                  <a:pt x="2061515" y="1755305"/>
                </a:moveTo>
                <a:lnTo>
                  <a:pt x="2061515" y="1787538"/>
                </a:lnTo>
                <a:lnTo>
                  <a:pt x="2029282" y="1787538"/>
                </a:lnTo>
                <a:lnTo>
                  <a:pt x="2029282" y="1819770"/>
                </a:lnTo>
                <a:lnTo>
                  <a:pt x="2061515" y="1819770"/>
                </a:lnTo>
                <a:lnTo>
                  <a:pt x="2061515" y="1852003"/>
                </a:lnTo>
                <a:lnTo>
                  <a:pt x="2093747" y="1852003"/>
                </a:lnTo>
                <a:lnTo>
                  <a:pt x="2093747" y="1819770"/>
                </a:lnTo>
                <a:lnTo>
                  <a:pt x="2125980" y="1819770"/>
                </a:lnTo>
                <a:lnTo>
                  <a:pt x="2125980" y="1787538"/>
                </a:lnTo>
                <a:lnTo>
                  <a:pt x="2093747" y="1787538"/>
                </a:lnTo>
                <a:lnTo>
                  <a:pt x="2093747" y="1755305"/>
                </a:lnTo>
                <a:lnTo>
                  <a:pt x="2061515" y="1755305"/>
                </a:lnTo>
                <a:close/>
                <a:moveTo>
                  <a:pt x="2335835" y="1755305"/>
                </a:moveTo>
                <a:lnTo>
                  <a:pt x="2335835" y="1787538"/>
                </a:lnTo>
                <a:lnTo>
                  <a:pt x="2303602" y="1787538"/>
                </a:lnTo>
                <a:lnTo>
                  <a:pt x="2303602" y="1819770"/>
                </a:lnTo>
                <a:lnTo>
                  <a:pt x="2335835" y="1819770"/>
                </a:lnTo>
                <a:lnTo>
                  <a:pt x="2335835" y="1852003"/>
                </a:lnTo>
                <a:lnTo>
                  <a:pt x="2368067" y="1852003"/>
                </a:lnTo>
                <a:lnTo>
                  <a:pt x="2368067" y="1819770"/>
                </a:lnTo>
                <a:lnTo>
                  <a:pt x="2400300" y="1819770"/>
                </a:lnTo>
                <a:lnTo>
                  <a:pt x="2400300" y="1787538"/>
                </a:lnTo>
                <a:lnTo>
                  <a:pt x="2368067" y="1787538"/>
                </a:lnTo>
                <a:lnTo>
                  <a:pt x="2368067" y="1755305"/>
                </a:lnTo>
                <a:lnTo>
                  <a:pt x="2335835" y="1755305"/>
                </a:lnTo>
                <a:close/>
                <a:moveTo>
                  <a:pt x="2130095" y="1618145"/>
                </a:moveTo>
                <a:lnTo>
                  <a:pt x="2130095" y="1650378"/>
                </a:lnTo>
                <a:lnTo>
                  <a:pt x="2097862" y="1650378"/>
                </a:lnTo>
                <a:lnTo>
                  <a:pt x="2097862" y="1682610"/>
                </a:lnTo>
                <a:lnTo>
                  <a:pt x="2130095" y="1682610"/>
                </a:lnTo>
                <a:lnTo>
                  <a:pt x="2130095" y="1714843"/>
                </a:lnTo>
                <a:lnTo>
                  <a:pt x="2162327" y="1714843"/>
                </a:lnTo>
                <a:lnTo>
                  <a:pt x="2162327" y="1682610"/>
                </a:lnTo>
                <a:lnTo>
                  <a:pt x="2194560" y="1682610"/>
                </a:lnTo>
                <a:lnTo>
                  <a:pt x="2194560" y="1650378"/>
                </a:lnTo>
                <a:lnTo>
                  <a:pt x="2162327" y="1650378"/>
                </a:lnTo>
                <a:lnTo>
                  <a:pt x="2162327" y="1618145"/>
                </a:lnTo>
                <a:lnTo>
                  <a:pt x="2130095" y="1618145"/>
                </a:lnTo>
                <a:close/>
                <a:moveTo>
                  <a:pt x="2299487" y="1989163"/>
                </a:moveTo>
                <a:lnTo>
                  <a:pt x="2299487" y="1956930"/>
                </a:lnTo>
                <a:lnTo>
                  <a:pt x="2331720" y="1956930"/>
                </a:lnTo>
                <a:lnTo>
                  <a:pt x="2331720" y="1924698"/>
                </a:lnTo>
                <a:lnTo>
                  <a:pt x="2299487" y="1924698"/>
                </a:lnTo>
                <a:lnTo>
                  <a:pt x="2299487" y="1892465"/>
                </a:lnTo>
                <a:lnTo>
                  <a:pt x="2267255" y="1892465"/>
                </a:lnTo>
                <a:lnTo>
                  <a:pt x="2267255" y="1924698"/>
                </a:lnTo>
                <a:lnTo>
                  <a:pt x="2235022" y="1924698"/>
                </a:lnTo>
                <a:lnTo>
                  <a:pt x="2235022" y="1956930"/>
                </a:lnTo>
                <a:lnTo>
                  <a:pt x="2267255" y="1956930"/>
                </a:lnTo>
                <a:lnTo>
                  <a:pt x="2267255" y="1989163"/>
                </a:lnTo>
                <a:lnTo>
                  <a:pt x="2299487" y="1989163"/>
                </a:lnTo>
                <a:close/>
                <a:moveTo>
                  <a:pt x="2404415" y="1892465"/>
                </a:moveTo>
                <a:lnTo>
                  <a:pt x="2404415" y="1924698"/>
                </a:lnTo>
                <a:lnTo>
                  <a:pt x="2372182" y="1924698"/>
                </a:lnTo>
                <a:lnTo>
                  <a:pt x="2372182" y="1956930"/>
                </a:lnTo>
                <a:lnTo>
                  <a:pt x="2404415" y="1956930"/>
                </a:lnTo>
                <a:lnTo>
                  <a:pt x="2404415" y="1989163"/>
                </a:lnTo>
                <a:lnTo>
                  <a:pt x="2436647" y="1989163"/>
                </a:lnTo>
                <a:lnTo>
                  <a:pt x="2436647" y="1956930"/>
                </a:lnTo>
                <a:lnTo>
                  <a:pt x="2468880" y="1956930"/>
                </a:lnTo>
                <a:lnTo>
                  <a:pt x="2468880" y="1924698"/>
                </a:lnTo>
                <a:lnTo>
                  <a:pt x="2436647" y="1924698"/>
                </a:lnTo>
                <a:lnTo>
                  <a:pt x="2436647" y="1892465"/>
                </a:lnTo>
                <a:lnTo>
                  <a:pt x="2404415" y="1892465"/>
                </a:lnTo>
                <a:close/>
                <a:moveTo>
                  <a:pt x="2162327" y="1989163"/>
                </a:moveTo>
                <a:lnTo>
                  <a:pt x="2162327" y="1956930"/>
                </a:lnTo>
                <a:lnTo>
                  <a:pt x="2194560" y="1956930"/>
                </a:lnTo>
                <a:lnTo>
                  <a:pt x="2194560" y="1924698"/>
                </a:lnTo>
                <a:lnTo>
                  <a:pt x="2162327" y="1924698"/>
                </a:lnTo>
                <a:lnTo>
                  <a:pt x="2162327" y="1892465"/>
                </a:lnTo>
                <a:lnTo>
                  <a:pt x="2130095" y="1892465"/>
                </a:lnTo>
                <a:lnTo>
                  <a:pt x="2130095" y="1924698"/>
                </a:lnTo>
                <a:lnTo>
                  <a:pt x="2097862" y="1924698"/>
                </a:lnTo>
                <a:lnTo>
                  <a:pt x="2097862" y="1956930"/>
                </a:lnTo>
                <a:lnTo>
                  <a:pt x="2130095" y="1956930"/>
                </a:lnTo>
                <a:lnTo>
                  <a:pt x="2130095" y="1989163"/>
                </a:lnTo>
                <a:lnTo>
                  <a:pt x="2162327" y="1989163"/>
                </a:lnTo>
                <a:close/>
                <a:moveTo>
                  <a:pt x="2472995" y="1755305"/>
                </a:moveTo>
                <a:lnTo>
                  <a:pt x="2472995" y="1787538"/>
                </a:lnTo>
                <a:lnTo>
                  <a:pt x="2440762" y="1787538"/>
                </a:lnTo>
                <a:lnTo>
                  <a:pt x="2440762" y="1819770"/>
                </a:lnTo>
                <a:lnTo>
                  <a:pt x="2472995" y="1819770"/>
                </a:lnTo>
                <a:lnTo>
                  <a:pt x="2472995" y="1852003"/>
                </a:lnTo>
                <a:lnTo>
                  <a:pt x="2505227" y="1852003"/>
                </a:lnTo>
                <a:lnTo>
                  <a:pt x="2505227" y="1819770"/>
                </a:lnTo>
                <a:lnTo>
                  <a:pt x="2537460" y="1819770"/>
                </a:lnTo>
                <a:lnTo>
                  <a:pt x="2537460" y="1787538"/>
                </a:lnTo>
                <a:lnTo>
                  <a:pt x="2505227" y="1787538"/>
                </a:lnTo>
                <a:lnTo>
                  <a:pt x="2505227" y="1755305"/>
                </a:lnTo>
                <a:lnTo>
                  <a:pt x="2472995" y="1755305"/>
                </a:lnTo>
                <a:close/>
                <a:moveTo>
                  <a:pt x="1924355" y="1755305"/>
                </a:moveTo>
                <a:lnTo>
                  <a:pt x="1924355" y="1787538"/>
                </a:lnTo>
                <a:lnTo>
                  <a:pt x="1892122" y="1787538"/>
                </a:lnTo>
                <a:lnTo>
                  <a:pt x="1892122" y="1819770"/>
                </a:lnTo>
                <a:lnTo>
                  <a:pt x="1924355" y="1819770"/>
                </a:lnTo>
                <a:lnTo>
                  <a:pt x="1924355" y="1852003"/>
                </a:lnTo>
                <a:lnTo>
                  <a:pt x="1956587" y="1852003"/>
                </a:lnTo>
                <a:lnTo>
                  <a:pt x="1956587" y="1819770"/>
                </a:lnTo>
                <a:lnTo>
                  <a:pt x="1988820" y="1819770"/>
                </a:lnTo>
                <a:lnTo>
                  <a:pt x="1988820" y="1787538"/>
                </a:lnTo>
                <a:lnTo>
                  <a:pt x="1956587" y="1787538"/>
                </a:lnTo>
                <a:lnTo>
                  <a:pt x="1956587" y="1755305"/>
                </a:lnTo>
                <a:lnTo>
                  <a:pt x="1924355" y="1755305"/>
                </a:lnTo>
                <a:close/>
                <a:moveTo>
                  <a:pt x="1650035" y="1755305"/>
                </a:moveTo>
                <a:lnTo>
                  <a:pt x="1650035" y="1787538"/>
                </a:lnTo>
                <a:lnTo>
                  <a:pt x="1617802" y="1787538"/>
                </a:lnTo>
                <a:lnTo>
                  <a:pt x="1617802" y="1819770"/>
                </a:lnTo>
                <a:lnTo>
                  <a:pt x="1650035" y="1819770"/>
                </a:lnTo>
                <a:lnTo>
                  <a:pt x="1650035" y="1852003"/>
                </a:lnTo>
                <a:lnTo>
                  <a:pt x="1682267" y="1852003"/>
                </a:lnTo>
                <a:lnTo>
                  <a:pt x="1682267" y="1819770"/>
                </a:lnTo>
                <a:lnTo>
                  <a:pt x="1714500" y="1819770"/>
                </a:lnTo>
                <a:lnTo>
                  <a:pt x="1714500" y="1787538"/>
                </a:lnTo>
                <a:lnTo>
                  <a:pt x="1682267" y="1787538"/>
                </a:lnTo>
                <a:lnTo>
                  <a:pt x="1682267" y="1755305"/>
                </a:lnTo>
                <a:lnTo>
                  <a:pt x="1650035" y="1755305"/>
                </a:lnTo>
                <a:close/>
                <a:moveTo>
                  <a:pt x="2025167" y="1989163"/>
                </a:moveTo>
                <a:lnTo>
                  <a:pt x="2025167" y="1956930"/>
                </a:lnTo>
                <a:lnTo>
                  <a:pt x="2057400" y="1956930"/>
                </a:lnTo>
                <a:lnTo>
                  <a:pt x="2057400" y="1924698"/>
                </a:lnTo>
                <a:lnTo>
                  <a:pt x="2025167" y="1924698"/>
                </a:lnTo>
                <a:lnTo>
                  <a:pt x="2025167" y="1892465"/>
                </a:lnTo>
                <a:lnTo>
                  <a:pt x="1992935" y="1892465"/>
                </a:lnTo>
                <a:lnTo>
                  <a:pt x="1992935" y="1924698"/>
                </a:lnTo>
                <a:lnTo>
                  <a:pt x="1960702" y="1924698"/>
                </a:lnTo>
                <a:lnTo>
                  <a:pt x="1960702" y="1956930"/>
                </a:lnTo>
                <a:lnTo>
                  <a:pt x="1992935" y="1956930"/>
                </a:lnTo>
                <a:lnTo>
                  <a:pt x="1992935" y="1989163"/>
                </a:lnTo>
                <a:lnTo>
                  <a:pt x="2025167" y="1989163"/>
                </a:lnTo>
                <a:close/>
                <a:moveTo>
                  <a:pt x="1992935" y="1618145"/>
                </a:moveTo>
                <a:lnTo>
                  <a:pt x="1992935" y="1650378"/>
                </a:lnTo>
                <a:lnTo>
                  <a:pt x="1960702" y="1650378"/>
                </a:lnTo>
                <a:lnTo>
                  <a:pt x="1960702" y="1682610"/>
                </a:lnTo>
                <a:lnTo>
                  <a:pt x="1992935" y="1682610"/>
                </a:lnTo>
                <a:lnTo>
                  <a:pt x="1992935" y="1714843"/>
                </a:lnTo>
                <a:lnTo>
                  <a:pt x="2025167" y="1714843"/>
                </a:lnTo>
                <a:lnTo>
                  <a:pt x="2025167" y="1682610"/>
                </a:lnTo>
                <a:lnTo>
                  <a:pt x="2057400" y="1682610"/>
                </a:lnTo>
                <a:lnTo>
                  <a:pt x="2057400" y="1650378"/>
                </a:lnTo>
                <a:lnTo>
                  <a:pt x="2025167" y="1650378"/>
                </a:lnTo>
                <a:lnTo>
                  <a:pt x="2025167" y="1618145"/>
                </a:lnTo>
                <a:lnTo>
                  <a:pt x="1992935" y="1618145"/>
                </a:lnTo>
                <a:close/>
                <a:moveTo>
                  <a:pt x="1444295" y="1618145"/>
                </a:moveTo>
                <a:lnTo>
                  <a:pt x="1444295" y="1650378"/>
                </a:lnTo>
                <a:lnTo>
                  <a:pt x="1412062" y="1650378"/>
                </a:lnTo>
                <a:lnTo>
                  <a:pt x="1412062" y="1682610"/>
                </a:lnTo>
                <a:lnTo>
                  <a:pt x="1444295" y="1682610"/>
                </a:lnTo>
                <a:lnTo>
                  <a:pt x="1444295" y="1714843"/>
                </a:lnTo>
                <a:lnTo>
                  <a:pt x="1476527" y="1714843"/>
                </a:lnTo>
                <a:lnTo>
                  <a:pt x="1476527" y="1682610"/>
                </a:lnTo>
                <a:lnTo>
                  <a:pt x="1508760" y="1682610"/>
                </a:lnTo>
                <a:lnTo>
                  <a:pt x="1508760" y="1650378"/>
                </a:lnTo>
                <a:lnTo>
                  <a:pt x="1476527" y="1650378"/>
                </a:lnTo>
                <a:lnTo>
                  <a:pt x="1476527" y="1618145"/>
                </a:lnTo>
                <a:lnTo>
                  <a:pt x="1444295" y="1618145"/>
                </a:lnTo>
                <a:close/>
                <a:moveTo>
                  <a:pt x="1512875" y="1755305"/>
                </a:moveTo>
                <a:lnTo>
                  <a:pt x="1512875" y="1787538"/>
                </a:lnTo>
                <a:lnTo>
                  <a:pt x="1480642" y="1787538"/>
                </a:lnTo>
                <a:lnTo>
                  <a:pt x="1480642" y="1819770"/>
                </a:lnTo>
                <a:lnTo>
                  <a:pt x="1512875" y="1819770"/>
                </a:lnTo>
                <a:lnTo>
                  <a:pt x="1512875" y="1852003"/>
                </a:lnTo>
                <a:lnTo>
                  <a:pt x="1545107" y="1852003"/>
                </a:lnTo>
                <a:lnTo>
                  <a:pt x="1545107" y="1819770"/>
                </a:lnTo>
                <a:lnTo>
                  <a:pt x="1577340" y="1819770"/>
                </a:lnTo>
                <a:lnTo>
                  <a:pt x="1577340" y="1787538"/>
                </a:lnTo>
                <a:lnTo>
                  <a:pt x="1545107" y="1787538"/>
                </a:lnTo>
                <a:lnTo>
                  <a:pt x="1545107" y="1755305"/>
                </a:lnTo>
                <a:lnTo>
                  <a:pt x="1512875" y="1755305"/>
                </a:lnTo>
                <a:close/>
                <a:moveTo>
                  <a:pt x="1855775" y="1618145"/>
                </a:moveTo>
                <a:lnTo>
                  <a:pt x="1855775" y="1650378"/>
                </a:lnTo>
                <a:lnTo>
                  <a:pt x="1823542" y="1650378"/>
                </a:lnTo>
                <a:lnTo>
                  <a:pt x="1823542" y="1682610"/>
                </a:lnTo>
                <a:lnTo>
                  <a:pt x="1855775" y="1682610"/>
                </a:lnTo>
                <a:lnTo>
                  <a:pt x="1855775" y="1714843"/>
                </a:lnTo>
                <a:lnTo>
                  <a:pt x="1888007" y="1714843"/>
                </a:lnTo>
                <a:lnTo>
                  <a:pt x="1888007" y="1682610"/>
                </a:lnTo>
                <a:lnTo>
                  <a:pt x="1920240" y="1682610"/>
                </a:lnTo>
                <a:lnTo>
                  <a:pt x="1920240" y="1650378"/>
                </a:lnTo>
                <a:lnTo>
                  <a:pt x="1888007" y="1650378"/>
                </a:lnTo>
                <a:lnTo>
                  <a:pt x="1888007" y="1618145"/>
                </a:lnTo>
                <a:lnTo>
                  <a:pt x="1855775" y="1618145"/>
                </a:lnTo>
                <a:close/>
                <a:moveTo>
                  <a:pt x="1375715" y="1755305"/>
                </a:moveTo>
                <a:lnTo>
                  <a:pt x="1375715" y="1787538"/>
                </a:lnTo>
                <a:lnTo>
                  <a:pt x="1343482" y="1787538"/>
                </a:lnTo>
                <a:lnTo>
                  <a:pt x="1343482" y="1819770"/>
                </a:lnTo>
                <a:lnTo>
                  <a:pt x="1375715" y="1819770"/>
                </a:lnTo>
                <a:lnTo>
                  <a:pt x="1375715" y="1852003"/>
                </a:lnTo>
                <a:lnTo>
                  <a:pt x="1407947" y="1852003"/>
                </a:lnTo>
                <a:lnTo>
                  <a:pt x="1407947" y="1819770"/>
                </a:lnTo>
                <a:lnTo>
                  <a:pt x="1440180" y="1819770"/>
                </a:lnTo>
                <a:lnTo>
                  <a:pt x="1440180" y="1787538"/>
                </a:lnTo>
                <a:lnTo>
                  <a:pt x="1407947" y="1787538"/>
                </a:lnTo>
                <a:lnTo>
                  <a:pt x="1407947" y="1755305"/>
                </a:lnTo>
                <a:lnTo>
                  <a:pt x="1375715" y="1755305"/>
                </a:lnTo>
                <a:close/>
                <a:moveTo>
                  <a:pt x="1718615" y="1618145"/>
                </a:moveTo>
                <a:lnTo>
                  <a:pt x="1718615" y="1650378"/>
                </a:lnTo>
                <a:lnTo>
                  <a:pt x="1686382" y="1650378"/>
                </a:lnTo>
                <a:lnTo>
                  <a:pt x="1686382" y="1682610"/>
                </a:lnTo>
                <a:lnTo>
                  <a:pt x="1718615" y="1682610"/>
                </a:lnTo>
                <a:lnTo>
                  <a:pt x="1718615" y="1714843"/>
                </a:lnTo>
                <a:lnTo>
                  <a:pt x="1750847" y="1714843"/>
                </a:lnTo>
                <a:lnTo>
                  <a:pt x="1750847" y="1682610"/>
                </a:lnTo>
                <a:lnTo>
                  <a:pt x="1783080" y="1682610"/>
                </a:lnTo>
                <a:lnTo>
                  <a:pt x="1783080" y="1650378"/>
                </a:lnTo>
                <a:lnTo>
                  <a:pt x="1750847" y="1650378"/>
                </a:lnTo>
                <a:lnTo>
                  <a:pt x="1750847" y="1618145"/>
                </a:lnTo>
                <a:lnTo>
                  <a:pt x="1718615" y="1618145"/>
                </a:lnTo>
                <a:close/>
                <a:moveTo>
                  <a:pt x="1787195" y="1755305"/>
                </a:moveTo>
                <a:lnTo>
                  <a:pt x="1787195" y="1787538"/>
                </a:lnTo>
                <a:lnTo>
                  <a:pt x="1754962" y="1787538"/>
                </a:lnTo>
                <a:lnTo>
                  <a:pt x="1754962" y="1819770"/>
                </a:lnTo>
                <a:lnTo>
                  <a:pt x="1787195" y="1819770"/>
                </a:lnTo>
                <a:lnTo>
                  <a:pt x="1787195" y="1852003"/>
                </a:lnTo>
                <a:lnTo>
                  <a:pt x="1819427" y="1852003"/>
                </a:lnTo>
                <a:lnTo>
                  <a:pt x="1819427" y="1819770"/>
                </a:lnTo>
                <a:lnTo>
                  <a:pt x="1851660" y="1819770"/>
                </a:lnTo>
                <a:lnTo>
                  <a:pt x="1851660" y="1787538"/>
                </a:lnTo>
                <a:lnTo>
                  <a:pt x="1819427" y="1787538"/>
                </a:lnTo>
                <a:lnTo>
                  <a:pt x="1819427" y="1755305"/>
                </a:lnTo>
                <a:lnTo>
                  <a:pt x="1787195" y="1755305"/>
                </a:lnTo>
                <a:close/>
                <a:moveTo>
                  <a:pt x="626135" y="1151801"/>
                </a:moveTo>
                <a:lnTo>
                  <a:pt x="648767" y="1151801"/>
                </a:lnTo>
                <a:lnTo>
                  <a:pt x="648767" y="1129170"/>
                </a:lnTo>
                <a:lnTo>
                  <a:pt x="671398" y="1129170"/>
                </a:lnTo>
                <a:lnTo>
                  <a:pt x="671398" y="1106538"/>
                </a:lnTo>
                <a:lnTo>
                  <a:pt x="648767" y="1106538"/>
                </a:lnTo>
                <a:lnTo>
                  <a:pt x="648767" y="1083907"/>
                </a:lnTo>
                <a:lnTo>
                  <a:pt x="626135" y="1083907"/>
                </a:lnTo>
                <a:lnTo>
                  <a:pt x="626135" y="1106538"/>
                </a:lnTo>
                <a:lnTo>
                  <a:pt x="603504" y="1106538"/>
                </a:lnTo>
                <a:lnTo>
                  <a:pt x="603504" y="1129170"/>
                </a:lnTo>
                <a:lnTo>
                  <a:pt x="626135" y="1129170"/>
                </a:lnTo>
                <a:lnTo>
                  <a:pt x="626135" y="1151801"/>
                </a:lnTo>
                <a:close/>
                <a:moveTo>
                  <a:pt x="697116" y="733463"/>
                </a:moveTo>
                <a:lnTo>
                  <a:pt x="714946" y="733463"/>
                </a:lnTo>
                <a:lnTo>
                  <a:pt x="714946" y="715289"/>
                </a:lnTo>
                <a:lnTo>
                  <a:pt x="733120" y="715289"/>
                </a:lnTo>
                <a:lnTo>
                  <a:pt x="733120" y="697459"/>
                </a:lnTo>
                <a:lnTo>
                  <a:pt x="714946" y="697459"/>
                </a:lnTo>
                <a:lnTo>
                  <a:pt x="714946" y="679285"/>
                </a:lnTo>
                <a:lnTo>
                  <a:pt x="697116" y="679285"/>
                </a:lnTo>
                <a:lnTo>
                  <a:pt x="697116" y="697459"/>
                </a:lnTo>
                <a:lnTo>
                  <a:pt x="678942" y="697459"/>
                </a:lnTo>
                <a:lnTo>
                  <a:pt x="678942" y="715289"/>
                </a:lnTo>
                <a:lnTo>
                  <a:pt x="697116" y="715289"/>
                </a:lnTo>
                <a:lnTo>
                  <a:pt x="697116" y="733463"/>
                </a:lnTo>
                <a:close/>
                <a:moveTo>
                  <a:pt x="695058" y="1013955"/>
                </a:moveTo>
                <a:lnTo>
                  <a:pt x="717004" y="1013955"/>
                </a:lnTo>
                <a:lnTo>
                  <a:pt x="717004" y="991667"/>
                </a:lnTo>
                <a:lnTo>
                  <a:pt x="739292" y="991667"/>
                </a:lnTo>
                <a:lnTo>
                  <a:pt x="739292" y="969721"/>
                </a:lnTo>
                <a:lnTo>
                  <a:pt x="717004" y="969721"/>
                </a:lnTo>
                <a:lnTo>
                  <a:pt x="717004" y="947433"/>
                </a:lnTo>
                <a:lnTo>
                  <a:pt x="695058" y="947433"/>
                </a:lnTo>
                <a:lnTo>
                  <a:pt x="695058" y="969721"/>
                </a:lnTo>
                <a:lnTo>
                  <a:pt x="672770" y="969721"/>
                </a:lnTo>
                <a:lnTo>
                  <a:pt x="672770" y="991667"/>
                </a:lnTo>
                <a:lnTo>
                  <a:pt x="695058" y="991667"/>
                </a:lnTo>
                <a:lnTo>
                  <a:pt x="695058" y="1013955"/>
                </a:lnTo>
                <a:close/>
                <a:moveTo>
                  <a:pt x="766381" y="594246"/>
                </a:moveTo>
                <a:lnTo>
                  <a:pt x="782841" y="594246"/>
                </a:lnTo>
                <a:lnTo>
                  <a:pt x="782841" y="577444"/>
                </a:lnTo>
                <a:lnTo>
                  <a:pt x="799643" y="577444"/>
                </a:lnTo>
                <a:lnTo>
                  <a:pt x="799643" y="560984"/>
                </a:lnTo>
                <a:lnTo>
                  <a:pt x="782841" y="560984"/>
                </a:lnTo>
                <a:lnTo>
                  <a:pt x="782841" y="544182"/>
                </a:lnTo>
                <a:lnTo>
                  <a:pt x="766381" y="544182"/>
                </a:lnTo>
                <a:lnTo>
                  <a:pt x="766381" y="560984"/>
                </a:lnTo>
                <a:lnTo>
                  <a:pt x="749579" y="560984"/>
                </a:lnTo>
                <a:lnTo>
                  <a:pt x="749579" y="577444"/>
                </a:lnTo>
                <a:lnTo>
                  <a:pt x="766381" y="577444"/>
                </a:lnTo>
                <a:lnTo>
                  <a:pt x="766381" y="594246"/>
                </a:lnTo>
                <a:close/>
                <a:moveTo>
                  <a:pt x="763981" y="875424"/>
                </a:moveTo>
                <a:lnTo>
                  <a:pt x="785241" y="875424"/>
                </a:lnTo>
                <a:lnTo>
                  <a:pt x="785241" y="854164"/>
                </a:lnTo>
                <a:lnTo>
                  <a:pt x="806501" y="854164"/>
                </a:lnTo>
                <a:lnTo>
                  <a:pt x="806501" y="832904"/>
                </a:lnTo>
                <a:lnTo>
                  <a:pt x="785241" y="832904"/>
                </a:lnTo>
                <a:lnTo>
                  <a:pt x="785241" y="811644"/>
                </a:lnTo>
                <a:lnTo>
                  <a:pt x="763981" y="811644"/>
                </a:lnTo>
                <a:lnTo>
                  <a:pt x="763981" y="832904"/>
                </a:lnTo>
                <a:lnTo>
                  <a:pt x="742721" y="832904"/>
                </a:lnTo>
                <a:lnTo>
                  <a:pt x="742721" y="854164"/>
                </a:lnTo>
                <a:lnTo>
                  <a:pt x="763981" y="854164"/>
                </a:lnTo>
                <a:lnTo>
                  <a:pt x="763981" y="875424"/>
                </a:lnTo>
                <a:close/>
                <a:moveTo>
                  <a:pt x="630250" y="590817"/>
                </a:moveTo>
                <a:lnTo>
                  <a:pt x="644652" y="590817"/>
                </a:lnTo>
                <a:lnTo>
                  <a:pt x="644652" y="576415"/>
                </a:lnTo>
                <a:lnTo>
                  <a:pt x="659054" y="576415"/>
                </a:lnTo>
                <a:lnTo>
                  <a:pt x="659054" y="562013"/>
                </a:lnTo>
                <a:lnTo>
                  <a:pt x="644652" y="562013"/>
                </a:lnTo>
                <a:lnTo>
                  <a:pt x="644652" y="547611"/>
                </a:lnTo>
                <a:lnTo>
                  <a:pt x="630250" y="547611"/>
                </a:lnTo>
                <a:lnTo>
                  <a:pt x="630250" y="562013"/>
                </a:lnTo>
                <a:lnTo>
                  <a:pt x="615848" y="562013"/>
                </a:lnTo>
                <a:lnTo>
                  <a:pt x="615848" y="576415"/>
                </a:lnTo>
                <a:lnTo>
                  <a:pt x="630250" y="576415"/>
                </a:lnTo>
                <a:lnTo>
                  <a:pt x="630250" y="590817"/>
                </a:lnTo>
                <a:close/>
                <a:moveTo>
                  <a:pt x="699516" y="451256"/>
                </a:moveTo>
                <a:lnTo>
                  <a:pt x="712546" y="451256"/>
                </a:lnTo>
                <a:lnTo>
                  <a:pt x="712546" y="438569"/>
                </a:lnTo>
                <a:lnTo>
                  <a:pt x="725233" y="438569"/>
                </a:lnTo>
                <a:lnTo>
                  <a:pt x="725233" y="425539"/>
                </a:lnTo>
                <a:lnTo>
                  <a:pt x="712546" y="425539"/>
                </a:lnTo>
                <a:lnTo>
                  <a:pt x="712546" y="412852"/>
                </a:lnTo>
                <a:lnTo>
                  <a:pt x="699516" y="412852"/>
                </a:lnTo>
                <a:lnTo>
                  <a:pt x="699516" y="425539"/>
                </a:lnTo>
                <a:lnTo>
                  <a:pt x="686829" y="425539"/>
                </a:lnTo>
                <a:lnTo>
                  <a:pt x="686829" y="438569"/>
                </a:lnTo>
                <a:lnTo>
                  <a:pt x="699516" y="438569"/>
                </a:lnTo>
                <a:lnTo>
                  <a:pt x="699516" y="451256"/>
                </a:lnTo>
                <a:close/>
                <a:moveTo>
                  <a:pt x="627850" y="871995"/>
                </a:moveTo>
                <a:lnTo>
                  <a:pt x="647052" y="871995"/>
                </a:lnTo>
                <a:lnTo>
                  <a:pt x="647052" y="853135"/>
                </a:lnTo>
                <a:lnTo>
                  <a:pt x="665912" y="853135"/>
                </a:lnTo>
                <a:lnTo>
                  <a:pt x="665912" y="833933"/>
                </a:lnTo>
                <a:lnTo>
                  <a:pt x="647052" y="833933"/>
                </a:lnTo>
                <a:lnTo>
                  <a:pt x="647052" y="815073"/>
                </a:lnTo>
                <a:lnTo>
                  <a:pt x="627850" y="815073"/>
                </a:lnTo>
                <a:lnTo>
                  <a:pt x="627850" y="833933"/>
                </a:lnTo>
                <a:lnTo>
                  <a:pt x="608990" y="833933"/>
                </a:lnTo>
                <a:lnTo>
                  <a:pt x="608990" y="853135"/>
                </a:lnTo>
                <a:lnTo>
                  <a:pt x="627850" y="853135"/>
                </a:lnTo>
                <a:lnTo>
                  <a:pt x="627850" y="871995"/>
                </a:lnTo>
                <a:close/>
                <a:moveTo>
                  <a:pt x="557555" y="1289304"/>
                </a:moveTo>
                <a:lnTo>
                  <a:pt x="580187" y="1289304"/>
                </a:lnTo>
                <a:lnTo>
                  <a:pt x="580187" y="1266330"/>
                </a:lnTo>
                <a:lnTo>
                  <a:pt x="603161" y="1266330"/>
                </a:lnTo>
                <a:lnTo>
                  <a:pt x="603161" y="1243698"/>
                </a:lnTo>
                <a:lnTo>
                  <a:pt x="580187" y="1243698"/>
                </a:lnTo>
                <a:lnTo>
                  <a:pt x="580187" y="1220724"/>
                </a:lnTo>
                <a:lnTo>
                  <a:pt x="557555" y="1220724"/>
                </a:lnTo>
                <a:lnTo>
                  <a:pt x="557555" y="1243698"/>
                </a:lnTo>
                <a:lnTo>
                  <a:pt x="534581" y="1243698"/>
                </a:lnTo>
                <a:lnTo>
                  <a:pt x="534581" y="1266330"/>
                </a:lnTo>
                <a:lnTo>
                  <a:pt x="557555" y="1266330"/>
                </a:lnTo>
                <a:lnTo>
                  <a:pt x="557555" y="1289304"/>
                </a:lnTo>
                <a:close/>
                <a:moveTo>
                  <a:pt x="560984" y="729691"/>
                </a:moveTo>
                <a:lnTo>
                  <a:pt x="576758" y="729691"/>
                </a:lnTo>
                <a:lnTo>
                  <a:pt x="576758" y="714261"/>
                </a:lnTo>
                <a:lnTo>
                  <a:pt x="592188" y="714261"/>
                </a:lnTo>
                <a:lnTo>
                  <a:pt x="592188" y="698487"/>
                </a:lnTo>
                <a:lnTo>
                  <a:pt x="576758" y="698487"/>
                </a:lnTo>
                <a:lnTo>
                  <a:pt x="576758" y="683057"/>
                </a:lnTo>
                <a:lnTo>
                  <a:pt x="560984" y="683057"/>
                </a:lnTo>
                <a:lnTo>
                  <a:pt x="560984" y="698487"/>
                </a:lnTo>
                <a:lnTo>
                  <a:pt x="545554" y="698487"/>
                </a:lnTo>
                <a:lnTo>
                  <a:pt x="545554" y="714261"/>
                </a:lnTo>
                <a:lnTo>
                  <a:pt x="560984" y="714261"/>
                </a:lnTo>
                <a:lnTo>
                  <a:pt x="560984" y="729691"/>
                </a:lnTo>
                <a:close/>
                <a:moveTo>
                  <a:pt x="149504" y="1552994"/>
                </a:moveTo>
                <a:lnTo>
                  <a:pt x="165278" y="1552994"/>
                </a:lnTo>
                <a:lnTo>
                  <a:pt x="165278" y="1537221"/>
                </a:lnTo>
                <a:lnTo>
                  <a:pt x="181051" y="1537221"/>
                </a:lnTo>
                <a:lnTo>
                  <a:pt x="181051" y="1521447"/>
                </a:lnTo>
                <a:lnTo>
                  <a:pt x="165278" y="1521447"/>
                </a:lnTo>
                <a:lnTo>
                  <a:pt x="165278" y="1505674"/>
                </a:lnTo>
                <a:lnTo>
                  <a:pt x="149504" y="1505674"/>
                </a:lnTo>
                <a:lnTo>
                  <a:pt x="149504" y="1521447"/>
                </a:lnTo>
                <a:lnTo>
                  <a:pt x="133731" y="1521447"/>
                </a:lnTo>
                <a:lnTo>
                  <a:pt x="133731" y="1537221"/>
                </a:lnTo>
                <a:lnTo>
                  <a:pt x="149504" y="1537221"/>
                </a:lnTo>
                <a:lnTo>
                  <a:pt x="149504" y="1552994"/>
                </a:lnTo>
                <a:close/>
                <a:moveTo>
                  <a:pt x="558927" y="1010183"/>
                </a:moveTo>
                <a:lnTo>
                  <a:pt x="578815" y="1010183"/>
                </a:lnTo>
                <a:lnTo>
                  <a:pt x="578815" y="990638"/>
                </a:lnTo>
                <a:lnTo>
                  <a:pt x="598360" y="990638"/>
                </a:lnTo>
                <a:lnTo>
                  <a:pt x="598360" y="970750"/>
                </a:lnTo>
                <a:lnTo>
                  <a:pt x="578815" y="970750"/>
                </a:lnTo>
                <a:lnTo>
                  <a:pt x="578815" y="951205"/>
                </a:lnTo>
                <a:lnTo>
                  <a:pt x="558927" y="951205"/>
                </a:lnTo>
                <a:lnTo>
                  <a:pt x="558927" y="970750"/>
                </a:lnTo>
                <a:lnTo>
                  <a:pt x="539382" y="970750"/>
                </a:lnTo>
                <a:lnTo>
                  <a:pt x="539382" y="990638"/>
                </a:lnTo>
                <a:lnTo>
                  <a:pt x="558927" y="990638"/>
                </a:lnTo>
                <a:lnTo>
                  <a:pt x="558927" y="1010183"/>
                </a:lnTo>
                <a:close/>
                <a:moveTo>
                  <a:pt x="969378" y="739635"/>
                </a:moveTo>
                <a:lnTo>
                  <a:pt x="991324" y="739635"/>
                </a:lnTo>
                <a:lnTo>
                  <a:pt x="991324" y="717347"/>
                </a:lnTo>
                <a:lnTo>
                  <a:pt x="1013612" y="717347"/>
                </a:lnTo>
                <a:lnTo>
                  <a:pt x="1013612" y="695401"/>
                </a:lnTo>
                <a:lnTo>
                  <a:pt x="991324" y="695401"/>
                </a:lnTo>
                <a:lnTo>
                  <a:pt x="991324" y="673113"/>
                </a:lnTo>
                <a:lnTo>
                  <a:pt x="969378" y="673113"/>
                </a:lnTo>
                <a:lnTo>
                  <a:pt x="969378" y="695401"/>
                </a:lnTo>
                <a:lnTo>
                  <a:pt x="947090" y="695401"/>
                </a:lnTo>
                <a:lnTo>
                  <a:pt x="947090" y="717347"/>
                </a:lnTo>
                <a:lnTo>
                  <a:pt x="969378" y="717347"/>
                </a:lnTo>
                <a:lnTo>
                  <a:pt x="969378" y="739635"/>
                </a:lnTo>
                <a:close/>
                <a:moveTo>
                  <a:pt x="2505227" y="2126323"/>
                </a:moveTo>
                <a:lnTo>
                  <a:pt x="2505227" y="2094090"/>
                </a:lnTo>
                <a:lnTo>
                  <a:pt x="2537460" y="2094090"/>
                </a:lnTo>
                <a:lnTo>
                  <a:pt x="2537460" y="2061858"/>
                </a:lnTo>
                <a:lnTo>
                  <a:pt x="2505227" y="2061858"/>
                </a:lnTo>
                <a:lnTo>
                  <a:pt x="2505227" y="2029625"/>
                </a:lnTo>
                <a:lnTo>
                  <a:pt x="2472995" y="2029625"/>
                </a:lnTo>
                <a:lnTo>
                  <a:pt x="2472995" y="2061858"/>
                </a:lnTo>
                <a:lnTo>
                  <a:pt x="2440762" y="2061858"/>
                </a:lnTo>
                <a:lnTo>
                  <a:pt x="2440762" y="2094090"/>
                </a:lnTo>
                <a:lnTo>
                  <a:pt x="2472995" y="2094090"/>
                </a:lnTo>
                <a:lnTo>
                  <a:pt x="2472995" y="2126323"/>
                </a:lnTo>
                <a:lnTo>
                  <a:pt x="2505227" y="2126323"/>
                </a:lnTo>
                <a:close/>
                <a:moveTo>
                  <a:pt x="971779" y="457429"/>
                </a:moveTo>
                <a:lnTo>
                  <a:pt x="988924" y="457429"/>
                </a:lnTo>
                <a:lnTo>
                  <a:pt x="988924" y="440627"/>
                </a:lnTo>
                <a:lnTo>
                  <a:pt x="1005726" y="440627"/>
                </a:lnTo>
                <a:lnTo>
                  <a:pt x="1005726" y="423482"/>
                </a:lnTo>
                <a:lnTo>
                  <a:pt x="988924" y="423482"/>
                </a:lnTo>
                <a:lnTo>
                  <a:pt x="988924" y="406679"/>
                </a:lnTo>
                <a:lnTo>
                  <a:pt x="971779" y="406679"/>
                </a:lnTo>
                <a:lnTo>
                  <a:pt x="971779" y="423482"/>
                </a:lnTo>
                <a:lnTo>
                  <a:pt x="954976" y="423482"/>
                </a:lnTo>
                <a:lnTo>
                  <a:pt x="954976" y="440627"/>
                </a:lnTo>
                <a:lnTo>
                  <a:pt x="971779" y="440627"/>
                </a:lnTo>
                <a:lnTo>
                  <a:pt x="971779" y="457429"/>
                </a:lnTo>
                <a:close/>
                <a:moveTo>
                  <a:pt x="1041387" y="317183"/>
                </a:moveTo>
                <a:lnTo>
                  <a:pt x="1056475" y="317183"/>
                </a:lnTo>
                <a:lnTo>
                  <a:pt x="1056475" y="302438"/>
                </a:lnTo>
                <a:lnTo>
                  <a:pt x="1071220" y="302438"/>
                </a:lnTo>
                <a:lnTo>
                  <a:pt x="1071220" y="287350"/>
                </a:lnTo>
                <a:lnTo>
                  <a:pt x="1056475" y="287350"/>
                </a:lnTo>
                <a:lnTo>
                  <a:pt x="1056475" y="272606"/>
                </a:lnTo>
                <a:lnTo>
                  <a:pt x="1041387" y="272606"/>
                </a:lnTo>
                <a:lnTo>
                  <a:pt x="1041387" y="287350"/>
                </a:lnTo>
                <a:lnTo>
                  <a:pt x="1026643" y="287350"/>
                </a:lnTo>
                <a:lnTo>
                  <a:pt x="1026643" y="302438"/>
                </a:lnTo>
                <a:lnTo>
                  <a:pt x="1041387" y="302438"/>
                </a:lnTo>
                <a:lnTo>
                  <a:pt x="1041387" y="317183"/>
                </a:lnTo>
                <a:close/>
                <a:moveTo>
                  <a:pt x="835647" y="454685"/>
                </a:moveTo>
                <a:lnTo>
                  <a:pt x="850735" y="454685"/>
                </a:lnTo>
                <a:lnTo>
                  <a:pt x="850735" y="439598"/>
                </a:lnTo>
                <a:lnTo>
                  <a:pt x="865822" y="439598"/>
                </a:lnTo>
                <a:lnTo>
                  <a:pt x="865822" y="424510"/>
                </a:lnTo>
                <a:lnTo>
                  <a:pt x="850735" y="424510"/>
                </a:lnTo>
                <a:lnTo>
                  <a:pt x="850735" y="409423"/>
                </a:lnTo>
                <a:lnTo>
                  <a:pt x="835647" y="409423"/>
                </a:lnTo>
                <a:lnTo>
                  <a:pt x="835647" y="424510"/>
                </a:lnTo>
                <a:lnTo>
                  <a:pt x="820560" y="424510"/>
                </a:lnTo>
                <a:lnTo>
                  <a:pt x="820560" y="439598"/>
                </a:lnTo>
                <a:lnTo>
                  <a:pt x="835647" y="439598"/>
                </a:lnTo>
                <a:lnTo>
                  <a:pt x="835647" y="454685"/>
                </a:lnTo>
                <a:close/>
                <a:moveTo>
                  <a:pt x="900112" y="878510"/>
                </a:moveTo>
                <a:lnTo>
                  <a:pt x="923430" y="878510"/>
                </a:lnTo>
                <a:lnTo>
                  <a:pt x="923430" y="855193"/>
                </a:lnTo>
                <a:lnTo>
                  <a:pt x="946747" y="855193"/>
                </a:lnTo>
                <a:lnTo>
                  <a:pt x="946747" y="831875"/>
                </a:lnTo>
                <a:lnTo>
                  <a:pt x="923430" y="831875"/>
                </a:lnTo>
                <a:lnTo>
                  <a:pt x="923430" y="808558"/>
                </a:lnTo>
                <a:lnTo>
                  <a:pt x="900112" y="808558"/>
                </a:lnTo>
                <a:lnTo>
                  <a:pt x="900112" y="831875"/>
                </a:lnTo>
                <a:lnTo>
                  <a:pt x="876795" y="831875"/>
                </a:lnTo>
                <a:lnTo>
                  <a:pt x="876795" y="855193"/>
                </a:lnTo>
                <a:lnTo>
                  <a:pt x="900112" y="855193"/>
                </a:lnTo>
                <a:lnTo>
                  <a:pt x="900112" y="878510"/>
                </a:lnTo>
                <a:close/>
                <a:moveTo>
                  <a:pt x="905256" y="314439"/>
                </a:moveTo>
                <a:lnTo>
                  <a:pt x="918286" y="314439"/>
                </a:lnTo>
                <a:lnTo>
                  <a:pt x="918286" y="301409"/>
                </a:lnTo>
                <a:lnTo>
                  <a:pt x="931316" y="301409"/>
                </a:lnTo>
                <a:lnTo>
                  <a:pt x="931316" y="288379"/>
                </a:lnTo>
                <a:lnTo>
                  <a:pt x="918286" y="288379"/>
                </a:lnTo>
                <a:lnTo>
                  <a:pt x="918286" y="275349"/>
                </a:lnTo>
                <a:lnTo>
                  <a:pt x="905256" y="275349"/>
                </a:lnTo>
                <a:lnTo>
                  <a:pt x="905256" y="288379"/>
                </a:lnTo>
                <a:lnTo>
                  <a:pt x="892226" y="288379"/>
                </a:lnTo>
                <a:lnTo>
                  <a:pt x="892226" y="301409"/>
                </a:lnTo>
                <a:lnTo>
                  <a:pt x="905256" y="301409"/>
                </a:lnTo>
                <a:lnTo>
                  <a:pt x="905256" y="314439"/>
                </a:lnTo>
                <a:close/>
                <a:moveTo>
                  <a:pt x="833247" y="736549"/>
                </a:moveTo>
                <a:lnTo>
                  <a:pt x="853135" y="736549"/>
                </a:lnTo>
                <a:lnTo>
                  <a:pt x="853135" y="716318"/>
                </a:lnTo>
                <a:lnTo>
                  <a:pt x="873366" y="716318"/>
                </a:lnTo>
                <a:lnTo>
                  <a:pt x="873366" y="696430"/>
                </a:lnTo>
                <a:lnTo>
                  <a:pt x="853135" y="696430"/>
                </a:lnTo>
                <a:lnTo>
                  <a:pt x="853135" y="676199"/>
                </a:lnTo>
                <a:lnTo>
                  <a:pt x="833247" y="676199"/>
                </a:lnTo>
                <a:lnTo>
                  <a:pt x="833247" y="696430"/>
                </a:lnTo>
                <a:lnTo>
                  <a:pt x="813016" y="696430"/>
                </a:lnTo>
                <a:lnTo>
                  <a:pt x="813016" y="716318"/>
                </a:lnTo>
                <a:lnTo>
                  <a:pt x="833247" y="716318"/>
                </a:lnTo>
                <a:lnTo>
                  <a:pt x="833247" y="736549"/>
                </a:lnTo>
                <a:close/>
                <a:moveTo>
                  <a:pt x="902513" y="597332"/>
                </a:moveTo>
                <a:lnTo>
                  <a:pt x="921029" y="597332"/>
                </a:lnTo>
                <a:lnTo>
                  <a:pt x="921029" y="578472"/>
                </a:lnTo>
                <a:lnTo>
                  <a:pt x="939889" y="578472"/>
                </a:lnTo>
                <a:lnTo>
                  <a:pt x="939889" y="559956"/>
                </a:lnTo>
                <a:lnTo>
                  <a:pt x="921029" y="559956"/>
                </a:lnTo>
                <a:lnTo>
                  <a:pt x="921029" y="541096"/>
                </a:lnTo>
                <a:lnTo>
                  <a:pt x="902513" y="541096"/>
                </a:lnTo>
                <a:lnTo>
                  <a:pt x="902513" y="559956"/>
                </a:lnTo>
                <a:lnTo>
                  <a:pt x="883653" y="559956"/>
                </a:lnTo>
                <a:lnTo>
                  <a:pt x="883653" y="578472"/>
                </a:lnTo>
                <a:lnTo>
                  <a:pt x="902513" y="578472"/>
                </a:lnTo>
                <a:lnTo>
                  <a:pt x="902513" y="597332"/>
                </a:lnTo>
                <a:close/>
                <a:moveTo>
                  <a:pt x="490347" y="1147686"/>
                </a:moveTo>
                <a:lnTo>
                  <a:pt x="510235" y="1147686"/>
                </a:lnTo>
                <a:lnTo>
                  <a:pt x="510235" y="1127798"/>
                </a:lnTo>
                <a:lnTo>
                  <a:pt x="530123" y="1127798"/>
                </a:lnTo>
                <a:lnTo>
                  <a:pt x="530123" y="1107910"/>
                </a:lnTo>
                <a:lnTo>
                  <a:pt x="510235" y="1107910"/>
                </a:lnTo>
                <a:lnTo>
                  <a:pt x="510235" y="1088022"/>
                </a:lnTo>
                <a:lnTo>
                  <a:pt x="490347" y="1088022"/>
                </a:lnTo>
                <a:lnTo>
                  <a:pt x="490347" y="1107910"/>
                </a:lnTo>
                <a:lnTo>
                  <a:pt x="470459" y="1107910"/>
                </a:lnTo>
                <a:lnTo>
                  <a:pt x="470459" y="1127798"/>
                </a:lnTo>
                <a:lnTo>
                  <a:pt x="490347" y="1127798"/>
                </a:lnTo>
                <a:lnTo>
                  <a:pt x="490347" y="1147686"/>
                </a:lnTo>
                <a:close/>
                <a:moveTo>
                  <a:pt x="494462" y="587045"/>
                </a:moveTo>
                <a:lnTo>
                  <a:pt x="506120" y="587045"/>
                </a:lnTo>
                <a:lnTo>
                  <a:pt x="506120" y="575043"/>
                </a:lnTo>
                <a:lnTo>
                  <a:pt x="518122" y="575043"/>
                </a:lnTo>
                <a:lnTo>
                  <a:pt x="518122" y="563385"/>
                </a:lnTo>
                <a:lnTo>
                  <a:pt x="506120" y="563385"/>
                </a:lnTo>
                <a:lnTo>
                  <a:pt x="506120" y="551383"/>
                </a:lnTo>
                <a:lnTo>
                  <a:pt x="494462" y="551383"/>
                </a:lnTo>
                <a:lnTo>
                  <a:pt x="494462" y="563385"/>
                </a:lnTo>
                <a:lnTo>
                  <a:pt x="482460" y="563385"/>
                </a:lnTo>
                <a:lnTo>
                  <a:pt x="482460" y="575043"/>
                </a:lnTo>
                <a:lnTo>
                  <a:pt x="494462" y="575043"/>
                </a:lnTo>
                <a:lnTo>
                  <a:pt x="494462" y="587045"/>
                </a:lnTo>
                <a:close/>
                <a:moveTo>
                  <a:pt x="287693" y="1001611"/>
                </a:moveTo>
                <a:lnTo>
                  <a:pt x="301409" y="1001611"/>
                </a:lnTo>
                <a:lnTo>
                  <a:pt x="301409" y="987552"/>
                </a:lnTo>
                <a:lnTo>
                  <a:pt x="315468" y="987552"/>
                </a:lnTo>
                <a:lnTo>
                  <a:pt x="315468" y="973836"/>
                </a:lnTo>
                <a:lnTo>
                  <a:pt x="301409" y="973836"/>
                </a:lnTo>
                <a:lnTo>
                  <a:pt x="301409" y="959777"/>
                </a:lnTo>
                <a:lnTo>
                  <a:pt x="287693" y="959777"/>
                </a:lnTo>
                <a:lnTo>
                  <a:pt x="287693" y="973836"/>
                </a:lnTo>
                <a:lnTo>
                  <a:pt x="273634" y="973836"/>
                </a:lnTo>
                <a:lnTo>
                  <a:pt x="273634" y="987552"/>
                </a:lnTo>
                <a:lnTo>
                  <a:pt x="287693" y="987552"/>
                </a:lnTo>
                <a:lnTo>
                  <a:pt x="287693" y="1001611"/>
                </a:lnTo>
                <a:close/>
                <a:moveTo>
                  <a:pt x="285979" y="1280732"/>
                </a:moveTo>
                <a:lnTo>
                  <a:pt x="303124" y="1280732"/>
                </a:lnTo>
                <a:lnTo>
                  <a:pt x="303124" y="1263587"/>
                </a:lnTo>
                <a:lnTo>
                  <a:pt x="320269" y="1263587"/>
                </a:lnTo>
                <a:lnTo>
                  <a:pt x="320269" y="1246442"/>
                </a:lnTo>
                <a:lnTo>
                  <a:pt x="303124" y="1246442"/>
                </a:lnTo>
                <a:lnTo>
                  <a:pt x="303124" y="1229297"/>
                </a:lnTo>
                <a:lnTo>
                  <a:pt x="285979" y="1229297"/>
                </a:lnTo>
                <a:lnTo>
                  <a:pt x="285979" y="1246442"/>
                </a:lnTo>
                <a:lnTo>
                  <a:pt x="268834" y="1246442"/>
                </a:lnTo>
                <a:lnTo>
                  <a:pt x="268834" y="1263587"/>
                </a:lnTo>
                <a:lnTo>
                  <a:pt x="285979" y="1263587"/>
                </a:lnTo>
                <a:lnTo>
                  <a:pt x="285979" y="1280732"/>
                </a:lnTo>
                <a:close/>
                <a:moveTo>
                  <a:pt x="352501" y="1698384"/>
                </a:moveTo>
                <a:lnTo>
                  <a:pt x="373761" y="1698384"/>
                </a:lnTo>
                <a:lnTo>
                  <a:pt x="373761" y="1677124"/>
                </a:lnTo>
                <a:lnTo>
                  <a:pt x="395021" y="1677124"/>
                </a:lnTo>
                <a:lnTo>
                  <a:pt x="395021" y="1655864"/>
                </a:lnTo>
                <a:lnTo>
                  <a:pt x="373761" y="1655864"/>
                </a:lnTo>
                <a:lnTo>
                  <a:pt x="373761" y="1634604"/>
                </a:lnTo>
                <a:lnTo>
                  <a:pt x="352501" y="1634604"/>
                </a:lnTo>
                <a:lnTo>
                  <a:pt x="352501" y="1655864"/>
                </a:lnTo>
                <a:lnTo>
                  <a:pt x="331241" y="1655864"/>
                </a:lnTo>
                <a:lnTo>
                  <a:pt x="331241" y="1677124"/>
                </a:lnTo>
                <a:lnTo>
                  <a:pt x="352501" y="1677124"/>
                </a:lnTo>
                <a:lnTo>
                  <a:pt x="352501" y="1698384"/>
                </a:lnTo>
                <a:close/>
                <a:moveTo>
                  <a:pt x="353187" y="1421663"/>
                </a:moveTo>
                <a:lnTo>
                  <a:pt x="373075" y="1421663"/>
                </a:lnTo>
                <a:lnTo>
                  <a:pt x="373075" y="1402118"/>
                </a:lnTo>
                <a:lnTo>
                  <a:pt x="392620" y="1402118"/>
                </a:lnTo>
                <a:lnTo>
                  <a:pt x="392620" y="1382230"/>
                </a:lnTo>
                <a:lnTo>
                  <a:pt x="373075" y="1382230"/>
                </a:lnTo>
                <a:lnTo>
                  <a:pt x="373075" y="1362685"/>
                </a:lnTo>
                <a:lnTo>
                  <a:pt x="353187" y="1362685"/>
                </a:lnTo>
                <a:lnTo>
                  <a:pt x="353187" y="1382230"/>
                </a:lnTo>
                <a:lnTo>
                  <a:pt x="333642" y="1382230"/>
                </a:lnTo>
                <a:lnTo>
                  <a:pt x="333642" y="1402118"/>
                </a:lnTo>
                <a:lnTo>
                  <a:pt x="353187" y="1402118"/>
                </a:lnTo>
                <a:lnTo>
                  <a:pt x="353187" y="1421663"/>
                </a:lnTo>
                <a:close/>
                <a:moveTo>
                  <a:pt x="150533" y="1275931"/>
                </a:moveTo>
                <a:lnTo>
                  <a:pt x="164249" y="1275931"/>
                </a:lnTo>
                <a:lnTo>
                  <a:pt x="164249" y="1261872"/>
                </a:lnTo>
                <a:lnTo>
                  <a:pt x="178308" y="1261872"/>
                </a:lnTo>
                <a:lnTo>
                  <a:pt x="178308" y="1248156"/>
                </a:lnTo>
                <a:lnTo>
                  <a:pt x="164249" y="1248156"/>
                </a:lnTo>
                <a:lnTo>
                  <a:pt x="164249" y="1234097"/>
                </a:lnTo>
                <a:lnTo>
                  <a:pt x="150533" y="1234097"/>
                </a:lnTo>
                <a:lnTo>
                  <a:pt x="150533" y="1248156"/>
                </a:lnTo>
                <a:lnTo>
                  <a:pt x="136474" y="1248156"/>
                </a:lnTo>
                <a:lnTo>
                  <a:pt x="136474" y="1261872"/>
                </a:lnTo>
                <a:lnTo>
                  <a:pt x="150533" y="1261872"/>
                </a:lnTo>
                <a:lnTo>
                  <a:pt x="150533" y="1275931"/>
                </a:lnTo>
                <a:close/>
                <a:moveTo>
                  <a:pt x="219113" y="1138771"/>
                </a:moveTo>
                <a:lnTo>
                  <a:pt x="232829" y="1138771"/>
                </a:lnTo>
                <a:lnTo>
                  <a:pt x="232829" y="1124712"/>
                </a:lnTo>
                <a:lnTo>
                  <a:pt x="246888" y="1124712"/>
                </a:lnTo>
                <a:lnTo>
                  <a:pt x="246888" y="1110996"/>
                </a:lnTo>
                <a:lnTo>
                  <a:pt x="232829" y="1110996"/>
                </a:lnTo>
                <a:lnTo>
                  <a:pt x="232829" y="1096937"/>
                </a:lnTo>
                <a:lnTo>
                  <a:pt x="219113" y="1096937"/>
                </a:lnTo>
                <a:lnTo>
                  <a:pt x="219113" y="1110996"/>
                </a:lnTo>
                <a:lnTo>
                  <a:pt x="205054" y="1110996"/>
                </a:lnTo>
                <a:lnTo>
                  <a:pt x="205054" y="1124712"/>
                </a:lnTo>
                <a:lnTo>
                  <a:pt x="219113" y="1124712"/>
                </a:lnTo>
                <a:lnTo>
                  <a:pt x="219113" y="1138771"/>
                </a:lnTo>
                <a:close/>
                <a:moveTo>
                  <a:pt x="216713" y="1693926"/>
                </a:moveTo>
                <a:lnTo>
                  <a:pt x="235229" y="1693926"/>
                </a:lnTo>
                <a:lnTo>
                  <a:pt x="235229" y="1675752"/>
                </a:lnTo>
                <a:lnTo>
                  <a:pt x="253403" y="1675752"/>
                </a:lnTo>
                <a:lnTo>
                  <a:pt x="253403" y="1657236"/>
                </a:lnTo>
                <a:lnTo>
                  <a:pt x="235229" y="1657236"/>
                </a:lnTo>
                <a:lnTo>
                  <a:pt x="235229" y="1639062"/>
                </a:lnTo>
                <a:lnTo>
                  <a:pt x="216713" y="1639062"/>
                </a:lnTo>
                <a:lnTo>
                  <a:pt x="216713" y="1657236"/>
                </a:lnTo>
                <a:lnTo>
                  <a:pt x="198539" y="1657236"/>
                </a:lnTo>
                <a:lnTo>
                  <a:pt x="198539" y="1675752"/>
                </a:lnTo>
                <a:lnTo>
                  <a:pt x="216713" y="1675752"/>
                </a:lnTo>
                <a:lnTo>
                  <a:pt x="216713" y="1693926"/>
                </a:lnTo>
                <a:close/>
                <a:moveTo>
                  <a:pt x="354559" y="1143572"/>
                </a:moveTo>
                <a:lnTo>
                  <a:pt x="371704" y="1143572"/>
                </a:lnTo>
                <a:lnTo>
                  <a:pt x="371704" y="1126427"/>
                </a:lnTo>
                <a:lnTo>
                  <a:pt x="388849" y="1126427"/>
                </a:lnTo>
                <a:lnTo>
                  <a:pt x="388849" y="1109282"/>
                </a:lnTo>
                <a:lnTo>
                  <a:pt x="371704" y="1109282"/>
                </a:lnTo>
                <a:lnTo>
                  <a:pt x="371704" y="1092137"/>
                </a:lnTo>
                <a:lnTo>
                  <a:pt x="354559" y="1092137"/>
                </a:lnTo>
                <a:lnTo>
                  <a:pt x="354559" y="1109282"/>
                </a:lnTo>
                <a:lnTo>
                  <a:pt x="337414" y="1109282"/>
                </a:lnTo>
                <a:lnTo>
                  <a:pt x="337414" y="1126427"/>
                </a:lnTo>
                <a:lnTo>
                  <a:pt x="354559" y="1126427"/>
                </a:lnTo>
                <a:lnTo>
                  <a:pt x="354559" y="1143572"/>
                </a:lnTo>
                <a:close/>
                <a:moveTo>
                  <a:pt x="217742" y="1417206"/>
                </a:moveTo>
                <a:lnTo>
                  <a:pt x="234201" y="1417206"/>
                </a:lnTo>
                <a:lnTo>
                  <a:pt x="234201" y="1400404"/>
                </a:lnTo>
                <a:lnTo>
                  <a:pt x="251003" y="1400404"/>
                </a:lnTo>
                <a:lnTo>
                  <a:pt x="251003" y="1383944"/>
                </a:lnTo>
                <a:lnTo>
                  <a:pt x="234201" y="1383944"/>
                </a:lnTo>
                <a:lnTo>
                  <a:pt x="234201" y="1367142"/>
                </a:lnTo>
                <a:lnTo>
                  <a:pt x="217742" y="1367142"/>
                </a:lnTo>
                <a:lnTo>
                  <a:pt x="217742" y="1383944"/>
                </a:lnTo>
                <a:lnTo>
                  <a:pt x="200939" y="1383944"/>
                </a:lnTo>
                <a:lnTo>
                  <a:pt x="200939" y="1400404"/>
                </a:lnTo>
                <a:lnTo>
                  <a:pt x="217742" y="1400404"/>
                </a:lnTo>
                <a:lnTo>
                  <a:pt x="217742" y="1417206"/>
                </a:lnTo>
                <a:close/>
                <a:moveTo>
                  <a:pt x="284950" y="1558138"/>
                </a:moveTo>
                <a:lnTo>
                  <a:pt x="304152" y="1558138"/>
                </a:lnTo>
                <a:lnTo>
                  <a:pt x="304152" y="1538935"/>
                </a:lnTo>
                <a:lnTo>
                  <a:pt x="323355" y="1538935"/>
                </a:lnTo>
                <a:lnTo>
                  <a:pt x="323355" y="1519733"/>
                </a:lnTo>
                <a:lnTo>
                  <a:pt x="304152" y="1519733"/>
                </a:lnTo>
                <a:lnTo>
                  <a:pt x="304152" y="1500530"/>
                </a:lnTo>
                <a:lnTo>
                  <a:pt x="284950" y="1500530"/>
                </a:lnTo>
                <a:lnTo>
                  <a:pt x="284950" y="1519733"/>
                </a:lnTo>
                <a:lnTo>
                  <a:pt x="265748" y="1519733"/>
                </a:lnTo>
                <a:lnTo>
                  <a:pt x="265748" y="1538935"/>
                </a:lnTo>
                <a:lnTo>
                  <a:pt x="284950" y="1538935"/>
                </a:lnTo>
                <a:lnTo>
                  <a:pt x="284950" y="1558138"/>
                </a:lnTo>
                <a:close/>
                <a:moveTo>
                  <a:pt x="356273" y="863765"/>
                </a:moveTo>
                <a:lnTo>
                  <a:pt x="369989" y="863765"/>
                </a:lnTo>
                <a:lnTo>
                  <a:pt x="369989" y="850392"/>
                </a:lnTo>
                <a:lnTo>
                  <a:pt x="383362" y="850392"/>
                </a:lnTo>
                <a:lnTo>
                  <a:pt x="383362" y="836676"/>
                </a:lnTo>
                <a:lnTo>
                  <a:pt x="369989" y="836676"/>
                </a:lnTo>
                <a:lnTo>
                  <a:pt x="369989" y="823303"/>
                </a:lnTo>
                <a:lnTo>
                  <a:pt x="356273" y="823303"/>
                </a:lnTo>
                <a:lnTo>
                  <a:pt x="356273" y="836676"/>
                </a:lnTo>
                <a:lnTo>
                  <a:pt x="342900" y="836676"/>
                </a:lnTo>
                <a:lnTo>
                  <a:pt x="342900" y="850392"/>
                </a:lnTo>
                <a:lnTo>
                  <a:pt x="356273" y="850392"/>
                </a:lnTo>
                <a:lnTo>
                  <a:pt x="356273" y="863765"/>
                </a:lnTo>
                <a:close/>
                <a:moveTo>
                  <a:pt x="1105510" y="742036"/>
                </a:moveTo>
                <a:lnTo>
                  <a:pt x="1129513" y="742036"/>
                </a:lnTo>
                <a:lnTo>
                  <a:pt x="1129513" y="718376"/>
                </a:lnTo>
                <a:lnTo>
                  <a:pt x="1153173" y="718376"/>
                </a:lnTo>
                <a:lnTo>
                  <a:pt x="1153173" y="694373"/>
                </a:lnTo>
                <a:lnTo>
                  <a:pt x="1129513" y="694373"/>
                </a:lnTo>
                <a:lnTo>
                  <a:pt x="1129513" y="670712"/>
                </a:lnTo>
                <a:lnTo>
                  <a:pt x="1105510" y="670712"/>
                </a:lnTo>
                <a:lnTo>
                  <a:pt x="1105510" y="694373"/>
                </a:lnTo>
                <a:lnTo>
                  <a:pt x="1081849" y="694373"/>
                </a:lnTo>
                <a:lnTo>
                  <a:pt x="1081849" y="718376"/>
                </a:lnTo>
                <a:lnTo>
                  <a:pt x="1105510" y="718376"/>
                </a:lnTo>
                <a:lnTo>
                  <a:pt x="1105510" y="742036"/>
                </a:lnTo>
                <a:close/>
                <a:moveTo>
                  <a:pt x="2432876" y="532524"/>
                </a:moveTo>
                <a:lnTo>
                  <a:pt x="2408187" y="532524"/>
                </a:lnTo>
                <a:lnTo>
                  <a:pt x="2408187" y="556870"/>
                </a:lnTo>
                <a:lnTo>
                  <a:pt x="2383841" y="556870"/>
                </a:lnTo>
                <a:lnTo>
                  <a:pt x="2383841" y="581558"/>
                </a:lnTo>
                <a:lnTo>
                  <a:pt x="2408187" y="581558"/>
                </a:lnTo>
                <a:lnTo>
                  <a:pt x="2408187" y="605904"/>
                </a:lnTo>
                <a:lnTo>
                  <a:pt x="2432876" y="605904"/>
                </a:lnTo>
                <a:lnTo>
                  <a:pt x="2432876" y="581558"/>
                </a:lnTo>
                <a:lnTo>
                  <a:pt x="2457221" y="581558"/>
                </a:lnTo>
                <a:lnTo>
                  <a:pt x="2457221" y="556870"/>
                </a:lnTo>
                <a:lnTo>
                  <a:pt x="2432876" y="556870"/>
                </a:lnTo>
                <a:lnTo>
                  <a:pt x="2432876" y="532524"/>
                </a:lnTo>
                <a:close/>
                <a:moveTo>
                  <a:pt x="425196" y="725919"/>
                </a:moveTo>
                <a:lnTo>
                  <a:pt x="438226" y="725919"/>
                </a:lnTo>
                <a:lnTo>
                  <a:pt x="438226" y="712889"/>
                </a:lnTo>
                <a:lnTo>
                  <a:pt x="451256" y="712889"/>
                </a:lnTo>
                <a:lnTo>
                  <a:pt x="451256" y="699859"/>
                </a:lnTo>
                <a:lnTo>
                  <a:pt x="438226" y="699859"/>
                </a:lnTo>
                <a:lnTo>
                  <a:pt x="438226" y="686829"/>
                </a:lnTo>
                <a:lnTo>
                  <a:pt x="425196" y="686829"/>
                </a:lnTo>
                <a:lnTo>
                  <a:pt x="425196" y="699859"/>
                </a:lnTo>
                <a:lnTo>
                  <a:pt x="412166" y="699859"/>
                </a:lnTo>
                <a:lnTo>
                  <a:pt x="412166" y="712889"/>
                </a:lnTo>
                <a:lnTo>
                  <a:pt x="425196" y="712889"/>
                </a:lnTo>
                <a:lnTo>
                  <a:pt x="425196" y="725919"/>
                </a:lnTo>
                <a:close/>
                <a:moveTo>
                  <a:pt x="488975" y="1426121"/>
                </a:moveTo>
                <a:lnTo>
                  <a:pt x="511607" y="1426121"/>
                </a:lnTo>
                <a:lnTo>
                  <a:pt x="511607" y="1403490"/>
                </a:lnTo>
                <a:lnTo>
                  <a:pt x="534238" y="1403490"/>
                </a:lnTo>
                <a:lnTo>
                  <a:pt x="534238" y="1380858"/>
                </a:lnTo>
                <a:lnTo>
                  <a:pt x="511607" y="1380858"/>
                </a:lnTo>
                <a:lnTo>
                  <a:pt x="511607" y="1358227"/>
                </a:lnTo>
                <a:lnTo>
                  <a:pt x="488975" y="1358227"/>
                </a:lnTo>
                <a:lnTo>
                  <a:pt x="488975" y="1380858"/>
                </a:lnTo>
                <a:lnTo>
                  <a:pt x="466344" y="1380858"/>
                </a:lnTo>
                <a:lnTo>
                  <a:pt x="466344" y="1403490"/>
                </a:lnTo>
                <a:lnTo>
                  <a:pt x="488975" y="1403490"/>
                </a:lnTo>
                <a:lnTo>
                  <a:pt x="488975" y="1426121"/>
                </a:lnTo>
                <a:close/>
                <a:moveTo>
                  <a:pt x="420052" y="1838287"/>
                </a:moveTo>
                <a:lnTo>
                  <a:pt x="443370" y="1838287"/>
                </a:lnTo>
                <a:lnTo>
                  <a:pt x="443370" y="1815313"/>
                </a:lnTo>
                <a:lnTo>
                  <a:pt x="466344" y="1815313"/>
                </a:lnTo>
                <a:lnTo>
                  <a:pt x="466344" y="1791995"/>
                </a:lnTo>
                <a:lnTo>
                  <a:pt x="443370" y="1791995"/>
                </a:lnTo>
                <a:lnTo>
                  <a:pt x="443370" y="1769021"/>
                </a:lnTo>
                <a:lnTo>
                  <a:pt x="420052" y="1769021"/>
                </a:lnTo>
                <a:lnTo>
                  <a:pt x="420052" y="1791995"/>
                </a:lnTo>
                <a:lnTo>
                  <a:pt x="397078" y="1791995"/>
                </a:lnTo>
                <a:lnTo>
                  <a:pt x="397078" y="1815313"/>
                </a:lnTo>
                <a:lnTo>
                  <a:pt x="420052" y="1815313"/>
                </a:lnTo>
                <a:lnTo>
                  <a:pt x="420052" y="1838287"/>
                </a:lnTo>
                <a:close/>
                <a:moveTo>
                  <a:pt x="423139" y="1006069"/>
                </a:moveTo>
                <a:lnTo>
                  <a:pt x="440284" y="1006069"/>
                </a:lnTo>
                <a:lnTo>
                  <a:pt x="440284" y="989267"/>
                </a:lnTo>
                <a:lnTo>
                  <a:pt x="457086" y="989267"/>
                </a:lnTo>
                <a:lnTo>
                  <a:pt x="457086" y="972122"/>
                </a:lnTo>
                <a:lnTo>
                  <a:pt x="440284" y="972122"/>
                </a:lnTo>
                <a:lnTo>
                  <a:pt x="440284" y="955319"/>
                </a:lnTo>
                <a:lnTo>
                  <a:pt x="423139" y="955319"/>
                </a:lnTo>
                <a:lnTo>
                  <a:pt x="423139" y="972122"/>
                </a:lnTo>
                <a:lnTo>
                  <a:pt x="406336" y="972122"/>
                </a:lnTo>
                <a:lnTo>
                  <a:pt x="406336" y="989267"/>
                </a:lnTo>
                <a:lnTo>
                  <a:pt x="423139" y="989267"/>
                </a:lnTo>
                <a:lnTo>
                  <a:pt x="423139" y="1006069"/>
                </a:lnTo>
                <a:close/>
                <a:moveTo>
                  <a:pt x="420738" y="1562595"/>
                </a:moveTo>
                <a:lnTo>
                  <a:pt x="442684" y="1562595"/>
                </a:lnTo>
                <a:lnTo>
                  <a:pt x="442684" y="1540307"/>
                </a:lnTo>
                <a:lnTo>
                  <a:pt x="464972" y="1540307"/>
                </a:lnTo>
                <a:lnTo>
                  <a:pt x="464972" y="1518361"/>
                </a:lnTo>
                <a:lnTo>
                  <a:pt x="442684" y="1518361"/>
                </a:lnTo>
                <a:lnTo>
                  <a:pt x="442684" y="1496073"/>
                </a:lnTo>
                <a:lnTo>
                  <a:pt x="420738" y="1496073"/>
                </a:lnTo>
                <a:lnTo>
                  <a:pt x="420738" y="1518361"/>
                </a:lnTo>
                <a:lnTo>
                  <a:pt x="398450" y="1518361"/>
                </a:lnTo>
                <a:lnTo>
                  <a:pt x="398450" y="1540307"/>
                </a:lnTo>
                <a:lnTo>
                  <a:pt x="420738" y="1540307"/>
                </a:lnTo>
                <a:lnTo>
                  <a:pt x="420738" y="1562595"/>
                </a:lnTo>
                <a:close/>
                <a:moveTo>
                  <a:pt x="421767" y="1284846"/>
                </a:moveTo>
                <a:lnTo>
                  <a:pt x="441655" y="1284846"/>
                </a:lnTo>
                <a:lnTo>
                  <a:pt x="441655" y="1264958"/>
                </a:lnTo>
                <a:lnTo>
                  <a:pt x="461543" y="1264958"/>
                </a:lnTo>
                <a:lnTo>
                  <a:pt x="461543" y="1245070"/>
                </a:lnTo>
                <a:lnTo>
                  <a:pt x="441655" y="1245070"/>
                </a:lnTo>
                <a:lnTo>
                  <a:pt x="441655" y="1225182"/>
                </a:lnTo>
                <a:lnTo>
                  <a:pt x="421767" y="1225182"/>
                </a:lnTo>
                <a:lnTo>
                  <a:pt x="421767" y="1245070"/>
                </a:lnTo>
                <a:lnTo>
                  <a:pt x="401879" y="1245070"/>
                </a:lnTo>
                <a:lnTo>
                  <a:pt x="401879" y="1264958"/>
                </a:lnTo>
                <a:lnTo>
                  <a:pt x="421767" y="1264958"/>
                </a:lnTo>
                <a:lnTo>
                  <a:pt x="421767" y="1284846"/>
                </a:lnTo>
                <a:close/>
                <a:moveTo>
                  <a:pt x="492061" y="868223"/>
                </a:moveTo>
                <a:lnTo>
                  <a:pt x="508521" y="868223"/>
                </a:lnTo>
                <a:lnTo>
                  <a:pt x="508521" y="851764"/>
                </a:lnTo>
                <a:lnTo>
                  <a:pt x="524980" y="851764"/>
                </a:lnTo>
                <a:lnTo>
                  <a:pt x="524980" y="835304"/>
                </a:lnTo>
                <a:lnTo>
                  <a:pt x="508521" y="835304"/>
                </a:lnTo>
                <a:lnTo>
                  <a:pt x="508521" y="818845"/>
                </a:lnTo>
                <a:lnTo>
                  <a:pt x="492061" y="818845"/>
                </a:lnTo>
                <a:lnTo>
                  <a:pt x="492061" y="835304"/>
                </a:lnTo>
                <a:lnTo>
                  <a:pt x="475602" y="835304"/>
                </a:lnTo>
                <a:lnTo>
                  <a:pt x="475602" y="851764"/>
                </a:lnTo>
                <a:lnTo>
                  <a:pt x="492061" y="851764"/>
                </a:lnTo>
                <a:lnTo>
                  <a:pt x="492061" y="868223"/>
                </a:lnTo>
                <a:close/>
                <a:moveTo>
                  <a:pt x="1931899" y="183109"/>
                </a:moveTo>
                <a:lnTo>
                  <a:pt x="1949044" y="183109"/>
                </a:lnTo>
                <a:lnTo>
                  <a:pt x="1949044" y="166307"/>
                </a:lnTo>
                <a:lnTo>
                  <a:pt x="1965846" y="166307"/>
                </a:lnTo>
                <a:lnTo>
                  <a:pt x="1965846" y="149162"/>
                </a:lnTo>
                <a:lnTo>
                  <a:pt x="1949044" y="149162"/>
                </a:lnTo>
                <a:lnTo>
                  <a:pt x="1949044" y="132359"/>
                </a:lnTo>
                <a:lnTo>
                  <a:pt x="1931899" y="132359"/>
                </a:lnTo>
                <a:lnTo>
                  <a:pt x="1931899" y="149162"/>
                </a:lnTo>
                <a:lnTo>
                  <a:pt x="1915096" y="149162"/>
                </a:lnTo>
                <a:lnTo>
                  <a:pt x="1915096" y="166307"/>
                </a:lnTo>
                <a:lnTo>
                  <a:pt x="1931899" y="166307"/>
                </a:lnTo>
                <a:lnTo>
                  <a:pt x="1931899" y="183109"/>
                </a:lnTo>
                <a:close/>
                <a:moveTo>
                  <a:pt x="1999107" y="325069"/>
                </a:moveTo>
                <a:lnTo>
                  <a:pt x="2018995" y="325069"/>
                </a:lnTo>
                <a:lnTo>
                  <a:pt x="2018995" y="304838"/>
                </a:lnTo>
                <a:lnTo>
                  <a:pt x="2039227" y="304838"/>
                </a:lnTo>
                <a:lnTo>
                  <a:pt x="2039227" y="284950"/>
                </a:lnTo>
                <a:lnTo>
                  <a:pt x="2018995" y="284950"/>
                </a:lnTo>
                <a:lnTo>
                  <a:pt x="2018995" y="264719"/>
                </a:lnTo>
                <a:lnTo>
                  <a:pt x="1999107" y="264719"/>
                </a:lnTo>
                <a:lnTo>
                  <a:pt x="1999107" y="284950"/>
                </a:lnTo>
                <a:lnTo>
                  <a:pt x="1978876" y="284950"/>
                </a:lnTo>
                <a:lnTo>
                  <a:pt x="1978876" y="304838"/>
                </a:lnTo>
                <a:lnTo>
                  <a:pt x="1999107" y="304838"/>
                </a:lnTo>
                <a:lnTo>
                  <a:pt x="1999107" y="325069"/>
                </a:lnTo>
                <a:close/>
                <a:moveTo>
                  <a:pt x="2136267" y="324726"/>
                </a:moveTo>
                <a:lnTo>
                  <a:pt x="2156155" y="324726"/>
                </a:lnTo>
                <a:lnTo>
                  <a:pt x="2156155" y="304838"/>
                </a:lnTo>
                <a:lnTo>
                  <a:pt x="2176043" y="304838"/>
                </a:lnTo>
                <a:lnTo>
                  <a:pt x="2176043" y="284950"/>
                </a:lnTo>
                <a:lnTo>
                  <a:pt x="2156155" y="284950"/>
                </a:lnTo>
                <a:lnTo>
                  <a:pt x="2156155" y="265062"/>
                </a:lnTo>
                <a:lnTo>
                  <a:pt x="2136267" y="265062"/>
                </a:lnTo>
                <a:lnTo>
                  <a:pt x="2136267" y="284950"/>
                </a:lnTo>
                <a:lnTo>
                  <a:pt x="2116379" y="284950"/>
                </a:lnTo>
                <a:lnTo>
                  <a:pt x="2116379" y="304838"/>
                </a:lnTo>
                <a:lnTo>
                  <a:pt x="2136267" y="304838"/>
                </a:lnTo>
                <a:lnTo>
                  <a:pt x="2136267" y="324726"/>
                </a:lnTo>
                <a:close/>
                <a:moveTo>
                  <a:pt x="2065972" y="466687"/>
                </a:moveTo>
                <a:lnTo>
                  <a:pt x="2089290" y="466687"/>
                </a:lnTo>
                <a:lnTo>
                  <a:pt x="2089290" y="443713"/>
                </a:lnTo>
                <a:lnTo>
                  <a:pt x="2112264" y="443713"/>
                </a:lnTo>
                <a:lnTo>
                  <a:pt x="2112264" y="420395"/>
                </a:lnTo>
                <a:lnTo>
                  <a:pt x="2089290" y="420395"/>
                </a:lnTo>
                <a:lnTo>
                  <a:pt x="2089290" y="397421"/>
                </a:lnTo>
                <a:lnTo>
                  <a:pt x="2065972" y="397421"/>
                </a:lnTo>
                <a:lnTo>
                  <a:pt x="2065972" y="420395"/>
                </a:lnTo>
                <a:lnTo>
                  <a:pt x="2042998" y="420395"/>
                </a:lnTo>
                <a:lnTo>
                  <a:pt x="2042998" y="443713"/>
                </a:lnTo>
                <a:lnTo>
                  <a:pt x="2065972" y="443713"/>
                </a:lnTo>
                <a:lnTo>
                  <a:pt x="2065972" y="466687"/>
                </a:lnTo>
                <a:close/>
                <a:moveTo>
                  <a:pt x="2069059" y="183109"/>
                </a:moveTo>
                <a:lnTo>
                  <a:pt x="2086204" y="183109"/>
                </a:lnTo>
                <a:lnTo>
                  <a:pt x="2086204" y="166307"/>
                </a:lnTo>
                <a:lnTo>
                  <a:pt x="2103006" y="166307"/>
                </a:lnTo>
                <a:lnTo>
                  <a:pt x="2103006" y="149162"/>
                </a:lnTo>
                <a:lnTo>
                  <a:pt x="2086204" y="149162"/>
                </a:lnTo>
                <a:lnTo>
                  <a:pt x="2086204" y="132359"/>
                </a:lnTo>
                <a:lnTo>
                  <a:pt x="2069059" y="132359"/>
                </a:lnTo>
                <a:lnTo>
                  <a:pt x="2069059" y="149162"/>
                </a:lnTo>
                <a:lnTo>
                  <a:pt x="2052256" y="149162"/>
                </a:lnTo>
                <a:lnTo>
                  <a:pt x="2052256" y="166307"/>
                </a:lnTo>
                <a:lnTo>
                  <a:pt x="2069059" y="166307"/>
                </a:lnTo>
                <a:lnTo>
                  <a:pt x="2069059" y="183109"/>
                </a:lnTo>
                <a:close/>
                <a:moveTo>
                  <a:pt x="1791652" y="467030"/>
                </a:moveTo>
                <a:lnTo>
                  <a:pt x="1814970" y="467030"/>
                </a:lnTo>
                <a:lnTo>
                  <a:pt x="1814970" y="443713"/>
                </a:lnTo>
                <a:lnTo>
                  <a:pt x="1838287" y="443713"/>
                </a:lnTo>
                <a:lnTo>
                  <a:pt x="1838287" y="420395"/>
                </a:lnTo>
                <a:lnTo>
                  <a:pt x="1814970" y="420395"/>
                </a:lnTo>
                <a:lnTo>
                  <a:pt x="1814970" y="397078"/>
                </a:lnTo>
                <a:lnTo>
                  <a:pt x="1791652" y="397078"/>
                </a:lnTo>
                <a:lnTo>
                  <a:pt x="1791652" y="420395"/>
                </a:lnTo>
                <a:lnTo>
                  <a:pt x="1768335" y="420395"/>
                </a:lnTo>
                <a:lnTo>
                  <a:pt x="1768335" y="443713"/>
                </a:lnTo>
                <a:lnTo>
                  <a:pt x="1791652" y="443713"/>
                </a:lnTo>
                <a:lnTo>
                  <a:pt x="1791652" y="467030"/>
                </a:lnTo>
                <a:close/>
                <a:moveTo>
                  <a:pt x="1794739" y="183109"/>
                </a:moveTo>
                <a:lnTo>
                  <a:pt x="1811884" y="183109"/>
                </a:lnTo>
                <a:lnTo>
                  <a:pt x="1811884" y="166307"/>
                </a:lnTo>
                <a:lnTo>
                  <a:pt x="1828686" y="166307"/>
                </a:lnTo>
                <a:lnTo>
                  <a:pt x="1828686" y="149162"/>
                </a:lnTo>
                <a:lnTo>
                  <a:pt x="1811884" y="149162"/>
                </a:lnTo>
                <a:lnTo>
                  <a:pt x="1811884" y="132359"/>
                </a:lnTo>
                <a:lnTo>
                  <a:pt x="1794739" y="132359"/>
                </a:lnTo>
                <a:lnTo>
                  <a:pt x="1794739" y="149162"/>
                </a:lnTo>
                <a:lnTo>
                  <a:pt x="1777936" y="149162"/>
                </a:lnTo>
                <a:lnTo>
                  <a:pt x="1777936" y="166307"/>
                </a:lnTo>
                <a:lnTo>
                  <a:pt x="1794739" y="166307"/>
                </a:lnTo>
                <a:lnTo>
                  <a:pt x="1794739" y="183109"/>
                </a:lnTo>
                <a:close/>
                <a:moveTo>
                  <a:pt x="1928812" y="467030"/>
                </a:moveTo>
                <a:lnTo>
                  <a:pt x="1952130" y="467030"/>
                </a:lnTo>
                <a:lnTo>
                  <a:pt x="1952130" y="443713"/>
                </a:lnTo>
                <a:lnTo>
                  <a:pt x="1975447" y="443713"/>
                </a:lnTo>
                <a:lnTo>
                  <a:pt x="1975447" y="420395"/>
                </a:lnTo>
                <a:lnTo>
                  <a:pt x="1952130" y="420395"/>
                </a:lnTo>
                <a:lnTo>
                  <a:pt x="1952130" y="397078"/>
                </a:lnTo>
                <a:lnTo>
                  <a:pt x="1928812" y="397078"/>
                </a:lnTo>
                <a:lnTo>
                  <a:pt x="1928812" y="420395"/>
                </a:lnTo>
                <a:lnTo>
                  <a:pt x="1905495" y="420395"/>
                </a:lnTo>
                <a:lnTo>
                  <a:pt x="1905495" y="443713"/>
                </a:lnTo>
                <a:lnTo>
                  <a:pt x="1928812" y="443713"/>
                </a:lnTo>
                <a:lnTo>
                  <a:pt x="1928812" y="467030"/>
                </a:lnTo>
                <a:close/>
                <a:moveTo>
                  <a:pt x="1861604" y="325412"/>
                </a:moveTo>
                <a:lnTo>
                  <a:pt x="1882178" y="325412"/>
                </a:lnTo>
                <a:lnTo>
                  <a:pt x="1882178" y="305181"/>
                </a:lnTo>
                <a:lnTo>
                  <a:pt x="1902409" y="305181"/>
                </a:lnTo>
                <a:lnTo>
                  <a:pt x="1902409" y="284607"/>
                </a:lnTo>
                <a:lnTo>
                  <a:pt x="1882178" y="284607"/>
                </a:lnTo>
                <a:lnTo>
                  <a:pt x="1882178" y="264376"/>
                </a:lnTo>
                <a:lnTo>
                  <a:pt x="1861604" y="264376"/>
                </a:lnTo>
                <a:lnTo>
                  <a:pt x="1861604" y="284607"/>
                </a:lnTo>
                <a:lnTo>
                  <a:pt x="1841373" y="284607"/>
                </a:lnTo>
                <a:lnTo>
                  <a:pt x="1841373" y="305181"/>
                </a:lnTo>
                <a:lnTo>
                  <a:pt x="1861604" y="305181"/>
                </a:lnTo>
                <a:lnTo>
                  <a:pt x="1861604" y="325412"/>
                </a:lnTo>
                <a:close/>
                <a:moveTo>
                  <a:pt x="1865033" y="40805"/>
                </a:moveTo>
                <a:lnTo>
                  <a:pt x="1878749" y="40805"/>
                </a:lnTo>
                <a:lnTo>
                  <a:pt x="1878749" y="27432"/>
                </a:lnTo>
                <a:lnTo>
                  <a:pt x="1892122" y="27432"/>
                </a:lnTo>
                <a:lnTo>
                  <a:pt x="1892122" y="13716"/>
                </a:lnTo>
                <a:lnTo>
                  <a:pt x="1878749" y="13716"/>
                </a:lnTo>
                <a:lnTo>
                  <a:pt x="1878749" y="343"/>
                </a:lnTo>
                <a:lnTo>
                  <a:pt x="1865033" y="343"/>
                </a:lnTo>
                <a:lnTo>
                  <a:pt x="1865033" y="13716"/>
                </a:lnTo>
                <a:lnTo>
                  <a:pt x="1851660" y="13716"/>
                </a:lnTo>
                <a:lnTo>
                  <a:pt x="1851660" y="27432"/>
                </a:lnTo>
                <a:lnTo>
                  <a:pt x="1865033" y="27432"/>
                </a:lnTo>
                <a:lnTo>
                  <a:pt x="1865033" y="40805"/>
                </a:lnTo>
                <a:close/>
                <a:moveTo>
                  <a:pt x="2002193" y="41148"/>
                </a:moveTo>
                <a:lnTo>
                  <a:pt x="2015909" y="41148"/>
                </a:lnTo>
                <a:lnTo>
                  <a:pt x="2015909" y="27432"/>
                </a:lnTo>
                <a:lnTo>
                  <a:pt x="2029625" y="27432"/>
                </a:lnTo>
                <a:lnTo>
                  <a:pt x="2029625" y="13716"/>
                </a:lnTo>
                <a:lnTo>
                  <a:pt x="2015909" y="13716"/>
                </a:lnTo>
                <a:lnTo>
                  <a:pt x="2015909" y="0"/>
                </a:lnTo>
                <a:lnTo>
                  <a:pt x="2002193" y="0"/>
                </a:lnTo>
                <a:lnTo>
                  <a:pt x="2002193" y="13716"/>
                </a:lnTo>
                <a:lnTo>
                  <a:pt x="1988477" y="13716"/>
                </a:lnTo>
                <a:lnTo>
                  <a:pt x="1988477" y="27432"/>
                </a:lnTo>
                <a:lnTo>
                  <a:pt x="2002193" y="27432"/>
                </a:lnTo>
                <a:lnTo>
                  <a:pt x="2002193" y="41148"/>
                </a:lnTo>
                <a:close/>
                <a:moveTo>
                  <a:pt x="2344064" y="181394"/>
                </a:moveTo>
                <a:lnTo>
                  <a:pt x="2359838" y="181394"/>
                </a:lnTo>
                <a:lnTo>
                  <a:pt x="2359838" y="165621"/>
                </a:lnTo>
                <a:lnTo>
                  <a:pt x="2375611" y="165621"/>
                </a:lnTo>
                <a:lnTo>
                  <a:pt x="2375611" y="149847"/>
                </a:lnTo>
                <a:lnTo>
                  <a:pt x="2359838" y="149847"/>
                </a:lnTo>
                <a:lnTo>
                  <a:pt x="2359838" y="134074"/>
                </a:lnTo>
                <a:lnTo>
                  <a:pt x="2344064" y="134074"/>
                </a:lnTo>
                <a:lnTo>
                  <a:pt x="2344064" y="149847"/>
                </a:lnTo>
                <a:lnTo>
                  <a:pt x="2328291" y="149847"/>
                </a:lnTo>
                <a:lnTo>
                  <a:pt x="2328291" y="165621"/>
                </a:lnTo>
                <a:lnTo>
                  <a:pt x="2344064" y="165621"/>
                </a:lnTo>
                <a:lnTo>
                  <a:pt x="2344064" y="181394"/>
                </a:lnTo>
                <a:close/>
                <a:moveTo>
                  <a:pt x="1108253" y="459829"/>
                </a:moveTo>
                <a:lnTo>
                  <a:pt x="1126769" y="459829"/>
                </a:lnTo>
                <a:lnTo>
                  <a:pt x="1126769" y="441312"/>
                </a:lnTo>
                <a:lnTo>
                  <a:pt x="1145286" y="441312"/>
                </a:lnTo>
                <a:lnTo>
                  <a:pt x="1145286" y="422796"/>
                </a:lnTo>
                <a:lnTo>
                  <a:pt x="1126769" y="422796"/>
                </a:lnTo>
                <a:lnTo>
                  <a:pt x="1126769" y="404279"/>
                </a:lnTo>
                <a:lnTo>
                  <a:pt x="1108253" y="404279"/>
                </a:lnTo>
                <a:lnTo>
                  <a:pt x="1108253" y="422796"/>
                </a:lnTo>
                <a:lnTo>
                  <a:pt x="1089736" y="422796"/>
                </a:lnTo>
                <a:lnTo>
                  <a:pt x="1089736" y="441312"/>
                </a:lnTo>
                <a:lnTo>
                  <a:pt x="1108253" y="441312"/>
                </a:lnTo>
                <a:lnTo>
                  <a:pt x="1108253" y="459829"/>
                </a:lnTo>
                <a:close/>
                <a:moveTo>
                  <a:pt x="2414359" y="38748"/>
                </a:moveTo>
                <a:lnTo>
                  <a:pt x="2426704" y="38748"/>
                </a:lnTo>
                <a:lnTo>
                  <a:pt x="2426704" y="26746"/>
                </a:lnTo>
                <a:lnTo>
                  <a:pt x="2438705" y="26746"/>
                </a:lnTo>
                <a:lnTo>
                  <a:pt x="2438705" y="14402"/>
                </a:lnTo>
                <a:lnTo>
                  <a:pt x="2426704" y="14402"/>
                </a:lnTo>
                <a:lnTo>
                  <a:pt x="2426704" y="2400"/>
                </a:lnTo>
                <a:lnTo>
                  <a:pt x="2414359" y="2400"/>
                </a:lnTo>
                <a:lnTo>
                  <a:pt x="2414359" y="14402"/>
                </a:lnTo>
                <a:lnTo>
                  <a:pt x="2402357" y="14402"/>
                </a:lnTo>
                <a:lnTo>
                  <a:pt x="2402357" y="26746"/>
                </a:lnTo>
                <a:lnTo>
                  <a:pt x="2414359" y="26746"/>
                </a:lnTo>
                <a:lnTo>
                  <a:pt x="2414359" y="38748"/>
                </a:lnTo>
                <a:close/>
                <a:moveTo>
                  <a:pt x="2340979" y="465315"/>
                </a:moveTo>
                <a:lnTo>
                  <a:pt x="2362924" y="465315"/>
                </a:lnTo>
                <a:lnTo>
                  <a:pt x="2362924" y="443027"/>
                </a:lnTo>
                <a:lnTo>
                  <a:pt x="2385212" y="443027"/>
                </a:lnTo>
                <a:lnTo>
                  <a:pt x="2385212" y="421081"/>
                </a:lnTo>
                <a:lnTo>
                  <a:pt x="2362924" y="421081"/>
                </a:lnTo>
                <a:lnTo>
                  <a:pt x="2362924" y="398793"/>
                </a:lnTo>
                <a:lnTo>
                  <a:pt x="2340979" y="398793"/>
                </a:lnTo>
                <a:lnTo>
                  <a:pt x="2340979" y="421081"/>
                </a:lnTo>
                <a:lnTo>
                  <a:pt x="2318690" y="421081"/>
                </a:lnTo>
                <a:lnTo>
                  <a:pt x="2318690" y="443027"/>
                </a:lnTo>
                <a:lnTo>
                  <a:pt x="2340979" y="443027"/>
                </a:lnTo>
                <a:lnTo>
                  <a:pt x="2340979" y="465315"/>
                </a:lnTo>
                <a:close/>
                <a:moveTo>
                  <a:pt x="2203475" y="466344"/>
                </a:moveTo>
                <a:lnTo>
                  <a:pt x="2226107" y="466344"/>
                </a:lnTo>
                <a:lnTo>
                  <a:pt x="2226107" y="443370"/>
                </a:lnTo>
                <a:lnTo>
                  <a:pt x="2249081" y="443370"/>
                </a:lnTo>
                <a:lnTo>
                  <a:pt x="2249081" y="420738"/>
                </a:lnTo>
                <a:lnTo>
                  <a:pt x="2226107" y="420738"/>
                </a:lnTo>
                <a:lnTo>
                  <a:pt x="2226107" y="397764"/>
                </a:lnTo>
                <a:lnTo>
                  <a:pt x="2203475" y="397764"/>
                </a:lnTo>
                <a:lnTo>
                  <a:pt x="2203475" y="420738"/>
                </a:lnTo>
                <a:lnTo>
                  <a:pt x="2180501" y="420738"/>
                </a:lnTo>
                <a:lnTo>
                  <a:pt x="2180501" y="443370"/>
                </a:lnTo>
                <a:lnTo>
                  <a:pt x="2203475" y="443370"/>
                </a:lnTo>
                <a:lnTo>
                  <a:pt x="2203475" y="466344"/>
                </a:lnTo>
                <a:close/>
                <a:moveTo>
                  <a:pt x="2139353" y="40805"/>
                </a:moveTo>
                <a:lnTo>
                  <a:pt x="2153069" y="40805"/>
                </a:lnTo>
                <a:lnTo>
                  <a:pt x="2153069" y="27432"/>
                </a:lnTo>
                <a:lnTo>
                  <a:pt x="2166442" y="27432"/>
                </a:lnTo>
                <a:lnTo>
                  <a:pt x="2166442" y="13716"/>
                </a:lnTo>
                <a:lnTo>
                  <a:pt x="2153069" y="13716"/>
                </a:lnTo>
                <a:lnTo>
                  <a:pt x="2153069" y="343"/>
                </a:lnTo>
                <a:lnTo>
                  <a:pt x="2139353" y="343"/>
                </a:lnTo>
                <a:lnTo>
                  <a:pt x="2139353" y="13716"/>
                </a:lnTo>
                <a:lnTo>
                  <a:pt x="2125980" y="13716"/>
                </a:lnTo>
                <a:lnTo>
                  <a:pt x="2125980" y="27432"/>
                </a:lnTo>
                <a:lnTo>
                  <a:pt x="2139353" y="27432"/>
                </a:lnTo>
                <a:lnTo>
                  <a:pt x="2139353" y="40805"/>
                </a:lnTo>
                <a:close/>
                <a:moveTo>
                  <a:pt x="2206562" y="182423"/>
                </a:moveTo>
                <a:lnTo>
                  <a:pt x="2223021" y="182423"/>
                </a:lnTo>
                <a:lnTo>
                  <a:pt x="2223021" y="165964"/>
                </a:lnTo>
                <a:lnTo>
                  <a:pt x="2239480" y="165964"/>
                </a:lnTo>
                <a:lnTo>
                  <a:pt x="2239480" y="149504"/>
                </a:lnTo>
                <a:lnTo>
                  <a:pt x="2223021" y="149504"/>
                </a:lnTo>
                <a:lnTo>
                  <a:pt x="2223021" y="133045"/>
                </a:lnTo>
                <a:lnTo>
                  <a:pt x="2206562" y="133045"/>
                </a:lnTo>
                <a:lnTo>
                  <a:pt x="2206562" y="149504"/>
                </a:lnTo>
                <a:lnTo>
                  <a:pt x="2190103" y="149504"/>
                </a:lnTo>
                <a:lnTo>
                  <a:pt x="2190103" y="165964"/>
                </a:lnTo>
                <a:lnTo>
                  <a:pt x="2206562" y="165964"/>
                </a:lnTo>
                <a:lnTo>
                  <a:pt x="2206562" y="182423"/>
                </a:lnTo>
                <a:close/>
                <a:moveTo>
                  <a:pt x="2273770" y="324041"/>
                </a:moveTo>
                <a:lnTo>
                  <a:pt x="2292973" y="324041"/>
                </a:lnTo>
                <a:lnTo>
                  <a:pt x="2292973" y="304495"/>
                </a:lnTo>
                <a:lnTo>
                  <a:pt x="2312518" y="304495"/>
                </a:lnTo>
                <a:lnTo>
                  <a:pt x="2312518" y="285293"/>
                </a:lnTo>
                <a:lnTo>
                  <a:pt x="2292973" y="285293"/>
                </a:lnTo>
                <a:lnTo>
                  <a:pt x="2292973" y="265748"/>
                </a:lnTo>
                <a:lnTo>
                  <a:pt x="2273770" y="265748"/>
                </a:lnTo>
                <a:lnTo>
                  <a:pt x="2273770" y="285293"/>
                </a:lnTo>
                <a:lnTo>
                  <a:pt x="2254225" y="285293"/>
                </a:lnTo>
                <a:lnTo>
                  <a:pt x="2254225" y="304495"/>
                </a:lnTo>
                <a:lnTo>
                  <a:pt x="2273770" y="304495"/>
                </a:lnTo>
                <a:lnTo>
                  <a:pt x="2273770" y="324041"/>
                </a:lnTo>
                <a:close/>
                <a:moveTo>
                  <a:pt x="2276856" y="39776"/>
                </a:moveTo>
                <a:lnTo>
                  <a:pt x="2289886" y="39776"/>
                </a:lnTo>
                <a:lnTo>
                  <a:pt x="2289886" y="27089"/>
                </a:lnTo>
                <a:lnTo>
                  <a:pt x="2302574" y="27089"/>
                </a:lnTo>
                <a:lnTo>
                  <a:pt x="2302574" y="14059"/>
                </a:lnTo>
                <a:lnTo>
                  <a:pt x="2289886" y="14059"/>
                </a:lnTo>
                <a:lnTo>
                  <a:pt x="2289886" y="1372"/>
                </a:lnTo>
                <a:lnTo>
                  <a:pt x="2276856" y="1372"/>
                </a:lnTo>
                <a:lnTo>
                  <a:pt x="2276856" y="14059"/>
                </a:lnTo>
                <a:lnTo>
                  <a:pt x="2264169" y="14059"/>
                </a:lnTo>
                <a:lnTo>
                  <a:pt x="2264169" y="27089"/>
                </a:lnTo>
                <a:lnTo>
                  <a:pt x="2276856" y="27089"/>
                </a:lnTo>
                <a:lnTo>
                  <a:pt x="2276856" y="39776"/>
                </a:lnTo>
                <a:close/>
                <a:moveTo>
                  <a:pt x="2411273" y="323012"/>
                </a:moveTo>
                <a:lnTo>
                  <a:pt x="2429789" y="323012"/>
                </a:lnTo>
                <a:lnTo>
                  <a:pt x="2429789" y="304152"/>
                </a:lnTo>
                <a:lnTo>
                  <a:pt x="2448649" y="304152"/>
                </a:lnTo>
                <a:lnTo>
                  <a:pt x="2448649" y="285636"/>
                </a:lnTo>
                <a:lnTo>
                  <a:pt x="2429789" y="285636"/>
                </a:lnTo>
                <a:lnTo>
                  <a:pt x="2429789" y="266776"/>
                </a:lnTo>
                <a:lnTo>
                  <a:pt x="2411273" y="266776"/>
                </a:lnTo>
                <a:lnTo>
                  <a:pt x="2411273" y="285636"/>
                </a:lnTo>
                <a:lnTo>
                  <a:pt x="2392414" y="285636"/>
                </a:lnTo>
                <a:lnTo>
                  <a:pt x="2392414" y="304152"/>
                </a:lnTo>
                <a:lnTo>
                  <a:pt x="2411273" y="304152"/>
                </a:lnTo>
                <a:lnTo>
                  <a:pt x="2411273" y="323012"/>
                </a:lnTo>
                <a:close/>
                <a:moveTo>
                  <a:pt x="1314336" y="321297"/>
                </a:moveTo>
                <a:lnTo>
                  <a:pt x="1332166" y="321297"/>
                </a:lnTo>
                <a:lnTo>
                  <a:pt x="1332166" y="303809"/>
                </a:lnTo>
                <a:lnTo>
                  <a:pt x="1349654" y="303809"/>
                </a:lnTo>
                <a:lnTo>
                  <a:pt x="1349654" y="285979"/>
                </a:lnTo>
                <a:lnTo>
                  <a:pt x="1332166" y="285979"/>
                </a:lnTo>
                <a:lnTo>
                  <a:pt x="1332166" y="268491"/>
                </a:lnTo>
                <a:lnTo>
                  <a:pt x="1314336" y="268491"/>
                </a:lnTo>
                <a:lnTo>
                  <a:pt x="1314336" y="285979"/>
                </a:lnTo>
                <a:lnTo>
                  <a:pt x="1296848" y="285979"/>
                </a:lnTo>
                <a:lnTo>
                  <a:pt x="1296848" y="303809"/>
                </a:lnTo>
                <a:lnTo>
                  <a:pt x="1314336" y="303809"/>
                </a:lnTo>
                <a:lnTo>
                  <a:pt x="1314336" y="321297"/>
                </a:lnTo>
                <a:close/>
                <a:moveTo>
                  <a:pt x="1247813" y="178651"/>
                </a:moveTo>
                <a:lnTo>
                  <a:pt x="1261529" y="178651"/>
                </a:lnTo>
                <a:lnTo>
                  <a:pt x="1261529" y="164592"/>
                </a:lnTo>
                <a:lnTo>
                  <a:pt x="1275588" y="164592"/>
                </a:lnTo>
                <a:lnTo>
                  <a:pt x="1275588" y="150876"/>
                </a:lnTo>
                <a:lnTo>
                  <a:pt x="1261529" y="150876"/>
                </a:lnTo>
                <a:lnTo>
                  <a:pt x="1261529" y="136817"/>
                </a:lnTo>
                <a:lnTo>
                  <a:pt x="1247813" y="136817"/>
                </a:lnTo>
                <a:lnTo>
                  <a:pt x="1247813" y="150876"/>
                </a:lnTo>
                <a:lnTo>
                  <a:pt x="1233754" y="150876"/>
                </a:lnTo>
                <a:lnTo>
                  <a:pt x="1233754" y="164592"/>
                </a:lnTo>
                <a:lnTo>
                  <a:pt x="1247813" y="164592"/>
                </a:lnTo>
                <a:lnTo>
                  <a:pt x="1247813" y="178651"/>
                </a:lnTo>
                <a:close/>
                <a:moveTo>
                  <a:pt x="1311592" y="604190"/>
                </a:moveTo>
                <a:lnTo>
                  <a:pt x="1334910" y="604190"/>
                </a:lnTo>
                <a:lnTo>
                  <a:pt x="1334910" y="580873"/>
                </a:lnTo>
                <a:lnTo>
                  <a:pt x="1358227" y="580873"/>
                </a:lnTo>
                <a:lnTo>
                  <a:pt x="1358227" y="557555"/>
                </a:lnTo>
                <a:lnTo>
                  <a:pt x="1334910" y="557555"/>
                </a:lnTo>
                <a:lnTo>
                  <a:pt x="1334910" y="534238"/>
                </a:lnTo>
                <a:lnTo>
                  <a:pt x="1311592" y="534238"/>
                </a:lnTo>
                <a:lnTo>
                  <a:pt x="1311592" y="557555"/>
                </a:lnTo>
                <a:lnTo>
                  <a:pt x="1288275" y="557555"/>
                </a:lnTo>
                <a:lnTo>
                  <a:pt x="1288275" y="580873"/>
                </a:lnTo>
                <a:lnTo>
                  <a:pt x="1311592" y="580873"/>
                </a:lnTo>
                <a:lnTo>
                  <a:pt x="1311592" y="604190"/>
                </a:lnTo>
                <a:close/>
                <a:moveTo>
                  <a:pt x="1381201" y="463944"/>
                </a:moveTo>
                <a:lnTo>
                  <a:pt x="1402461" y="463944"/>
                </a:lnTo>
                <a:lnTo>
                  <a:pt x="1402461" y="442684"/>
                </a:lnTo>
                <a:lnTo>
                  <a:pt x="1423721" y="442684"/>
                </a:lnTo>
                <a:lnTo>
                  <a:pt x="1423721" y="421424"/>
                </a:lnTo>
                <a:lnTo>
                  <a:pt x="1402461" y="421424"/>
                </a:lnTo>
                <a:lnTo>
                  <a:pt x="1402461" y="400164"/>
                </a:lnTo>
                <a:lnTo>
                  <a:pt x="1381201" y="400164"/>
                </a:lnTo>
                <a:lnTo>
                  <a:pt x="1381201" y="421424"/>
                </a:lnTo>
                <a:lnTo>
                  <a:pt x="1359941" y="421424"/>
                </a:lnTo>
                <a:lnTo>
                  <a:pt x="1359941" y="442684"/>
                </a:lnTo>
                <a:lnTo>
                  <a:pt x="1381201" y="442684"/>
                </a:lnTo>
                <a:lnTo>
                  <a:pt x="1381201" y="463944"/>
                </a:lnTo>
                <a:close/>
                <a:moveTo>
                  <a:pt x="1244727" y="461886"/>
                </a:moveTo>
                <a:lnTo>
                  <a:pt x="1264615" y="461886"/>
                </a:lnTo>
                <a:lnTo>
                  <a:pt x="1264615" y="441998"/>
                </a:lnTo>
                <a:lnTo>
                  <a:pt x="1284503" y="441998"/>
                </a:lnTo>
                <a:lnTo>
                  <a:pt x="1284503" y="422110"/>
                </a:lnTo>
                <a:lnTo>
                  <a:pt x="1264615" y="422110"/>
                </a:lnTo>
                <a:lnTo>
                  <a:pt x="1264615" y="402222"/>
                </a:lnTo>
                <a:lnTo>
                  <a:pt x="1244727" y="402222"/>
                </a:lnTo>
                <a:lnTo>
                  <a:pt x="1244727" y="422110"/>
                </a:lnTo>
                <a:lnTo>
                  <a:pt x="1224839" y="422110"/>
                </a:lnTo>
                <a:lnTo>
                  <a:pt x="1224839" y="441998"/>
                </a:lnTo>
                <a:lnTo>
                  <a:pt x="1244727" y="441998"/>
                </a:lnTo>
                <a:lnTo>
                  <a:pt x="1244727" y="461886"/>
                </a:lnTo>
                <a:close/>
                <a:moveTo>
                  <a:pt x="1384287" y="180365"/>
                </a:moveTo>
                <a:lnTo>
                  <a:pt x="1399375" y="180365"/>
                </a:lnTo>
                <a:lnTo>
                  <a:pt x="1399375" y="165278"/>
                </a:lnTo>
                <a:lnTo>
                  <a:pt x="1414462" y="165278"/>
                </a:lnTo>
                <a:lnTo>
                  <a:pt x="1414462" y="150190"/>
                </a:lnTo>
                <a:lnTo>
                  <a:pt x="1399375" y="150190"/>
                </a:lnTo>
                <a:lnTo>
                  <a:pt x="1399375" y="135103"/>
                </a:lnTo>
                <a:lnTo>
                  <a:pt x="1384287" y="135103"/>
                </a:lnTo>
                <a:lnTo>
                  <a:pt x="1384287" y="150190"/>
                </a:lnTo>
                <a:lnTo>
                  <a:pt x="1369200" y="150190"/>
                </a:lnTo>
                <a:lnTo>
                  <a:pt x="1369200" y="165278"/>
                </a:lnTo>
                <a:lnTo>
                  <a:pt x="1384287" y="165278"/>
                </a:lnTo>
                <a:lnTo>
                  <a:pt x="1384287" y="180365"/>
                </a:lnTo>
                <a:close/>
                <a:moveTo>
                  <a:pt x="1111339" y="176594"/>
                </a:moveTo>
                <a:lnTo>
                  <a:pt x="1123683" y="176594"/>
                </a:lnTo>
                <a:lnTo>
                  <a:pt x="1123683" y="163906"/>
                </a:lnTo>
                <a:lnTo>
                  <a:pt x="1136371" y="163906"/>
                </a:lnTo>
                <a:lnTo>
                  <a:pt x="1136371" y="151562"/>
                </a:lnTo>
                <a:lnTo>
                  <a:pt x="1123683" y="151562"/>
                </a:lnTo>
                <a:lnTo>
                  <a:pt x="1123683" y="138875"/>
                </a:lnTo>
                <a:lnTo>
                  <a:pt x="1111339" y="138875"/>
                </a:lnTo>
                <a:lnTo>
                  <a:pt x="1111339" y="151562"/>
                </a:lnTo>
                <a:lnTo>
                  <a:pt x="1098652" y="151562"/>
                </a:lnTo>
                <a:lnTo>
                  <a:pt x="1098652" y="163906"/>
                </a:lnTo>
                <a:lnTo>
                  <a:pt x="1111339" y="163906"/>
                </a:lnTo>
                <a:lnTo>
                  <a:pt x="1111339" y="176594"/>
                </a:lnTo>
                <a:close/>
                <a:moveTo>
                  <a:pt x="1175118" y="602475"/>
                </a:moveTo>
                <a:lnTo>
                  <a:pt x="1197064" y="602475"/>
                </a:lnTo>
                <a:lnTo>
                  <a:pt x="1197064" y="580187"/>
                </a:lnTo>
                <a:lnTo>
                  <a:pt x="1219352" y="580187"/>
                </a:lnTo>
                <a:lnTo>
                  <a:pt x="1219352" y="558241"/>
                </a:lnTo>
                <a:lnTo>
                  <a:pt x="1197064" y="558241"/>
                </a:lnTo>
                <a:lnTo>
                  <a:pt x="1197064" y="535953"/>
                </a:lnTo>
                <a:lnTo>
                  <a:pt x="1175118" y="535953"/>
                </a:lnTo>
                <a:lnTo>
                  <a:pt x="1175118" y="558241"/>
                </a:lnTo>
                <a:lnTo>
                  <a:pt x="1152830" y="558241"/>
                </a:lnTo>
                <a:lnTo>
                  <a:pt x="1152830" y="580187"/>
                </a:lnTo>
                <a:lnTo>
                  <a:pt x="1175118" y="580187"/>
                </a:lnTo>
                <a:lnTo>
                  <a:pt x="1175118" y="602475"/>
                </a:lnTo>
                <a:close/>
                <a:moveTo>
                  <a:pt x="1177861" y="319240"/>
                </a:moveTo>
                <a:lnTo>
                  <a:pt x="1194321" y="319240"/>
                </a:lnTo>
                <a:lnTo>
                  <a:pt x="1194321" y="303124"/>
                </a:lnTo>
                <a:lnTo>
                  <a:pt x="1210437" y="303124"/>
                </a:lnTo>
                <a:lnTo>
                  <a:pt x="1210437" y="286664"/>
                </a:lnTo>
                <a:lnTo>
                  <a:pt x="1194321" y="286664"/>
                </a:lnTo>
                <a:lnTo>
                  <a:pt x="1194321" y="270548"/>
                </a:lnTo>
                <a:lnTo>
                  <a:pt x="1177861" y="270548"/>
                </a:lnTo>
                <a:lnTo>
                  <a:pt x="1177861" y="286664"/>
                </a:lnTo>
                <a:lnTo>
                  <a:pt x="1161745" y="286664"/>
                </a:lnTo>
                <a:lnTo>
                  <a:pt x="1161745" y="303124"/>
                </a:lnTo>
                <a:lnTo>
                  <a:pt x="1177861" y="303124"/>
                </a:lnTo>
                <a:lnTo>
                  <a:pt x="1177861" y="319240"/>
                </a:lnTo>
                <a:close/>
                <a:moveTo>
                  <a:pt x="1657921" y="182423"/>
                </a:moveTo>
                <a:lnTo>
                  <a:pt x="1674381" y="182423"/>
                </a:lnTo>
                <a:lnTo>
                  <a:pt x="1674381" y="165964"/>
                </a:lnTo>
                <a:lnTo>
                  <a:pt x="1690840" y="165964"/>
                </a:lnTo>
                <a:lnTo>
                  <a:pt x="1690840" y="149504"/>
                </a:lnTo>
                <a:lnTo>
                  <a:pt x="1674381" y="149504"/>
                </a:lnTo>
                <a:lnTo>
                  <a:pt x="1674381" y="133045"/>
                </a:lnTo>
                <a:lnTo>
                  <a:pt x="1657921" y="133045"/>
                </a:lnTo>
                <a:lnTo>
                  <a:pt x="1657921" y="149504"/>
                </a:lnTo>
                <a:lnTo>
                  <a:pt x="1641462" y="149504"/>
                </a:lnTo>
                <a:lnTo>
                  <a:pt x="1641462" y="165964"/>
                </a:lnTo>
                <a:lnTo>
                  <a:pt x="1657921" y="165964"/>
                </a:lnTo>
                <a:lnTo>
                  <a:pt x="1657921" y="182423"/>
                </a:lnTo>
                <a:close/>
                <a:moveTo>
                  <a:pt x="1727873" y="40805"/>
                </a:moveTo>
                <a:lnTo>
                  <a:pt x="1741589" y="40805"/>
                </a:lnTo>
                <a:lnTo>
                  <a:pt x="1741589" y="27432"/>
                </a:lnTo>
                <a:lnTo>
                  <a:pt x="1754962" y="27432"/>
                </a:lnTo>
                <a:lnTo>
                  <a:pt x="1754962" y="13716"/>
                </a:lnTo>
                <a:lnTo>
                  <a:pt x="1741589" y="13716"/>
                </a:lnTo>
                <a:lnTo>
                  <a:pt x="1741589" y="343"/>
                </a:lnTo>
                <a:lnTo>
                  <a:pt x="1727873" y="343"/>
                </a:lnTo>
                <a:lnTo>
                  <a:pt x="1727873" y="13716"/>
                </a:lnTo>
                <a:lnTo>
                  <a:pt x="1714500" y="13716"/>
                </a:lnTo>
                <a:lnTo>
                  <a:pt x="1714500" y="27432"/>
                </a:lnTo>
                <a:lnTo>
                  <a:pt x="1727873" y="27432"/>
                </a:lnTo>
                <a:lnTo>
                  <a:pt x="1727873" y="40805"/>
                </a:lnTo>
                <a:close/>
                <a:moveTo>
                  <a:pt x="1654835" y="466001"/>
                </a:moveTo>
                <a:lnTo>
                  <a:pt x="1677467" y="466001"/>
                </a:lnTo>
                <a:lnTo>
                  <a:pt x="1677467" y="443370"/>
                </a:lnTo>
                <a:lnTo>
                  <a:pt x="1700098" y="443370"/>
                </a:lnTo>
                <a:lnTo>
                  <a:pt x="1700098" y="420738"/>
                </a:lnTo>
                <a:lnTo>
                  <a:pt x="1677467" y="420738"/>
                </a:lnTo>
                <a:lnTo>
                  <a:pt x="1677467" y="398107"/>
                </a:lnTo>
                <a:lnTo>
                  <a:pt x="1654835" y="398107"/>
                </a:lnTo>
                <a:lnTo>
                  <a:pt x="1654835" y="420738"/>
                </a:lnTo>
                <a:lnTo>
                  <a:pt x="1632204" y="420738"/>
                </a:lnTo>
                <a:lnTo>
                  <a:pt x="1632204" y="443370"/>
                </a:lnTo>
                <a:lnTo>
                  <a:pt x="1654835" y="443370"/>
                </a:lnTo>
                <a:lnTo>
                  <a:pt x="1654835" y="466001"/>
                </a:lnTo>
                <a:close/>
                <a:moveTo>
                  <a:pt x="1724787" y="325069"/>
                </a:moveTo>
                <a:lnTo>
                  <a:pt x="1744675" y="325069"/>
                </a:lnTo>
                <a:lnTo>
                  <a:pt x="1744675" y="304838"/>
                </a:lnTo>
                <a:lnTo>
                  <a:pt x="1764906" y="304838"/>
                </a:lnTo>
                <a:lnTo>
                  <a:pt x="1764906" y="284950"/>
                </a:lnTo>
                <a:lnTo>
                  <a:pt x="1744675" y="284950"/>
                </a:lnTo>
                <a:lnTo>
                  <a:pt x="1744675" y="264719"/>
                </a:lnTo>
                <a:lnTo>
                  <a:pt x="1724787" y="264719"/>
                </a:lnTo>
                <a:lnTo>
                  <a:pt x="1724787" y="284950"/>
                </a:lnTo>
                <a:lnTo>
                  <a:pt x="1704556" y="284950"/>
                </a:lnTo>
                <a:lnTo>
                  <a:pt x="1704556" y="304838"/>
                </a:lnTo>
                <a:lnTo>
                  <a:pt x="1724787" y="304838"/>
                </a:lnTo>
                <a:lnTo>
                  <a:pt x="1724787" y="325069"/>
                </a:lnTo>
                <a:close/>
                <a:moveTo>
                  <a:pt x="1591056" y="39776"/>
                </a:moveTo>
                <a:lnTo>
                  <a:pt x="1604086" y="39776"/>
                </a:lnTo>
                <a:lnTo>
                  <a:pt x="1604086" y="27089"/>
                </a:lnTo>
                <a:lnTo>
                  <a:pt x="1616773" y="27089"/>
                </a:lnTo>
                <a:lnTo>
                  <a:pt x="1616773" y="14059"/>
                </a:lnTo>
                <a:lnTo>
                  <a:pt x="1604086" y="14059"/>
                </a:lnTo>
                <a:lnTo>
                  <a:pt x="1604086" y="1372"/>
                </a:lnTo>
                <a:lnTo>
                  <a:pt x="1591056" y="1372"/>
                </a:lnTo>
                <a:lnTo>
                  <a:pt x="1591056" y="14059"/>
                </a:lnTo>
                <a:lnTo>
                  <a:pt x="1578369" y="14059"/>
                </a:lnTo>
                <a:lnTo>
                  <a:pt x="1578369" y="27089"/>
                </a:lnTo>
                <a:lnTo>
                  <a:pt x="1591056" y="27089"/>
                </a:lnTo>
                <a:lnTo>
                  <a:pt x="1591056" y="39776"/>
                </a:lnTo>
                <a:close/>
                <a:moveTo>
                  <a:pt x="1454239" y="39091"/>
                </a:moveTo>
                <a:lnTo>
                  <a:pt x="1466583" y="39091"/>
                </a:lnTo>
                <a:lnTo>
                  <a:pt x="1466583" y="26746"/>
                </a:lnTo>
                <a:lnTo>
                  <a:pt x="1478928" y="26746"/>
                </a:lnTo>
                <a:lnTo>
                  <a:pt x="1478928" y="14402"/>
                </a:lnTo>
                <a:lnTo>
                  <a:pt x="1466583" y="14402"/>
                </a:lnTo>
                <a:lnTo>
                  <a:pt x="1466583" y="2057"/>
                </a:lnTo>
                <a:lnTo>
                  <a:pt x="1454239" y="2057"/>
                </a:lnTo>
                <a:lnTo>
                  <a:pt x="1454239" y="14402"/>
                </a:lnTo>
                <a:lnTo>
                  <a:pt x="1441894" y="14402"/>
                </a:lnTo>
                <a:lnTo>
                  <a:pt x="1441894" y="26746"/>
                </a:lnTo>
                <a:lnTo>
                  <a:pt x="1454239" y="26746"/>
                </a:lnTo>
                <a:lnTo>
                  <a:pt x="1454239" y="39091"/>
                </a:lnTo>
                <a:close/>
                <a:moveTo>
                  <a:pt x="1518018" y="464972"/>
                </a:moveTo>
                <a:lnTo>
                  <a:pt x="1539964" y="464972"/>
                </a:lnTo>
                <a:lnTo>
                  <a:pt x="1539964" y="443027"/>
                </a:lnTo>
                <a:lnTo>
                  <a:pt x="1561909" y="443027"/>
                </a:lnTo>
                <a:lnTo>
                  <a:pt x="1561909" y="421081"/>
                </a:lnTo>
                <a:lnTo>
                  <a:pt x="1539964" y="421081"/>
                </a:lnTo>
                <a:lnTo>
                  <a:pt x="1539964" y="399136"/>
                </a:lnTo>
                <a:lnTo>
                  <a:pt x="1518018" y="399136"/>
                </a:lnTo>
                <a:lnTo>
                  <a:pt x="1518018" y="421081"/>
                </a:lnTo>
                <a:lnTo>
                  <a:pt x="1496073" y="421081"/>
                </a:lnTo>
                <a:lnTo>
                  <a:pt x="1496073" y="443027"/>
                </a:lnTo>
                <a:lnTo>
                  <a:pt x="1518018" y="443027"/>
                </a:lnTo>
                <a:lnTo>
                  <a:pt x="1518018" y="464972"/>
                </a:lnTo>
                <a:close/>
                <a:moveTo>
                  <a:pt x="1451153" y="323012"/>
                </a:moveTo>
                <a:lnTo>
                  <a:pt x="1469669" y="323012"/>
                </a:lnTo>
                <a:lnTo>
                  <a:pt x="1469669" y="304152"/>
                </a:lnTo>
                <a:lnTo>
                  <a:pt x="1488529" y="304152"/>
                </a:lnTo>
                <a:lnTo>
                  <a:pt x="1488529" y="285636"/>
                </a:lnTo>
                <a:lnTo>
                  <a:pt x="1469669" y="285636"/>
                </a:lnTo>
                <a:lnTo>
                  <a:pt x="1469669" y="266776"/>
                </a:lnTo>
                <a:lnTo>
                  <a:pt x="1451153" y="266776"/>
                </a:lnTo>
                <a:lnTo>
                  <a:pt x="1451153" y="285636"/>
                </a:lnTo>
                <a:lnTo>
                  <a:pt x="1432293" y="285636"/>
                </a:lnTo>
                <a:lnTo>
                  <a:pt x="1432293" y="304152"/>
                </a:lnTo>
                <a:lnTo>
                  <a:pt x="1451153" y="304152"/>
                </a:lnTo>
                <a:lnTo>
                  <a:pt x="1451153" y="323012"/>
                </a:lnTo>
                <a:close/>
                <a:moveTo>
                  <a:pt x="1587970" y="324041"/>
                </a:moveTo>
                <a:lnTo>
                  <a:pt x="1607172" y="324041"/>
                </a:lnTo>
                <a:lnTo>
                  <a:pt x="1607172" y="304495"/>
                </a:lnTo>
                <a:lnTo>
                  <a:pt x="1626718" y="304495"/>
                </a:lnTo>
                <a:lnTo>
                  <a:pt x="1626718" y="285293"/>
                </a:lnTo>
                <a:lnTo>
                  <a:pt x="1607172" y="285293"/>
                </a:lnTo>
                <a:lnTo>
                  <a:pt x="1607172" y="265748"/>
                </a:lnTo>
                <a:lnTo>
                  <a:pt x="1587970" y="265748"/>
                </a:lnTo>
                <a:lnTo>
                  <a:pt x="1587970" y="285293"/>
                </a:lnTo>
                <a:lnTo>
                  <a:pt x="1568425" y="285293"/>
                </a:lnTo>
                <a:lnTo>
                  <a:pt x="1568425" y="304495"/>
                </a:lnTo>
                <a:lnTo>
                  <a:pt x="1587970" y="304495"/>
                </a:lnTo>
                <a:lnTo>
                  <a:pt x="1587970" y="324041"/>
                </a:lnTo>
                <a:close/>
                <a:moveTo>
                  <a:pt x="1521104" y="181394"/>
                </a:moveTo>
                <a:lnTo>
                  <a:pt x="1536878" y="181394"/>
                </a:lnTo>
                <a:lnTo>
                  <a:pt x="1536878" y="165621"/>
                </a:lnTo>
                <a:lnTo>
                  <a:pt x="1552651" y="165621"/>
                </a:lnTo>
                <a:lnTo>
                  <a:pt x="1552651" y="149847"/>
                </a:lnTo>
                <a:lnTo>
                  <a:pt x="1536878" y="149847"/>
                </a:lnTo>
                <a:lnTo>
                  <a:pt x="1536878" y="134074"/>
                </a:lnTo>
                <a:lnTo>
                  <a:pt x="1521104" y="134074"/>
                </a:lnTo>
                <a:lnTo>
                  <a:pt x="1521104" y="149847"/>
                </a:lnTo>
                <a:lnTo>
                  <a:pt x="1505331" y="149847"/>
                </a:lnTo>
                <a:lnTo>
                  <a:pt x="1505331" y="165621"/>
                </a:lnTo>
                <a:lnTo>
                  <a:pt x="1521104" y="165621"/>
                </a:lnTo>
                <a:lnTo>
                  <a:pt x="1521104" y="181394"/>
                </a:lnTo>
                <a:close/>
              </a:path>
            </a:pathLst>
          </a:custGeom>
          <a:gradFill>
            <a:gsLst>
              <a:gs pos="0">
                <a:schemeClr val="accent1">
                  <a:alpha val="15080"/>
                </a:schemeClr>
              </a:gs>
              <a:gs pos="100000">
                <a:schemeClr val="accent3">
                  <a:alpha val="15080"/>
                </a:schemeClr>
              </a:gs>
            </a:gsLst>
            <a:path path="circle">
              <a:fillToRect l="50000" t="50000" r="50000" b="50000"/>
            </a:path>
            <a:tileRect/>
          </a:gradFill>
          <a:ln>
            <a:noFill/>
          </a:ln>
        </p:spPr>
        <p:txBody>
          <a:bodyPr spcFirstLastPara="1" wrap="square" lIns="121900" tIns="60933" rIns="121900" bIns="60933" anchor="ctr" anchorCtr="0">
            <a:noAutofit/>
          </a:bodyPr>
          <a:lstStyle/>
          <a:p>
            <a:pPr marL="0" marR="0" lvl="0" indent="0" algn="l" rtl="0">
              <a:spcBef>
                <a:spcPts val="0"/>
              </a:spcBef>
              <a:spcAft>
                <a:spcPts val="0"/>
              </a:spcAft>
              <a:buNone/>
            </a:pPr>
            <a:endParaRPr sz="2400">
              <a:solidFill>
                <a:srgbClr val="000000"/>
              </a:solidFill>
              <a:latin typeface="Calibri"/>
              <a:ea typeface="Calibri"/>
              <a:cs typeface="Calibri"/>
              <a:sym typeface="Calibri"/>
            </a:endParaRPr>
          </a:p>
        </p:txBody>
      </p:sp>
      <p:sp>
        <p:nvSpPr>
          <p:cNvPr id="13" name="Google Shape;10;p2"/>
          <p:cNvSpPr/>
          <p:nvPr userDrawn="1"/>
        </p:nvSpPr>
        <p:spPr>
          <a:xfrm>
            <a:off x="0" y="0"/>
            <a:ext cx="12195248" cy="6859829"/>
          </a:xfrm>
          <a:custGeom>
            <a:avLst/>
            <a:gdLst/>
            <a:ahLst/>
            <a:cxnLst/>
            <a:rect l="l" t="t" r="r" b="b"/>
            <a:pathLst>
              <a:path w="3464559" h="1948815" extrusionOk="0">
                <a:moveTo>
                  <a:pt x="1162685" y="742315"/>
                </a:moveTo>
                <a:cubicBezTo>
                  <a:pt x="1426846" y="572135"/>
                  <a:pt x="1547496" y="304800"/>
                  <a:pt x="1484630" y="635"/>
                </a:cubicBezTo>
                <a:lnTo>
                  <a:pt x="1482090" y="635"/>
                </a:lnTo>
                <a:cubicBezTo>
                  <a:pt x="1486535" y="20320"/>
                  <a:pt x="1490346" y="44450"/>
                  <a:pt x="1493521" y="70485"/>
                </a:cubicBezTo>
                <a:cubicBezTo>
                  <a:pt x="1530350" y="407035"/>
                  <a:pt x="1348105" y="641985"/>
                  <a:pt x="1092835" y="781050"/>
                </a:cubicBezTo>
                <a:cubicBezTo>
                  <a:pt x="1033145" y="814705"/>
                  <a:pt x="960120" y="843280"/>
                  <a:pt x="897255" y="874395"/>
                </a:cubicBezTo>
                <a:cubicBezTo>
                  <a:pt x="698500" y="972185"/>
                  <a:pt x="528955" y="1082675"/>
                  <a:pt x="391795" y="1240155"/>
                </a:cubicBezTo>
                <a:cubicBezTo>
                  <a:pt x="236220" y="1420495"/>
                  <a:pt x="145415" y="1656715"/>
                  <a:pt x="123825" y="1948180"/>
                </a:cubicBezTo>
                <a:lnTo>
                  <a:pt x="123825" y="1948180"/>
                </a:lnTo>
                <a:cubicBezTo>
                  <a:pt x="152400" y="1689100"/>
                  <a:pt x="210185" y="1506855"/>
                  <a:pt x="313055" y="1349375"/>
                </a:cubicBezTo>
                <a:cubicBezTo>
                  <a:pt x="575945" y="954405"/>
                  <a:pt x="1013460" y="850265"/>
                  <a:pt x="1162685" y="742315"/>
                </a:cubicBezTo>
                <a:close/>
                <a:moveTo>
                  <a:pt x="1208405" y="768350"/>
                </a:moveTo>
                <a:cubicBezTo>
                  <a:pt x="1482090" y="605155"/>
                  <a:pt x="1635760" y="338455"/>
                  <a:pt x="1587500" y="10795"/>
                </a:cubicBezTo>
                <a:cubicBezTo>
                  <a:pt x="1586865" y="7620"/>
                  <a:pt x="1586230" y="3810"/>
                  <a:pt x="1586230" y="635"/>
                </a:cubicBezTo>
                <a:lnTo>
                  <a:pt x="1583055" y="635"/>
                </a:lnTo>
                <a:cubicBezTo>
                  <a:pt x="1583055" y="635"/>
                  <a:pt x="1583055" y="635"/>
                  <a:pt x="1583055" y="1270"/>
                </a:cubicBezTo>
                <a:cubicBezTo>
                  <a:pt x="1588771" y="36195"/>
                  <a:pt x="1593850" y="81280"/>
                  <a:pt x="1593850" y="134620"/>
                </a:cubicBezTo>
                <a:cubicBezTo>
                  <a:pt x="1588771" y="465455"/>
                  <a:pt x="1385571" y="676275"/>
                  <a:pt x="1143000" y="802640"/>
                </a:cubicBezTo>
                <a:cubicBezTo>
                  <a:pt x="1069340" y="842010"/>
                  <a:pt x="980440" y="873125"/>
                  <a:pt x="904875" y="909955"/>
                </a:cubicBezTo>
                <a:cubicBezTo>
                  <a:pt x="687070" y="1014730"/>
                  <a:pt x="492760" y="1145540"/>
                  <a:pt x="355600" y="1339215"/>
                </a:cubicBezTo>
                <a:cubicBezTo>
                  <a:pt x="234950" y="1508760"/>
                  <a:pt x="179705" y="1708785"/>
                  <a:pt x="155575" y="1924685"/>
                </a:cubicBezTo>
                <a:cubicBezTo>
                  <a:pt x="154940" y="1932940"/>
                  <a:pt x="153035" y="1941195"/>
                  <a:pt x="153035" y="1948815"/>
                </a:cubicBezTo>
                <a:lnTo>
                  <a:pt x="156210" y="1948815"/>
                </a:lnTo>
                <a:cubicBezTo>
                  <a:pt x="167005" y="1845310"/>
                  <a:pt x="181610" y="1763395"/>
                  <a:pt x="201930" y="1685290"/>
                </a:cubicBezTo>
                <a:cubicBezTo>
                  <a:pt x="370840" y="1021080"/>
                  <a:pt x="1032510" y="889635"/>
                  <a:pt x="1208405" y="768350"/>
                </a:cubicBezTo>
                <a:close/>
                <a:moveTo>
                  <a:pt x="1312546" y="758190"/>
                </a:moveTo>
                <a:cubicBezTo>
                  <a:pt x="1579880" y="587375"/>
                  <a:pt x="1724660" y="316865"/>
                  <a:pt x="1685925" y="635"/>
                </a:cubicBezTo>
                <a:lnTo>
                  <a:pt x="1683385" y="635"/>
                </a:lnTo>
                <a:cubicBezTo>
                  <a:pt x="1687830" y="34925"/>
                  <a:pt x="1691005" y="81280"/>
                  <a:pt x="1689100" y="133985"/>
                </a:cubicBezTo>
                <a:cubicBezTo>
                  <a:pt x="1671955" y="469265"/>
                  <a:pt x="1462405" y="680720"/>
                  <a:pt x="1223646" y="807085"/>
                </a:cubicBezTo>
                <a:cubicBezTo>
                  <a:pt x="1179196" y="830580"/>
                  <a:pt x="1132840" y="852170"/>
                  <a:pt x="1082675" y="871855"/>
                </a:cubicBezTo>
                <a:cubicBezTo>
                  <a:pt x="732790" y="1004570"/>
                  <a:pt x="488315" y="1180465"/>
                  <a:pt x="348615" y="1404620"/>
                </a:cubicBezTo>
                <a:cubicBezTo>
                  <a:pt x="238760" y="1581785"/>
                  <a:pt x="196215" y="1781810"/>
                  <a:pt x="184785" y="1948180"/>
                </a:cubicBezTo>
                <a:lnTo>
                  <a:pt x="185420" y="1948180"/>
                </a:lnTo>
                <a:cubicBezTo>
                  <a:pt x="207010" y="1772920"/>
                  <a:pt x="234315" y="1593850"/>
                  <a:pt x="348615" y="1409700"/>
                </a:cubicBezTo>
                <a:cubicBezTo>
                  <a:pt x="636905" y="963930"/>
                  <a:pt x="1096646" y="910590"/>
                  <a:pt x="1312546" y="758190"/>
                </a:cubicBezTo>
                <a:close/>
                <a:moveTo>
                  <a:pt x="1169035" y="676910"/>
                </a:moveTo>
                <a:cubicBezTo>
                  <a:pt x="1337946" y="538480"/>
                  <a:pt x="1438275" y="332105"/>
                  <a:pt x="1400810" y="78740"/>
                </a:cubicBezTo>
                <a:cubicBezTo>
                  <a:pt x="1395730" y="50165"/>
                  <a:pt x="1391921" y="21590"/>
                  <a:pt x="1384935" y="635"/>
                </a:cubicBezTo>
                <a:lnTo>
                  <a:pt x="1379221" y="635"/>
                </a:lnTo>
                <a:cubicBezTo>
                  <a:pt x="1456055" y="304165"/>
                  <a:pt x="1341755" y="559435"/>
                  <a:pt x="1098550" y="722630"/>
                </a:cubicBezTo>
                <a:cubicBezTo>
                  <a:pt x="1061085" y="748030"/>
                  <a:pt x="1019810" y="772160"/>
                  <a:pt x="975360" y="794385"/>
                </a:cubicBezTo>
                <a:cubicBezTo>
                  <a:pt x="622935" y="960755"/>
                  <a:pt x="400685" y="1129030"/>
                  <a:pt x="257810" y="1369695"/>
                </a:cubicBezTo>
                <a:cubicBezTo>
                  <a:pt x="156845" y="1543050"/>
                  <a:pt x="114935" y="1722120"/>
                  <a:pt x="89535" y="1929765"/>
                </a:cubicBezTo>
                <a:cubicBezTo>
                  <a:pt x="88265" y="1936750"/>
                  <a:pt x="87630" y="1943100"/>
                  <a:pt x="87630" y="1948815"/>
                </a:cubicBezTo>
                <a:lnTo>
                  <a:pt x="92075" y="1948815"/>
                </a:lnTo>
                <a:cubicBezTo>
                  <a:pt x="109220" y="1834515"/>
                  <a:pt x="123190" y="1727200"/>
                  <a:pt x="151130" y="1637665"/>
                </a:cubicBezTo>
                <a:cubicBezTo>
                  <a:pt x="342900" y="966470"/>
                  <a:pt x="972185" y="860425"/>
                  <a:pt x="1169035" y="676910"/>
                </a:cubicBezTo>
                <a:close/>
                <a:moveTo>
                  <a:pt x="1030605" y="650875"/>
                </a:moveTo>
                <a:cubicBezTo>
                  <a:pt x="1231265" y="472440"/>
                  <a:pt x="1261110" y="227965"/>
                  <a:pt x="1178560" y="635"/>
                </a:cubicBezTo>
                <a:lnTo>
                  <a:pt x="1175385" y="635"/>
                </a:lnTo>
                <a:cubicBezTo>
                  <a:pt x="1190625" y="41910"/>
                  <a:pt x="1201421" y="85090"/>
                  <a:pt x="1207771" y="118110"/>
                </a:cubicBezTo>
                <a:cubicBezTo>
                  <a:pt x="1252855" y="367665"/>
                  <a:pt x="1154430" y="569595"/>
                  <a:pt x="951865" y="709295"/>
                </a:cubicBezTo>
                <a:cubicBezTo>
                  <a:pt x="926465" y="727075"/>
                  <a:pt x="899795" y="743585"/>
                  <a:pt x="870585" y="759460"/>
                </a:cubicBezTo>
                <a:cubicBezTo>
                  <a:pt x="557530" y="932180"/>
                  <a:pt x="371475" y="1082040"/>
                  <a:pt x="243840" y="1265555"/>
                </a:cubicBezTo>
                <a:cubicBezTo>
                  <a:pt x="123825" y="1440180"/>
                  <a:pt x="47625" y="1658620"/>
                  <a:pt x="21590" y="1948180"/>
                </a:cubicBezTo>
                <a:lnTo>
                  <a:pt x="21590" y="1948180"/>
                </a:lnTo>
                <a:cubicBezTo>
                  <a:pt x="59690" y="1642745"/>
                  <a:pt x="123190" y="1440815"/>
                  <a:pt x="251460" y="1259205"/>
                </a:cubicBezTo>
                <a:cubicBezTo>
                  <a:pt x="514985" y="897890"/>
                  <a:pt x="885825" y="791210"/>
                  <a:pt x="1030605" y="650875"/>
                </a:cubicBezTo>
                <a:close/>
                <a:moveTo>
                  <a:pt x="955675" y="1035050"/>
                </a:moveTo>
                <a:cubicBezTo>
                  <a:pt x="1100455" y="967740"/>
                  <a:pt x="1285875" y="924560"/>
                  <a:pt x="1424305" y="849630"/>
                </a:cubicBezTo>
                <a:cubicBezTo>
                  <a:pt x="1666875" y="726440"/>
                  <a:pt x="1883410" y="528320"/>
                  <a:pt x="1959610" y="223520"/>
                </a:cubicBezTo>
                <a:cubicBezTo>
                  <a:pt x="1980565" y="133350"/>
                  <a:pt x="1985646" y="80010"/>
                  <a:pt x="1984375" y="635"/>
                </a:cubicBezTo>
                <a:lnTo>
                  <a:pt x="1981835" y="635"/>
                </a:lnTo>
                <a:cubicBezTo>
                  <a:pt x="1988185" y="438785"/>
                  <a:pt x="1694180" y="748030"/>
                  <a:pt x="1297305" y="904240"/>
                </a:cubicBezTo>
                <a:cubicBezTo>
                  <a:pt x="1157605" y="956945"/>
                  <a:pt x="1005840" y="1001395"/>
                  <a:pt x="887095" y="1064260"/>
                </a:cubicBezTo>
                <a:cubicBezTo>
                  <a:pt x="495300" y="1257935"/>
                  <a:pt x="285750" y="1552575"/>
                  <a:pt x="273685" y="1948180"/>
                </a:cubicBezTo>
                <a:lnTo>
                  <a:pt x="273685" y="1948180"/>
                </a:lnTo>
                <a:cubicBezTo>
                  <a:pt x="300355" y="1496695"/>
                  <a:pt x="537845" y="1223645"/>
                  <a:pt x="955675" y="1035050"/>
                </a:cubicBezTo>
                <a:close/>
                <a:moveTo>
                  <a:pt x="1320165" y="807085"/>
                </a:moveTo>
                <a:cubicBezTo>
                  <a:pt x="1630046" y="637540"/>
                  <a:pt x="1815465" y="351155"/>
                  <a:pt x="1785621" y="635"/>
                </a:cubicBezTo>
                <a:lnTo>
                  <a:pt x="1783080" y="635"/>
                </a:lnTo>
                <a:cubicBezTo>
                  <a:pt x="1784985" y="20320"/>
                  <a:pt x="1786255" y="43815"/>
                  <a:pt x="1786255" y="70485"/>
                </a:cubicBezTo>
                <a:cubicBezTo>
                  <a:pt x="1784985" y="448310"/>
                  <a:pt x="1544955" y="697230"/>
                  <a:pt x="1259840" y="835660"/>
                </a:cubicBezTo>
                <a:cubicBezTo>
                  <a:pt x="1178560" y="876935"/>
                  <a:pt x="1080135" y="908050"/>
                  <a:pt x="993140" y="944880"/>
                </a:cubicBezTo>
                <a:cubicBezTo>
                  <a:pt x="774700" y="1038225"/>
                  <a:pt x="589280" y="1151890"/>
                  <a:pt x="445135" y="1323340"/>
                </a:cubicBezTo>
                <a:cubicBezTo>
                  <a:pt x="328295" y="1461135"/>
                  <a:pt x="256540" y="1637030"/>
                  <a:pt x="227965" y="1830070"/>
                </a:cubicBezTo>
                <a:cubicBezTo>
                  <a:pt x="221615" y="1870075"/>
                  <a:pt x="217170" y="1908810"/>
                  <a:pt x="213360" y="1948180"/>
                </a:cubicBezTo>
                <a:lnTo>
                  <a:pt x="215900" y="1948180"/>
                </a:lnTo>
                <a:cubicBezTo>
                  <a:pt x="230505" y="1801495"/>
                  <a:pt x="257175" y="1619250"/>
                  <a:pt x="365760" y="1439545"/>
                </a:cubicBezTo>
                <a:cubicBezTo>
                  <a:pt x="636905" y="1000125"/>
                  <a:pt x="1139825" y="920750"/>
                  <a:pt x="1320165" y="807085"/>
                </a:cubicBezTo>
                <a:close/>
                <a:moveTo>
                  <a:pt x="1230630" y="967740"/>
                </a:moveTo>
                <a:cubicBezTo>
                  <a:pt x="1319530" y="939800"/>
                  <a:pt x="1398905" y="908050"/>
                  <a:pt x="1474471" y="871220"/>
                </a:cubicBezTo>
                <a:cubicBezTo>
                  <a:pt x="1827530" y="702310"/>
                  <a:pt x="2080896" y="388620"/>
                  <a:pt x="2082165" y="0"/>
                </a:cubicBezTo>
                <a:lnTo>
                  <a:pt x="2081530" y="0"/>
                </a:lnTo>
                <a:cubicBezTo>
                  <a:pt x="2064385" y="457835"/>
                  <a:pt x="1764665" y="763270"/>
                  <a:pt x="1343660" y="925195"/>
                </a:cubicBezTo>
                <a:cubicBezTo>
                  <a:pt x="1207771" y="975360"/>
                  <a:pt x="1030605" y="1023620"/>
                  <a:pt x="901700" y="1091565"/>
                </a:cubicBezTo>
                <a:cubicBezTo>
                  <a:pt x="525780" y="1273810"/>
                  <a:pt x="302895" y="1569085"/>
                  <a:pt x="300355" y="1948180"/>
                </a:cubicBezTo>
                <a:lnTo>
                  <a:pt x="300355" y="1948180"/>
                </a:lnTo>
                <a:cubicBezTo>
                  <a:pt x="322580" y="1429385"/>
                  <a:pt x="676275" y="1136650"/>
                  <a:pt x="1230630" y="967740"/>
                </a:cubicBezTo>
                <a:close/>
                <a:moveTo>
                  <a:pt x="1195071" y="1046480"/>
                </a:moveTo>
                <a:cubicBezTo>
                  <a:pt x="1330325" y="1007110"/>
                  <a:pt x="1464310" y="968375"/>
                  <a:pt x="1579246" y="914400"/>
                </a:cubicBezTo>
                <a:cubicBezTo>
                  <a:pt x="1960880" y="743585"/>
                  <a:pt x="2251710" y="423545"/>
                  <a:pt x="2280921" y="635"/>
                </a:cubicBezTo>
                <a:lnTo>
                  <a:pt x="2277746" y="635"/>
                </a:lnTo>
                <a:cubicBezTo>
                  <a:pt x="2277110" y="14605"/>
                  <a:pt x="2275840" y="30480"/>
                  <a:pt x="2273300" y="48895"/>
                </a:cubicBezTo>
                <a:cubicBezTo>
                  <a:pt x="2211705" y="528320"/>
                  <a:pt x="1842771" y="831215"/>
                  <a:pt x="1410335" y="978535"/>
                </a:cubicBezTo>
                <a:cubicBezTo>
                  <a:pt x="1279525" y="1021715"/>
                  <a:pt x="1112521" y="1062355"/>
                  <a:pt x="986155" y="1122045"/>
                </a:cubicBezTo>
                <a:cubicBezTo>
                  <a:pt x="692150" y="1250315"/>
                  <a:pt x="403225" y="1477645"/>
                  <a:pt x="356870" y="1850390"/>
                </a:cubicBezTo>
                <a:cubicBezTo>
                  <a:pt x="351790" y="1891665"/>
                  <a:pt x="351155" y="1925320"/>
                  <a:pt x="351155" y="1948815"/>
                </a:cubicBezTo>
                <a:lnTo>
                  <a:pt x="353695" y="1948815"/>
                </a:lnTo>
                <a:cubicBezTo>
                  <a:pt x="353695" y="1877060"/>
                  <a:pt x="358775" y="1717675"/>
                  <a:pt x="467360" y="1541145"/>
                </a:cubicBezTo>
                <a:cubicBezTo>
                  <a:pt x="627380" y="1284605"/>
                  <a:pt x="903605" y="1139190"/>
                  <a:pt x="1195071" y="1046480"/>
                </a:cubicBezTo>
                <a:close/>
                <a:moveTo>
                  <a:pt x="1263015" y="992505"/>
                </a:moveTo>
                <a:cubicBezTo>
                  <a:pt x="1346835" y="967740"/>
                  <a:pt x="1422400" y="939800"/>
                  <a:pt x="1495425" y="906780"/>
                </a:cubicBezTo>
                <a:cubicBezTo>
                  <a:pt x="1878965" y="739775"/>
                  <a:pt x="2167255" y="415290"/>
                  <a:pt x="2181225" y="0"/>
                </a:cubicBezTo>
                <a:lnTo>
                  <a:pt x="2180590" y="0"/>
                </a:lnTo>
                <a:cubicBezTo>
                  <a:pt x="2143125" y="546735"/>
                  <a:pt x="1732915" y="866775"/>
                  <a:pt x="1177925" y="1015365"/>
                </a:cubicBezTo>
                <a:cubicBezTo>
                  <a:pt x="638810" y="1185545"/>
                  <a:pt x="323850" y="1515110"/>
                  <a:pt x="328295" y="1947545"/>
                </a:cubicBezTo>
                <a:lnTo>
                  <a:pt x="328295" y="1947545"/>
                </a:lnTo>
                <a:cubicBezTo>
                  <a:pt x="337820" y="1456690"/>
                  <a:pt x="701675" y="1151255"/>
                  <a:pt x="1263015" y="992505"/>
                </a:cubicBezTo>
                <a:close/>
                <a:moveTo>
                  <a:pt x="482600" y="971550"/>
                </a:moveTo>
                <a:cubicBezTo>
                  <a:pt x="714375" y="788035"/>
                  <a:pt x="902970" y="720725"/>
                  <a:pt x="1006475" y="592455"/>
                </a:cubicBezTo>
                <a:cubicBezTo>
                  <a:pt x="1160780" y="415290"/>
                  <a:pt x="1156335" y="191135"/>
                  <a:pt x="1075690" y="635"/>
                </a:cubicBezTo>
                <a:lnTo>
                  <a:pt x="1072515" y="635"/>
                </a:lnTo>
                <a:cubicBezTo>
                  <a:pt x="1089025" y="40005"/>
                  <a:pt x="1102360" y="80645"/>
                  <a:pt x="1109980" y="113030"/>
                </a:cubicBezTo>
                <a:cubicBezTo>
                  <a:pt x="1169035" y="358775"/>
                  <a:pt x="1082040" y="561975"/>
                  <a:pt x="875665" y="705485"/>
                </a:cubicBezTo>
                <a:cubicBezTo>
                  <a:pt x="489585" y="941705"/>
                  <a:pt x="247650" y="1111250"/>
                  <a:pt x="104775" y="1447165"/>
                </a:cubicBezTo>
                <a:cubicBezTo>
                  <a:pt x="58420" y="1558290"/>
                  <a:pt x="22860" y="1685290"/>
                  <a:pt x="635" y="1831975"/>
                </a:cubicBezTo>
                <a:lnTo>
                  <a:pt x="635" y="1849755"/>
                </a:lnTo>
                <a:cubicBezTo>
                  <a:pt x="63500" y="1457325"/>
                  <a:pt x="182245" y="1210945"/>
                  <a:pt x="482600" y="971550"/>
                </a:cubicBezTo>
                <a:close/>
                <a:moveTo>
                  <a:pt x="1353821" y="839470"/>
                </a:moveTo>
                <a:cubicBezTo>
                  <a:pt x="1670050" y="679450"/>
                  <a:pt x="1882775" y="408305"/>
                  <a:pt x="1887855" y="52705"/>
                </a:cubicBezTo>
                <a:cubicBezTo>
                  <a:pt x="1887221" y="38100"/>
                  <a:pt x="1888490" y="15875"/>
                  <a:pt x="1886585" y="635"/>
                </a:cubicBezTo>
                <a:lnTo>
                  <a:pt x="1880871" y="635"/>
                </a:lnTo>
                <a:cubicBezTo>
                  <a:pt x="1880871" y="635"/>
                  <a:pt x="1880871" y="1270"/>
                  <a:pt x="1880871" y="1270"/>
                </a:cubicBezTo>
                <a:cubicBezTo>
                  <a:pt x="1898015" y="332740"/>
                  <a:pt x="1724660" y="602615"/>
                  <a:pt x="1467485" y="767715"/>
                </a:cubicBezTo>
                <a:cubicBezTo>
                  <a:pt x="1337946" y="856615"/>
                  <a:pt x="1172210" y="911225"/>
                  <a:pt x="1020445" y="967740"/>
                </a:cubicBezTo>
                <a:cubicBezTo>
                  <a:pt x="803910" y="1056005"/>
                  <a:pt x="619760" y="1165860"/>
                  <a:pt x="474980" y="1332230"/>
                </a:cubicBezTo>
                <a:cubicBezTo>
                  <a:pt x="329565" y="1499870"/>
                  <a:pt x="271145" y="1687195"/>
                  <a:pt x="248920" y="1869440"/>
                </a:cubicBezTo>
                <a:cubicBezTo>
                  <a:pt x="245745" y="1896745"/>
                  <a:pt x="242570" y="1923415"/>
                  <a:pt x="240665" y="1948180"/>
                </a:cubicBezTo>
                <a:lnTo>
                  <a:pt x="245745" y="1948180"/>
                </a:lnTo>
                <a:cubicBezTo>
                  <a:pt x="260985" y="1810385"/>
                  <a:pt x="280035" y="1636395"/>
                  <a:pt x="391160" y="1455420"/>
                </a:cubicBezTo>
                <a:cubicBezTo>
                  <a:pt x="663575" y="1021080"/>
                  <a:pt x="1175385" y="942975"/>
                  <a:pt x="1353821" y="839470"/>
                </a:cubicBezTo>
                <a:close/>
                <a:moveTo>
                  <a:pt x="847725" y="561340"/>
                </a:moveTo>
                <a:cubicBezTo>
                  <a:pt x="1028065" y="394335"/>
                  <a:pt x="1018540" y="168910"/>
                  <a:pt x="935355" y="0"/>
                </a:cubicBezTo>
                <a:lnTo>
                  <a:pt x="929640" y="0"/>
                </a:lnTo>
                <a:cubicBezTo>
                  <a:pt x="1019810" y="184785"/>
                  <a:pt x="1021080" y="412750"/>
                  <a:pt x="817880" y="580390"/>
                </a:cubicBezTo>
                <a:cubicBezTo>
                  <a:pt x="760730" y="628650"/>
                  <a:pt x="685800" y="666750"/>
                  <a:pt x="632460" y="700405"/>
                </a:cubicBezTo>
                <a:cubicBezTo>
                  <a:pt x="505460" y="777875"/>
                  <a:pt x="403225" y="847090"/>
                  <a:pt x="317500" y="922655"/>
                </a:cubicBezTo>
                <a:cubicBezTo>
                  <a:pt x="161290" y="1059180"/>
                  <a:pt x="53975" y="1224915"/>
                  <a:pt x="635" y="1468120"/>
                </a:cubicBezTo>
                <a:lnTo>
                  <a:pt x="635" y="1495425"/>
                </a:lnTo>
                <a:cubicBezTo>
                  <a:pt x="36195" y="1318895"/>
                  <a:pt x="97790" y="1179830"/>
                  <a:pt x="192405" y="1061085"/>
                </a:cubicBezTo>
                <a:cubicBezTo>
                  <a:pt x="417830" y="784225"/>
                  <a:pt x="725170" y="681355"/>
                  <a:pt x="847725" y="561340"/>
                </a:cubicBezTo>
                <a:close/>
                <a:moveTo>
                  <a:pt x="407035" y="220345"/>
                </a:moveTo>
                <a:cubicBezTo>
                  <a:pt x="454660" y="158115"/>
                  <a:pt x="434340" y="57150"/>
                  <a:pt x="375285" y="0"/>
                </a:cubicBezTo>
                <a:lnTo>
                  <a:pt x="371475" y="0"/>
                </a:lnTo>
                <a:cubicBezTo>
                  <a:pt x="386080" y="14605"/>
                  <a:pt x="399415" y="32385"/>
                  <a:pt x="409575" y="52705"/>
                </a:cubicBezTo>
                <a:cubicBezTo>
                  <a:pt x="467995" y="172085"/>
                  <a:pt x="401955" y="253365"/>
                  <a:pt x="299720" y="292100"/>
                </a:cubicBezTo>
                <a:cubicBezTo>
                  <a:pt x="228600" y="322580"/>
                  <a:pt x="161925" y="342900"/>
                  <a:pt x="105410" y="360680"/>
                </a:cubicBezTo>
                <a:cubicBezTo>
                  <a:pt x="69850" y="373380"/>
                  <a:pt x="27940" y="382270"/>
                  <a:pt x="635" y="395605"/>
                </a:cubicBezTo>
                <a:lnTo>
                  <a:pt x="635" y="398780"/>
                </a:lnTo>
                <a:cubicBezTo>
                  <a:pt x="115570" y="354965"/>
                  <a:pt x="356870" y="301625"/>
                  <a:pt x="407035" y="220345"/>
                </a:cubicBezTo>
                <a:close/>
                <a:moveTo>
                  <a:pt x="1019810" y="442595"/>
                </a:moveTo>
                <a:cubicBezTo>
                  <a:pt x="1108075" y="255270"/>
                  <a:pt x="1031240" y="52070"/>
                  <a:pt x="1005205" y="0"/>
                </a:cubicBezTo>
                <a:lnTo>
                  <a:pt x="1002030" y="0"/>
                </a:lnTo>
                <a:cubicBezTo>
                  <a:pt x="1002665" y="1905"/>
                  <a:pt x="1003935" y="3810"/>
                  <a:pt x="1005205" y="6350"/>
                </a:cubicBezTo>
                <a:cubicBezTo>
                  <a:pt x="1104265" y="233045"/>
                  <a:pt x="1065530" y="450215"/>
                  <a:pt x="896620" y="603250"/>
                </a:cubicBezTo>
                <a:cubicBezTo>
                  <a:pt x="841375" y="655955"/>
                  <a:pt x="762000" y="699135"/>
                  <a:pt x="684530" y="746760"/>
                </a:cubicBezTo>
                <a:cubicBezTo>
                  <a:pt x="299085" y="981710"/>
                  <a:pt x="74295" y="1210310"/>
                  <a:pt x="1270" y="1652270"/>
                </a:cubicBezTo>
                <a:lnTo>
                  <a:pt x="1270" y="1664335"/>
                </a:lnTo>
                <a:cubicBezTo>
                  <a:pt x="38735" y="1448435"/>
                  <a:pt x="106045" y="1283335"/>
                  <a:pt x="211455" y="1143635"/>
                </a:cubicBezTo>
                <a:cubicBezTo>
                  <a:pt x="512445" y="758190"/>
                  <a:pt x="909320" y="711835"/>
                  <a:pt x="1019810" y="442595"/>
                </a:cubicBezTo>
                <a:close/>
                <a:moveTo>
                  <a:pt x="466725" y="258445"/>
                </a:moveTo>
                <a:cubicBezTo>
                  <a:pt x="527050" y="182880"/>
                  <a:pt x="506730" y="67945"/>
                  <a:pt x="443230" y="635"/>
                </a:cubicBezTo>
                <a:lnTo>
                  <a:pt x="440055" y="635"/>
                </a:lnTo>
                <a:cubicBezTo>
                  <a:pt x="454025" y="15875"/>
                  <a:pt x="466725" y="34925"/>
                  <a:pt x="477520" y="57150"/>
                </a:cubicBezTo>
                <a:cubicBezTo>
                  <a:pt x="528320" y="163830"/>
                  <a:pt x="488950" y="246380"/>
                  <a:pt x="422910" y="297180"/>
                </a:cubicBezTo>
                <a:cubicBezTo>
                  <a:pt x="360045" y="342900"/>
                  <a:pt x="262255" y="375920"/>
                  <a:pt x="194945" y="405130"/>
                </a:cubicBezTo>
                <a:cubicBezTo>
                  <a:pt x="116840" y="437515"/>
                  <a:pt x="50800" y="462915"/>
                  <a:pt x="635" y="498475"/>
                </a:cubicBezTo>
                <a:lnTo>
                  <a:pt x="635" y="501650"/>
                </a:lnTo>
                <a:cubicBezTo>
                  <a:pt x="120015" y="415925"/>
                  <a:pt x="402590" y="353060"/>
                  <a:pt x="466725" y="258445"/>
                </a:cubicBezTo>
                <a:close/>
                <a:moveTo>
                  <a:pt x="266065" y="0"/>
                </a:moveTo>
                <a:lnTo>
                  <a:pt x="258445" y="0"/>
                </a:lnTo>
                <a:cubicBezTo>
                  <a:pt x="394335" y="180975"/>
                  <a:pt x="101600" y="205740"/>
                  <a:pt x="635" y="194310"/>
                </a:cubicBezTo>
                <a:lnTo>
                  <a:pt x="635" y="200025"/>
                </a:lnTo>
                <a:cubicBezTo>
                  <a:pt x="18415" y="201930"/>
                  <a:pt x="30480" y="202565"/>
                  <a:pt x="51435" y="202565"/>
                </a:cubicBezTo>
                <a:cubicBezTo>
                  <a:pt x="368935" y="193675"/>
                  <a:pt x="304800" y="46355"/>
                  <a:pt x="266065" y="0"/>
                </a:cubicBezTo>
                <a:close/>
                <a:moveTo>
                  <a:pt x="226060" y="0"/>
                </a:moveTo>
                <a:lnTo>
                  <a:pt x="224790" y="0"/>
                </a:lnTo>
                <a:cubicBezTo>
                  <a:pt x="243205" y="86360"/>
                  <a:pt x="132715" y="92075"/>
                  <a:pt x="64135" y="88265"/>
                </a:cubicBezTo>
                <a:cubicBezTo>
                  <a:pt x="42545" y="86360"/>
                  <a:pt x="20955" y="81915"/>
                  <a:pt x="635" y="76200"/>
                </a:cubicBezTo>
                <a:lnTo>
                  <a:pt x="635" y="79375"/>
                </a:lnTo>
                <a:cubicBezTo>
                  <a:pt x="80645" y="104775"/>
                  <a:pt x="257175" y="99695"/>
                  <a:pt x="226060" y="0"/>
                </a:cubicBezTo>
                <a:close/>
                <a:moveTo>
                  <a:pt x="283210" y="443230"/>
                </a:moveTo>
                <a:cubicBezTo>
                  <a:pt x="358775" y="404495"/>
                  <a:pt x="460375" y="369570"/>
                  <a:pt x="516890" y="306705"/>
                </a:cubicBezTo>
                <a:cubicBezTo>
                  <a:pt x="626745" y="179705"/>
                  <a:pt x="544830" y="41910"/>
                  <a:pt x="511810" y="0"/>
                </a:cubicBezTo>
                <a:lnTo>
                  <a:pt x="508000" y="0"/>
                </a:lnTo>
                <a:cubicBezTo>
                  <a:pt x="509270" y="1270"/>
                  <a:pt x="510540" y="3175"/>
                  <a:pt x="511810" y="5080"/>
                </a:cubicBezTo>
                <a:cubicBezTo>
                  <a:pt x="584835" y="101600"/>
                  <a:pt x="596265" y="231775"/>
                  <a:pt x="495935" y="323215"/>
                </a:cubicBezTo>
                <a:cubicBezTo>
                  <a:pt x="455930" y="360680"/>
                  <a:pt x="397510" y="384810"/>
                  <a:pt x="361315" y="403225"/>
                </a:cubicBezTo>
                <a:cubicBezTo>
                  <a:pt x="234950" y="467360"/>
                  <a:pt x="86995" y="519430"/>
                  <a:pt x="0" y="610870"/>
                </a:cubicBezTo>
                <a:lnTo>
                  <a:pt x="0" y="614045"/>
                </a:lnTo>
                <a:cubicBezTo>
                  <a:pt x="60960" y="548005"/>
                  <a:pt x="159385" y="502285"/>
                  <a:pt x="283210" y="443230"/>
                </a:cubicBezTo>
                <a:close/>
                <a:moveTo>
                  <a:pt x="5715" y="304165"/>
                </a:moveTo>
                <a:cubicBezTo>
                  <a:pt x="74930" y="295275"/>
                  <a:pt x="172720" y="281305"/>
                  <a:pt x="273685" y="239395"/>
                </a:cubicBezTo>
                <a:cubicBezTo>
                  <a:pt x="400685" y="186690"/>
                  <a:pt x="379095" y="69850"/>
                  <a:pt x="309245" y="635"/>
                </a:cubicBezTo>
                <a:cubicBezTo>
                  <a:pt x="309245" y="635"/>
                  <a:pt x="308610" y="635"/>
                  <a:pt x="308610" y="0"/>
                </a:cubicBezTo>
                <a:lnTo>
                  <a:pt x="304800" y="0"/>
                </a:lnTo>
                <a:cubicBezTo>
                  <a:pt x="355600" y="46355"/>
                  <a:pt x="382905" y="127000"/>
                  <a:pt x="343535" y="182880"/>
                </a:cubicBezTo>
                <a:cubicBezTo>
                  <a:pt x="287655" y="264795"/>
                  <a:pt x="70485" y="290830"/>
                  <a:pt x="635" y="301625"/>
                </a:cubicBezTo>
                <a:lnTo>
                  <a:pt x="635" y="304165"/>
                </a:lnTo>
                <a:cubicBezTo>
                  <a:pt x="3175" y="304165"/>
                  <a:pt x="5080" y="303530"/>
                  <a:pt x="5715" y="304165"/>
                </a:cubicBezTo>
                <a:close/>
                <a:moveTo>
                  <a:pt x="808355" y="501650"/>
                </a:moveTo>
                <a:cubicBezTo>
                  <a:pt x="921385" y="385445"/>
                  <a:pt x="951230" y="225425"/>
                  <a:pt x="890270" y="60325"/>
                </a:cubicBezTo>
                <a:cubicBezTo>
                  <a:pt x="889000" y="52705"/>
                  <a:pt x="873125" y="19050"/>
                  <a:pt x="862965" y="635"/>
                </a:cubicBezTo>
                <a:lnTo>
                  <a:pt x="860425" y="635"/>
                </a:lnTo>
                <a:cubicBezTo>
                  <a:pt x="949960" y="170180"/>
                  <a:pt x="946150" y="379730"/>
                  <a:pt x="779780" y="526415"/>
                </a:cubicBezTo>
                <a:cubicBezTo>
                  <a:pt x="715010" y="586105"/>
                  <a:pt x="618490" y="631190"/>
                  <a:pt x="539115" y="681355"/>
                </a:cubicBezTo>
                <a:cubicBezTo>
                  <a:pt x="278130" y="838835"/>
                  <a:pt x="71755" y="1010285"/>
                  <a:pt x="635" y="1310640"/>
                </a:cubicBezTo>
                <a:lnTo>
                  <a:pt x="635" y="1320165"/>
                </a:lnTo>
                <a:cubicBezTo>
                  <a:pt x="34290" y="1183640"/>
                  <a:pt x="90170" y="1073150"/>
                  <a:pt x="171450" y="975995"/>
                </a:cubicBezTo>
                <a:cubicBezTo>
                  <a:pt x="400050" y="713105"/>
                  <a:pt x="690880" y="630555"/>
                  <a:pt x="808355" y="501650"/>
                </a:cubicBezTo>
                <a:close/>
                <a:moveTo>
                  <a:pt x="1220471" y="1072515"/>
                </a:moveTo>
                <a:cubicBezTo>
                  <a:pt x="1384935" y="1027430"/>
                  <a:pt x="1541780" y="982345"/>
                  <a:pt x="1675765" y="916305"/>
                </a:cubicBezTo>
                <a:cubicBezTo>
                  <a:pt x="2052321" y="741045"/>
                  <a:pt x="2342515" y="417830"/>
                  <a:pt x="2381250" y="0"/>
                </a:cubicBezTo>
                <a:lnTo>
                  <a:pt x="2375535" y="0"/>
                </a:lnTo>
                <a:cubicBezTo>
                  <a:pt x="2373630" y="14605"/>
                  <a:pt x="2373630" y="35560"/>
                  <a:pt x="2371725" y="40005"/>
                </a:cubicBezTo>
                <a:cubicBezTo>
                  <a:pt x="2313305" y="455295"/>
                  <a:pt x="2019300" y="749300"/>
                  <a:pt x="1673225" y="911225"/>
                </a:cubicBezTo>
                <a:cubicBezTo>
                  <a:pt x="1526540" y="985520"/>
                  <a:pt x="1343025" y="1029335"/>
                  <a:pt x="1166496" y="1083945"/>
                </a:cubicBezTo>
                <a:cubicBezTo>
                  <a:pt x="810260" y="1200150"/>
                  <a:pt x="405765" y="1449070"/>
                  <a:pt x="375920" y="1893570"/>
                </a:cubicBezTo>
                <a:cubicBezTo>
                  <a:pt x="375285" y="1914525"/>
                  <a:pt x="374650" y="1933575"/>
                  <a:pt x="375920" y="1947545"/>
                </a:cubicBezTo>
                <a:lnTo>
                  <a:pt x="381000" y="1947545"/>
                </a:lnTo>
                <a:cubicBezTo>
                  <a:pt x="381000" y="1946275"/>
                  <a:pt x="381000" y="1945640"/>
                  <a:pt x="381000" y="1945005"/>
                </a:cubicBezTo>
                <a:cubicBezTo>
                  <a:pt x="378460" y="1879600"/>
                  <a:pt x="385445" y="1746885"/>
                  <a:pt x="468630" y="1596390"/>
                </a:cubicBezTo>
                <a:cubicBezTo>
                  <a:pt x="621665" y="1321435"/>
                  <a:pt x="916305" y="1166495"/>
                  <a:pt x="1220471" y="1072515"/>
                </a:cubicBezTo>
                <a:close/>
                <a:moveTo>
                  <a:pt x="753110" y="459105"/>
                </a:moveTo>
                <a:cubicBezTo>
                  <a:pt x="854710" y="351155"/>
                  <a:pt x="876300" y="207010"/>
                  <a:pt x="822325" y="63500"/>
                </a:cubicBezTo>
                <a:cubicBezTo>
                  <a:pt x="822325" y="59055"/>
                  <a:pt x="803910" y="20955"/>
                  <a:pt x="792480" y="635"/>
                </a:cubicBezTo>
                <a:lnTo>
                  <a:pt x="789305" y="635"/>
                </a:lnTo>
                <a:cubicBezTo>
                  <a:pt x="875030" y="151130"/>
                  <a:pt x="877570" y="345440"/>
                  <a:pt x="728345" y="480695"/>
                </a:cubicBezTo>
                <a:cubicBezTo>
                  <a:pt x="671830" y="535305"/>
                  <a:pt x="578485" y="579755"/>
                  <a:pt x="503555" y="624840"/>
                </a:cubicBezTo>
                <a:cubicBezTo>
                  <a:pt x="273685" y="760095"/>
                  <a:pt x="73025" y="901700"/>
                  <a:pt x="0" y="1153160"/>
                </a:cubicBezTo>
                <a:lnTo>
                  <a:pt x="0" y="1160145"/>
                </a:lnTo>
                <a:cubicBezTo>
                  <a:pt x="31750" y="1056005"/>
                  <a:pt x="81280" y="969010"/>
                  <a:pt x="151130" y="891540"/>
                </a:cubicBezTo>
                <a:cubicBezTo>
                  <a:pt x="361315" y="664210"/>
                  <a:pt x="648970" y="579120"/>
                  <a:pt x="753110" y="459105"/>
                </a:cubicBezTo>
                <a:close/>
                <a:moveTo>
                  <a:pt x="375285" y="473710"/>
                </a:moveTo>
                <a:cubicBezTo>
                  <a:pt x="427990" y="445135"/>
                  <a:pt x="498475" y="416560"/>
                  <a:pt x="551180" y="371475"/>
                </a:cubicBezTo>
                <a:cubicBezTo>
                  <a:pt x="710565" y="232410"/>
                  <a:pt x="622300" y="50800"/>
                  <a:pt x="583565" y="635"/>
                </a:cubicBezTo>
                <a:lnTo>
                  <a:pt x="575945" y="635"/>
                </a:lnTo>
                <a:cubicBezTo>
                  <a:pt x="667385" y="123190"/>
                  <a:pt x="661670" y="290195"/>
                  <a:pt x="522605" y="386715"/>
                </a:cubicBezTo>
                <a:cubicBezTo>
                  <a:pt x="345440" y="495300"/>
                  <a:pt x="124460" y="572770"/>
                  <a:pt x="21590" y="701040"/>
                </a:cubicBezTo>
                <a:cubicBezTo>
                  <a:pt x="16510" y="708025"/>
                  <a:pt x="7620" y="718185"/>
                  <a:pt x="635" y="728345"/>
                </a:cubicBezTo>
                <a:lnTo>
                  <a:pt x="635" y="739140"/>
                </a:lnTo>
                <a:cubicBezTo>
                  <a:pt x="71755" y="629285"/>
                  <a:pt x="204470" y="561340"/>
                  <a:pt x="375285" y="473710"/>
                </a:cubicBezTo>
                <a:close/>
                <a:moveTo>
                  <a:pt x="636905" y="381635"/>
                </a:moveTo>
                <a:cubicBezTo>
                  <a:pt x="725805" y="285750"/>
                  <a:pt x="728345" y="156845"/>
                  <a:pt x="680720" y="51435"/>
                </a:cubicBezTo>
                <a:cubicBezTo>
                  <a:pt x="675640" y="41275"/>
                  <a:pt x="664845" y="17145"/>
                  <a:pt x="652145" y="0"/>
                </a:cubicBezTo>
                <a:lnTo>
                  <a:pt x="648335" y="0"/>
                </a:lnTo>
                <a:cubicBezTo>
                  <a:pt x="735330" y="128270"/>
                  <a:pt x="734695" y="299720"/>
                  <a:pt x="603885" y="409575"/>
                </a:cubicBezTo>
                <a:cubicBezTo>
                  <a:pt x="536575" y="465455"/>
                  <a:pt x="459740" y="495300"/>
                  <a:pt x="379095" y="542290"/>
                </a:cubicBezTo>
                <a:cubicBezTo>
                  <a:pt x="232410" y="622300"/>
                  <a:pt x="66040" y="721995"/>
                  <a:pt x="635" y="862965"/>
                </a:cubicBezTo>
                <a:lnTo>
                  <a:pt x="635" y="868680"/>
                </a:lnTo>
                <a:cubicBezTo>
                  <a:pt x="24130" y="821055"/>
                  <a:pt x="55245" y="778510"/>
                  <a:pt x="95250" y="738505"/>
                </a:cubicBezTo>
                <a:cubicBezTo>
                  <a:pt x="262255" y="573405"/>
                  <a:pt x="559435" y="478790"/>
                  <a:pt x="636905" y="381635"/>
                </a:cubicBezTo>
                <a:close/>
                <a:moveTo>
                  <a:pt x="690245" y="426085"/>
                </a:moveTo>
                <a:cubicBezTo>
                  <a:pt x="779145" y="335280"/>
                  <a:pt x="803910" y="208280"/>
                  <a:pt x="760095" y="80645"/>
                </a:cubicBezTo>
                <a:cubicBezTo>
                  <a:pt x="750570" y="53340"/>
                  <a:pt x="737235" y="24765"/>
                  <a:pt x="721995" y="635"/>
                </a:cubicBezTo>
                <a:lnTo>
                  <a:pt x="718185" y="635"/>
                </a:lnTo>
                <a:cubicBezTo>
                  <a:pt x="817245" y="160655"/>
                  <a:pt x="791210" y="343535"/>
                  <a:pt x="655955" y="454025"/>
                </a:cubicBezTo>
                <a:cubicBezTo>
                  <a:pt x="592455" y="507365"/>
                  <a:pt x="492125" y="552450"/>
                  <a:pt x="414020" y="600075"/>
                </a:cubicBezTo>
                <a:cubicBezTo>
                  <a:pt x="243840" y="698500"/>
                  <a:pt x="67310" y="817880"/>
                  <a:pt x="0" y="1003935"/>
                </a:cubicBezTo>
                <a:lnTo>
                  <a:pt x="0" y="1010285"/>
                </a:lnTo>
                <a:cubicBezTo>
                  <a:pt x="28575" y="935355"/>
                  <a:pt x="70485" y="869950"/>
                  <a:pt x="127635" y="810895"/>
                </a:cubicBezTo>
                <a:cubicBezTo>
                  <a:pt x="318770" y="617220"/>
                  <a:pt x="596265" y="530860"/>
                  <a:pt x="690245" y="426085"/>
                </a:cubicBezTo>
                <a:close/>
                <a:moveTo>
                  <a:pt x="1072515" y="685165"/>
                </a:moveTo>
                <a:cubicBezTo>
                  <a:pt x="1295400" y="511175"/>
                  <a:pt x="1360805" y="260350"/>
                  <a:pt x="1281430" y="0"/>
                </a:cubicBezTo>
                <a:lnTo>
                  <a:pt x="1278890" y="0"/>
                </a:lnTo>
                <a:cubicBezTo>
                  <a:pt x="1283335" y="14605"/>
                  <a:pt x="1287780" y="30480"/>
                  <a:pt x="1292225" y="48895"/>
                </a:cubicBezTo>
                <a:cubicBezTo>
                  <a:pt x="1360171" y="342265"/>
                  <a:pt x="1240790" y="568960"/>
                  <a:pt x="1026795" y="715010"/>
                </a:cubicBezTo>
                <a:cubicBezTo>
                  <a:pt x="996950" y="735330"/>
                  <a:pt x="965200" y="755015"/>
                  <a:pt x="930910" y="773430"/>
                </a:cubicBezTo>
                <a:cubicBezTo>
                  <a:pt x="633095" y="923290"/>
                  <a:pt x="427355" y="1076325"/>
                  <a:pt x="296545" y="1253490"/>
                </a:cubicBezTo>
                <a:cubicBezTo>
                  <a:pt x="169545" y="1423670"/>
                  <a:pt x="81915" y="1652270"/>
                  <a:pt x="58420" y="1947545"/>
                </a:cubicBezTo>
                <a:lnTo>
                  <a:pt x="58420" y="1947545"/>
                </a:lnTo>
                <a:cubicBezTo>
                  <a:pt x="89535" y="1664335"/>
                  <a:pt x="157480" y="1457960"/>
                  <a:pt x="274320" y="1288415"/>
                </a:cubicBezTo>
                <a:cubicBezTo>
                  <a:pt x="538480" y="915670"/>
                  <a:pt x="917575" y="815975"/>
                  <a:pt x="1072515" y="685165"/>
                </a:cubicBezTo>
                <a:close/>
                <a:moveTo>
                  <a:pt x="1261746" y="1100455"/>
                </a:moveTo>
                <a:cubicBezTo>
                  <a:pt x="1405890" y="1049655"/>
                  <a:pt x="1545590" y="1003935"/>
                  <a:pt x="1668146" y="941070"/>
                </a:cubicBezTo>
                <a:cubicBezTo>
                  <a:pt x="2029460" y="764540"/>
                  <a:pt x="2357121" y="463550"/>
                  <a:pt x="2454275" y="30480"/>
                </a:cubicBezTo>
                <a:cubicBezTo>
                  <a:pt x="2457450" y="17780"/>
                  <a:pt x="2459355" y="7620"/>
                  <a:pt x="2460625" y="0"/>
                </a:cubicBezTo>
                <a:lnTo>
                  <a:pt x="2457450" y="0"/>
                </a:lnTo>
                <a:cubicBezTo>
                  <a:pt x="2456180" y="6350"/>
                  <a:pt x="2454275" y="14605"/>
                  <a:pt x="2452371" y="24765"/>
                </a:cubicBezTo>
                <a:cubicBezTo>
                  <a:pt x="2357121" y="457835"/>
                  <a:pt x="2030730" y="758825"/>
                  <a:pt x="1672590" y="935355"/>
                </a:cubicBezTo>
                <a:cubicBezTo>
                  <a:pt x="1526540" y="1012190"/>
                  <a:pt x="1343025" y="1062355"/>
                  <a:pt x="1177290" y="1130300"/>
                </a:cubicBezTo>
                <a:cubicBezTo>
                  <a:pt x="861695" y="1260475"/>
                  <a:pt x="494665" y="1511300"/>
                  <a:pt x="490855" y="1904365"/>
                </a:cubicBezTo>
                <a:cubicBezTo>
                  <a:pt x="490855" y="1917700"/>
                  <a:pt x="491490" y="1936115"/>
                  <a:pt x="492760" y="1946910"/>
                </a:cubicBezTo>
                <a:lnTo>
                  <a:pt x="495300" y="1946910"/>
                </a:lnTo>
                <a:cubicBezTo>
                  <a:pt x="488315" y="1867535"/>
                  <a:pt x="495935" y="1724025"/>
                  <a:pt x="598805" y="1564005"/>
                </a:cubicBezTo>
                <a:cubicBezTo>
                  <a:pt x="752475" y="1337310"/>
                  <a:pt x="993775" y="1203325"/>
                  <a:pt x="1261746" y="1100455"/>
                </a:cubicBezTo>
                <a:close/>
                <a:moveTo>
                  <a:pt x="3233421" y="1169035"/>
                </a:moveTo>
                <a:cubicBezTo>
                  <a:pt x="3033396" y="1410335"/>
                  <a:pt x="2895600" y="1665605"/>
                  <a:pt x="2762885" y="1939925"/>
                </a:cubicBezTo>
                <a:cubicBezTo>
                  <a:pt x="2761615" y="1943100"/>
                  <a:pt x="2760346" y="1945640"/>
                  <a:pt x="2759075" y="1948180"/>
                </a:cubicBezTo>
                <a:lnTo>
                  <a:pt x="2764790" y="1948180"/>
                </a:lnTo>
                <a:cubicBezTo>
                  <a:pt x="2765425" y="1946910"/>
                  <a:pt x="2766060" y="1945005"/>
                  <a:pt x="2766696" y="1943735"/>
                </a:cubicBezTo>
                <a:cubicBezTo>
                  <a:pt x="2859405" y="1745615"/>
                  <a:pt x="2999105" y="1496695"/>
                  <a:pt x="3093085" y="1363345"/>
                </a:cubicBezTo>
                <a:cubicBezTo>
                  <a:pt x="3221990" y="1179830"/>
                  <a:pt x="3346450" y="1032510"/>
                  <a:pt x="3463290" y="963930"/>
                </a:cubicBezTo>
                <a:lnTo>
                  <a:pt x="3463290" y="956945"/>
                </a:lnTo>
                <a:cubicBezTo>
                  <a:pt x="3441700" y="969010"/>
                  <a:pt x="3416300" y="988060"/>
                  <a:pt x="3392805" y="1006475"/>
                </a:cubicBezTo>
                <a:cubicBezTo>
                  <a:pt x="3333115" y="1055370"/>
                  <a:pt x="3291840" y="1099185"/>
                  <a:pt x="3233421" y="1169035"/>
                </a:cubicBezTo>
                <a:close/>
                <a:moveTo>
                  <a:pt x="3232785" y="1331595"/>
                </a:moveTo>
                <a:cubicBezTo>
                  <a:pt x="3065780" y="1509395"/>
                  <a:pt x="2956560" y="1699260"/>
                  <a:pt x="2855596" y="1948180"/>
                </a:cubicBezTo>
                <a:lnTo>
                  <a:pt x="2858135" y="1948180"/>
                </a:lnTo>
                <a:cubicBezTo>
                  <a:pt x="2929255" y="1765935"/>
                  <a:pt x="3058160" y="1532890"/>
                  <a:pt x="3148330" y="1432560"/>
                </a:cubicBezTo>
                <a:cubicBezTo>
                  <a:pt x="3253740" y="1311275"/>
                  <a:pt x="3355975" y="1188085"/>
                  <a:pt x="3462655" y="1108710"/>
                </a:cubicBezTo>
                <a:lnTo>
                  <a:pt x="3462655" y="1106805"/>
                </a:lnTo>
                <a:cubicBezTo>
                  <a:pt x="3380105" y="1161415"/>
                  <a:pt x="3317240" y="1238885"/>
                  <a:pt x="3232785" y="1331595"/>
                </a:cubicBezTo>
                <a:close/>
                <a:moveTo>
                  <a:pt x="3216910" y="1617345"/>
                </a:moveTo>
                <a:cubicBezTo>
                  <a:pt x="3136265" y="1691640"/>
                  <a:pt x="3060700" y="1838325"/>
                  <a:pt x="3065146" y="1939925"/>
                </a:cubicBezTo>
                <a:cubicBezTo>
                  <a:pt x="3065780" y="1941830"/>
                  <a:pt x="3065146" y="1945005"/>
                  <a:pt x="3065146" y="1948180"/>
                </a:cubicBezTo>
                <a:lnTo>
                  <a:pt x="3068955" y="1948180"/>
                </a:lnTo>
                <a:cubicBezTo>
                  <a:pt x="3068321" y="1941195"/>
                  <a:pt x="3066415" y="1932305"/>
                  <a:pt x="3067685" y="1925320"/>
                </a:cubicBezTo>
                <a:cubicBezTo>
                  <a:pt x="3068955" y="1879600"/>
                  <a:pt x="3084196" y="1825625"/>
                  <a:pt x="3110865" y="1769110"/>
                </a:cubicBezTo>
                <a:cubicBezTo>
                  <a:pt x="3162935" y="1659890"/>
                  <a:pt x="3228975" y="1599565"/>
                  <a:pt x="3328035" y="1538605"/>
                </a:cubicBezTo>
                <a:cubicBezTo>
                  <a:pt x="3382646" y="1497965"/>
                  <a:pt x="3422015" y="1465580"/>
                  <a:pt x="3462655" y="1428115"/>
                </a:cubicBezTo>
                <a:lnTo>
                  <a:pt x="3462655" y="1424305"/>
                </a:lnTo>
                <a:cubicBezTo>
                  <a:pt x="3458210" y="1428115"/>
                  <a:pt x="3454400" y="1431925"/>
                  <a:pt x="3450590" y="1435100"/>
                </a:cubicBezTo>
                <a:cubicBezTo>
                  <a:pt x="3343910" y="1536065"/>
                  <a:pt x="3260090" y="1574165"/>
                  <a:pt x="3216910" y="1617345"/>
                </a:cubicBezTo>
                <a:close/>
                <a:moveTo>
                  <a:pt x="3391535" y="1827530"/>
                </a:moveTo>
                <a:cubicBezTo>
                  <a:pt x="3367405" y="1853565"/>
                  <a:pt x="3348990" y="1916430"/>
                  <a:pt x="3357246" y="1948180"/>
                </a:cubicBezTo>
                <a:lnTo>
                  <a:pt x="3359785" y="1948180"/>
                </a:lnTo>
                <a:cubicBezTo>
                  <a:pt x="3356610" y="1911985"/>
                  <a:pt x="3364230" y="1875790"/>
                  <a:pt x="3382010" y="1845945"/>
                </a:cubicBezTo>
                <a:cubicBezTo>
                  <a:pt x="3405505" y="1807845"/>
                  <a:pt x="3430905" y="1797050"/>
                  <a:pt x="3463290" y="1789430"/>
                </a:cubicBezTo>
                <a:lnTo>
                  <a:pt x="3463290" y="1785620"/>
                </a:lnTo>
                <a:cubicBezTo>
                  <a:pt x="3435350" y="1790065"/>
                  <a:pt x="3409315" y="1807210"/>
                  <a:pt x="3391535" y="1827530"/>
                </a:cubicBezTo>
                <a:close/>
                <a:moveTo>
                  <a:pt x="3284855" y="1677670"/>
                </a:moveTo>
                <a:cubicBezTo>
                  <a:pt x="3206750" y="1738630"/>
                  <a:pt x="3156585" y="1859915"/>
                  <a:pt x="3166110" y="1948180"/>
                </a:cubicBezTo>
                <a:lnTo>
                  <a:pt x="3168650" y="1948180"/>
                </a:lnTo>
                <a:cubicBezTo>
                  <a:pt x="3163571" y="1898015"/>
                  <a:pt x="3176905" y="1837055"/>
                  <a:pt x="3204846" y="1782445"/>
                </a:cubicBezTo>
                <a:cubicBezTo>
                  <a:pt x="3278505" y="1638300"/>
                  <a:pt x="3375025" y="1647190"/>
                  <a:pt x="3463290" y="1586230"/>
                </a:cubicBezTo>
                <a:lnTo>
                  <a:pt x="3463290" y="1582420"/>
                </a:lnTo>
                <a:cubicBezTo>
                  <a:pt x="3463290" y="1582420"/>
                  <a:pt x="3463290" y="1582420"/>
                  <a:pt x="3463290" y="1582420"/>
                </a:cubicBezTo>
                <a:cubicBezTo>
                  <a:pt x="3405505" y="1623695"/>
                  <a:pt x="3324860" y="1642745"/>
                  <a:pt x="3284855" y="1677670"/>
                </a:cubicBezTo>
                <a:close/>
                <a:moveTo>
                  <a:pt x="3277235" y="1837055"/>
                </a:moveTo>
                <a:cubicBezTo>
                  <a:pt x="3263900" y="1871345"/>
                  <a:pt x="3258185" y="1908810"/>
                  <a:pt x="3261360" y="1945005"/>
                </a:cubicBezTo>
                <a:cubicBezTo>
                  <a:pt x="3261360" y="1945640"/>
                  <a:pt x="3261360" y="1946910"/>
                  <a:pt x="3261996" y="1948180"/>
                </a:cubicBezTo>
                <a:lnTo>
                  <a:pt x="3267075" y="1948180"/>
                </a:lnTo>
                <a:cubicBezTo>
                  <a:pt x="3267075" y="1947545"/>
                  <a:pt x="3267075" y="1947545"/>
                  <a:pt x="3267075" y="1946910"/>
                </a:cubicBezTo>
                <a:cubicBezTo>
                  <a:pt x="3258821" y="1864995"/>
                  <a:pt x="3299460" y="1768475"/>
                  <a:pt x="3375660" y="1731010"/>
                </a:cubicBezTo>
                <a:cubicBezTo>
                  <a:pt x="3399790" y="1718310"/>
                  <a:pt x="3434715" y="1715135"/>
                  <a:pt x="3463290" y="1708785"/>
                </a:cubicBezTo>
                <a:lnTo>
                  <a:pt x="3463290" y="1703070"/>
                </a:lnTo>
                <a:cubicBezTo>
                  <a:pt x="3440430" y="1708150"/>
                  <a:pt x="3415030" y="1711325"/>
                  <a:pt x="3393440" y="1717675"/>
                </a:cubicBezTo>
                <a:cubicBezTo>
                  <a:pt x="3341371" y="1734185"/>
                  <a:pt x="3296921" y="1783715"/>
                  <a:pt x="3277235" y="1837055"/>
                </a:cubicBezTo>
                <a:close/>
                <a:moveTo>
                  <a:pt x="2953385" y="1438910"/>
                </a:moveTo>
                <a:cubicBezTo>
                  <a:pt x="2814321" y="1683385"/>
                  <a:pt x="2722246" y="1843405"/>
                  <a:pt x="2665096" y="1948180"/>
                </a:cubicBezTo>
                <a:lnTo>
                  <a:pt x="2665730" y="1948180"/>
                </a:lnTo>
                <a:cubicBezTo>
                  <a:pt x="2766696" y="1779905"/>
                  <a:pt x="2907030" y="1519555"/>
                  <a:pt x="3039746" y="1292860"/>
                </a:cubicBezTo>
                <a:cubicBezTo>
                  <a:pt x="3157221" y="1090930"/>
                  <a:pt x="3305175" y="905510"/>
                  <a:pt x="3462655" y="820420"/>
                </a:cubicBezTo>
                <a:lnTo>
                  <a:pt x="3462655" y="817245"/>
                </a:lnTo>
                <a:cubicBezTo>
                  <a:pt x="3453130" y="822325"/>
                  <a:pt x="3442335" y="829310"/>
                  <a:pt x="3433446" y="833755"/>
                </a:cubicBezTo>
                <a:cubicBezTo>
                  <a:pt x="3241040" y="955675"/>
                  <a:pt x="3099435" y="1175385"/>
                  <a:pt x="2953385" y="1438910"/>
                </a:cubicBezTo>
                <a:close/>
                <a:moveTo>
                  <a:pt x="2828290" y="846455"/>
                </a:moveTo>
                <a:cubicBezTo>
                  <a:pt x="2789555" y="960755"/>
                  <a:pt x="2766060" y="1068705"/>
                  <a:pt x="2713355" y="1180465"/>
                </a:cubicBezTo>
                <a:cubicBezTo>
                  <a:pt x="2584450" y="1471930"/>
                  <a:pt x="2338071" y="1789430"/>
                  <a:pt x="2098040" y="1948180"/>
                </a:cubicBezTo>
                <a:lnTo>
                  <a:pt x="2104390" y="1948180"/>
                </a:lnTo>
                <a:cubicBezTo>
                  <a:pt x="2118996" y="1939290"/>
                  <a:pt x="2133600" y="1925955"/>
                  <a:pt x="2149475" y="1915795"/>
                </a:cubicBezTo>
                <a:cubicBezTo>
                  <a:pt x="2368550" y="1748155"/>
                  <a:pt x="2565400" y="1492250"/>
                  <a:pt x="2693671" y="1228725"/>
                </a:cubicBezTo>
                <a:cubicBezTo>
                  <a:pt x="2781300" y="1054735"/>
                  <a:pt x="2800350" y="908685"/>
                  <a:pt x="2856865" y="780415"/>
                </a:cubicBezTo>
                <a:cubicBezTo>
                  <a:pt x="2975610" y="497205"/>
                  <a:pt x="3220085" y="230505"/>
                  <a:pt x="3462655" y="125730"/>
                </a:cubicBezTo>
                <a:lnTo>
                  <a:pt x="3462655" y="124460"/>
                </a:lnTo>
                <a:cubicBezTo>
                  <a:pt x="3194685" y="229235"/>
                  <a:pt x="2924810" y="564515"/>
                  <a:pt x="2828290" y="846455"/>
                </a:cubicBezTo>
                <a:close/>
                <a:moveTo>
                  <a:pt x="2940685" y="968375"/>
                </a:moveTo>
                <a:cubicBezTo>
                  <a:pt x="2904490" y="1043940"/>
                  <a:pt x="2884171" y="1115060"/>
                  <a:pt x="2855596" y="1181100"/>
                </a:cubicBezTo>
                <a:cubicBezTo>
                  <a:pt x="2752725" y="1428115"/>
                  <a:pt x="2547621" y="1745615"/>
                  <a:pt x="2354580" y="1946275"/>
                </a:cubicBezTo>
                <a:cubicBezTo>
                  <a:pt x="2353946" y="1946910"/>
                  <a:pt x="2353310" y="1947545"/>
                  <a:pt x="2352675" y="1948180"/>
                </a:cubicBezTo>
                <a:lnTo>
                  <a:pt x="2354580" y="1948180"/>
                </a:lnTo>
                <a:cubicBezTo>
                  <a:pt x="2411096" y="1895475"/>
                  <a:pt x="2468246" y="1821815"/>
                  <a:pt x="2530475" y="1741170"/>
                </a:cubicBezTo>
                <a:cubicBezTo>
                  <a:pt x="2860040" y="1287780"/>
                  <a:pt x="2863850" y="1127760"/>
                  <a:pt x="2952750" y="949325"/>
                </a:cubicBezTo>
                <a:cubicBezTo>
                  <a:pt x="3054985" y="734695"/>
                  <a:pt x="3258821" y="491490"/>
                  <a:pt x="3463290" y="404495"/>
                </a:cubicBezTo>
                <a:lnTo>
                  <a:pt x="3463290" y="401320"/>
                </a:lnTo>
                <a:cubicBezTo>
                  <a:pt x="3246121" y="494665"/>
                  <a:pt x="3044190" y="744220"/>
                  <a:pt x="2940685" y="968375"/>
                </a:cubicBezTo>
                <a:close/>
                <a:moveTo>
                  <a:pt x="2931796" y="800100"/>
                </a:moveTo>
                <a:cubicBezTo>
                  <a:pt x="2886710" y="881380"/>
                  <a:pt x="2845435" y="1006475"/>
                  <a:pt x="2824480" y="1073150"/>
                </a:cubicBezTo>
                <a:cubicBezTo>
                  <a:pt x="2800985" y="1139825"/>
                  <a:pt x="2772410" y="1207135"/>
                  <a:pt x="2738121" y="1276350"/>
                </a:cubicBezTo>
                <a:cubicBezTo>
                  <a:pt x="2648585" y="1453515"/>
                  <a:pt x="2555875" y="1593215"/>
                  <a:pt x="2427605" y="1746250"/>
                </a:cubicBezTo>
                <a:cubicBezTo>
                  <a:pt x="2358390" y="1828165"/>
                  <a:pt x="2289810" y="1896745"/>
                  <a:pt x="2228850" y="1947545"/>
                </a:cubicBezTo>
                <a:lnTo>
                  <a:pt x="2237740" y="1947545"/>
                </a:lnTo>
                <a:cubicBezTo>
                  <a:pt x="2239010" y="1946275"/>
                  <a:pt x="2240280" y="1945005"/>
                  <a:pt x="2242185" y="1943735"/>
                </a:cubicBezTo>
                <a:cubicBezTo>
                  <a:pt x="2452371" y="1760220"/>
                  <a:pt x="2644775" y="1490980"/>
                  <a:pt x="2770505" y="1220470"/>
                </a:cubicBezTo>
                <a:cubicBezTo>
                  <a:pt x="2823846" y="1114425"/>
                  <a:pt x="2855596" y="966470"/>
                  <a:pt x="2919730" y="836295"/>
                </a:cubicBezTo>
                <a:cubicBezTo>
                  <a:pt x="3041650" y="581660"/>
                  <a:pt x="3267075" y="346710"/>
                  <a:pt x="3463290" y="267335"/>
                </a:cubicBezTo>
                <a:lnTo>
                  <a:pt x="3463290" y="261620"/>
                </a:lnTo>
                <a:cubicBezTo>
                  <a:pt x="3247390" y="348615"/>
                  <a:pt x="3039110" y="591185"/>
                  <a:pt x="2931796" y="800100"/>
                </a:cubicBezTo>
                <a:close/>
                <a:moveTo>
                  <a:pt x="3079750" y="1060450"/>
                </a:moveTo>
                <a:cubicBezTo>
                  <a:pt x="3014346" y="1162050"/>
                  <a:pt x="2974975" y="1257300"/>
                  <a:pt x="2929255" y="1341755"/>
                </a:cubicBezTo>
                <a:cubicBezTo>
                  <a:pt x="2837180" y="1518920"/>
                  <a:pt x="2684146" y="1772285"/>
                  <a:pt x="2568575" y="1948180"/>
                </a:cubicBezTo>
                <a:lnTo>
                  <a:pt x="2571750" y="1948180"/>
                </a:lnTo>
                <a:cubicBezTo>
                  <a:pt x="2600960" y="1904365"/>
                  <a:pt x="2631440" y="1856740"/>
                  <a:pt x="2665096" y="1804035"/>
                </a:cubicBezTo>
                <a:cubicBezTo>
                  <a:pt x="2826385" y="1550035"/>
                  <a:pt x="2929890" y="1349375"/>
                  <a:pt x="3037840" y="1136650"/>
                </a:cubicBezTo>
                <a:cubicBezTo>
                  <a:pt x="3132455" y="966470"/>
                  <a:pt x="3296921" y="760730"/>
                  <a:pt x="3463925" y="681355"/>
                </a:cubicBezTo>
                <a:lnTo>
                  <a:pt x="3463925" y="678180"/>
                </a:lnTo>
                <a:cubicBezTo>
                  <a:pt x="3321050" y="742950"/>
                  <a:pt x="3167380" y="920115"/>
                  <a:pt x="3079750" y="1060450"/>
                </a:cubicBezTo>
                <a:close/>
                <a:moveTo>
                  <a:pt x="2969260" y="1089025"/>
                </a:moveTo>
                <a:cubicBezTo>
                  <a:pt x="2854325" y="1372235"/>
                  <a:pt x="2668271" y="1689735"/>
                  <a:pt x="2463800" y="1948180"/>
                </a:cubicBezTo>
                <a:lnTo>
                  <a:pt x="2467610" y="1948180"/>
                </a:lnTo>
                <a:cubicBezTo>
                  <a:pt x="2507615" y="1898015"/>
                  <a:pt x="2551430" y="1838960"/>
                  <a:pt x="2597150" y="1772285"/>
                </a:cubicBezTo>
                <a:cubicBezTo>
                  <a:pt x="2827021" y="1434465"/>
                  <a:pt x="2874010" y="1306195"/>
                  <a:pt x="2993390" y="1047115"/>
                </a:cubicBezTo>
                <a:cubicBezTo>
                  <a:pt x="3103880" y="831850"/>
                  <a:pt x="3278505" y="632460"/>
                  <a:pt x="3463290" y="541020"/>
                </a:cubicBezTo>
                <a:lnTo>
                  <a:pt x="3463290" y="539750"/>
                </a:lnTo>
                <a:cubicBezTo>
                  <a:pt x="3260090" y="629920"/>
                  <a:pt x="3067685" y="878840"/>
                  <a:pt x="2969260" y="1089025"/>
                </a:cubicBezTo>
                <a:close/>
                <a:moveTo>
                  <a:pt x="3280410" y="1435100"/>
                </a:moveTo>
                <a:cubicBezTo>
                  <a:pt x="3241675" y="1473200"/>
                  <a:pt x="3198496" y="1507490"/>
                  <a:pt x="3166110" y="1541780"/>
                </a:cubicBezTo>
                <a:cubicBezTo>
                  <a:pt x="3075940" y="1634490"/>
                  <a:pt x="2959735" y="1823720"/>
                  <a:pt x="2961640" y="1946275"/>
                </a:cubicBezTo>
                <a:cubicBezTo>
                  <a:pt x="2961640" y="1946910"/>
                  <a:pt x="2961640" y="1947545"/>
                  <a:pt x="2961640" y="1948180"/>
                </a:cubicBezTo>
                <a:lnTo>
                  <a:pt x="2964815" y="1948180"/>
                </a:lnTo>
                <a:cubicBezTo>
                  <a:pt x="2962275" y="1902460"/>
                  <a:pt x="2981960" y="1834515"/>
                  <a:pt x="3020696" y="1757045"/>
                </a:cubicBezTo>
                <a:cubicBezTo>
                  <a:pt x="3079115" y="1640840"/>
                  <a:pt x="3152775" y="1550670"/>
                  <a:pt x="3245485" y="1472565"/>
                </a:cubicBezTo>
                <a:cubicBezTo>
                  <a:pt x="3317875" y="1405890"/>
                  <a:pt x="3394710" y="1325245"/>
                  <a:pt x="3464560" y="1264285"/>
                </a:cubicBezTo>
                <a:lnTo>
                  <a:pt x="3464560" y="1261110"/>
                </a:lnTo>
                <a:cubicBezTo>
                  <a:pt x="3461385" y="1263650"/>
                  <a:pt x="3458210" y="1266190"/>
                  <a:pt x="3455035" y="1268730"/>
                </a:cubicBezTo>
                <a:cubicBezTo>
                  <a:pt x="3395980" y="1318260"/>
                  <a:pt x="3334385" y="1384300"/>
                  <a:pt x="3280410" y="1435100"/>
                </a:cubicBezTo>
                <a:close/>
                <a:moveTo>
                  <a:pt x="1610996" y="1073150"/>
                </a:moveTo>
                <a:cubicBezTo>
                  <a:pt x="1682115" y="1026795"/>
                  <a:pt x="1774190" y="989965"/>
                  <a:pt x="1901825" y="917575"/>
                </a:cubicBezTo>
                <a:cubicBezTo>
                  <a:pt x="2447290" y="601345"/>
                  <a:pt x="2646046" y="154305"/>
                  <a:pt x="2706371" y="635"/>
                </a:cubicBezTo>
                <a:lnTo>
                  <a:pt x="2706371" y="635"/>
                </a:lnTo>
                <a:cubicBezTo>
                  <a:pt x="2609850" y="215900"/>
                  <a:pt x="2390140" y="692150"/>
                  <a:pt x="1736090" y="1001395"/>
                </a:cubicBezTo>
                <a:cubicBezTo>
                  <a:pt x="1707515" y="1015365"/>
                  <a:pt x="1680210" y="1029970"/>
                  <a:pt x="1652271" y="1045845"/>
                </a:cubicBezTo>
                <a:cubicBezTo>
                  <a:pt x="1356996" y="1212215"/>
                  <a:pt x="1123950" y="1468120"/>
                  <a:pt x="958850" y="1791335"/>
                </a:cubicBezTo>
                <a:cubicBezTo>
                  <a:pt x="930910" y="1847850"/>
                  <a:pt x="901700" y="1903095"/>
                  <a:pt x="885190" y="1948180"/>
                </a:cubicBezTo>
                <a:lnTo>
                  <a:pt x="886460" y="1948180"/>
                </a:lnTo>
                <a:cubicBezTo>
                  <a:pt x="942340" y="1832610"/>
                  <a:pt x="1014095" y="1671955"/>
                  <a:pt x="1136015" y="1510665"/>
                </a:cubicBezTo>
                <a:cubicBezTo>
                  <a:pt x="1267460" y="1332230"/>
                  <a:pt x="1424305" y="1186815"/>
                  <a:pt x="1610996" y="1073150"/>
                </a:cubicBezTo>
                <a:close/>
                <a:moveTo>
                  <a:pt x="1993900" y="906145"/>
                </a:moveTo>
                <a:cubicBezTo>
                  <a:pt x="2491740" y="576580"/>
                  <a:pt x="2688590" y="190500"/>
                  <a:pt x="2791460" y="0"/>
                </a:cubicBezTo>
                <a:lnTo>
                  <a:pt x="2787015" y="0"/>
                </a:lnTo>
                <a:cubicBezTo>
                  <a:pt x="2724150" y="110490"/>
                  <a:pt x="2709546" y="142240"/>
                  <a:pt x="2641600" y="248285"/>
                </a:cubicBezTo>
                <a:cubicBezTo>
                  <a:pt x="2512060" y="447040"/>
                  <a:pt x="2298065" y="712470"/>
                  <a:pt x="1945640" y="930275"/>
                </a:cubicBezTo>
                <a:cubicBezTo>
                  <a:pt x="1729105" y="1054100"/>
                  <a:pt x="1616710" y="1134110"/>
                  <a:pt x="1475740" y="1275080"/>
                </a:cubicBezTo>
                <a:cubicBezTo>
                  <a:pt x="1257935" y="1492885"/>
                  <a:pt x="1117600" y="1745615"/>
                  <a:pt x="1018540" y="1939925"/>
                </a:cubicBezTo>
                <a:cubicBezTo>
                  <a:pt x="1017270" y="1942465"/>
                  <a:pt x="1016000" y="1945005"/>
                  <a:pt x="1014095" y="1947545"/>
                </a:cubicBezTo>
                <a:lnTo>
                  <a:pt x="1020445" y="1947545"/>
                </a:lnTo>
                <a:cubicBezTo>
                  <a:pt x="1020445" y="1946910"/>
                  <a:pt x="1021080" y="1946275"/>
                  <a:pt x="1021080" y="1945640"/>
                </a:cubicBezTo>
                <a:cubicBezTo>
                  <a:pt x="1361440" y="1257935"/>
                  <a:pt x="1713230" y="1073785"/>
                  <a:pt x="1993900" y="906145"/>
                </a:cubicBezTo>
                <a:close/>
                <a:moveTo>
                  <a:pt x="2329815" y="1649095"/>
                </a:moveTo>
                <a:cubicBezTo>
                  <a:pt x="2762885" y="1156970"/>
                  <a:pt x="2713355" y="883285"/>
                  <a:pt x="2832100" y="643890"/>
                </a:cubicBezTo>
                <a:cubicBezTo>
                  <a:pt x="2945130" y="386080"/>
                  <a:pt x="3192780" y="109220"/>
                  <a:pt x="3435985" y="0"/>
                </a:cubicBezTo>
                <a:lnTo>
                  <a:pt x="3429000" y="0"/>
                </a:lnTo>
                <a:cubicBezTo>
                  <a:pt x="3360421" y="28575"/>
                  <a:pt x="3284221" y="85090"/>
                  <a:pt x="3228975" y="128270"/>
                </a:cubicBezTo>
                <a:cubicBezTo>
                  <a:pt x="3028315" y="290195"/>
                  <a:pt x="2857500" y="525780"/>
                  <a:pt x="2775585" y="784860"/>
                </a:cubicBezTo>
                <a:cubicBezTo>
                  <a:pt x="2734310" y="935990"/>
                  <a:pt x="2700021" y="1075055"/>
                  <a:pt x="2625725" y="1216660"/>
                </a:cubicBezTo>
                <a:cubicBezTo>
                  <a:pt x="2484755" y="1506220"/>
                  <a:pt x="2204085" y="1824990"/>
                  <a:pt x="1950085" y="1947545"/>
                </a:cubicBezTo>
                <a:lnTo>
                  <a:pt x="1954530" y="1947545"/>
                </a:lnTo>
                <a:cubicBezTo>
                  <a:pt x="2065655" y="1899920"/>
                  <a:pt x="2219960" y="1768475"/>
                  <a:pt x="2329815" y="1649095"/>
                </a:cubicBezTo>
                <a:close/>
                <a:moveTo>
                  <a:pt x="2124075" y="863600"/>
                </a:moveTo>
                <a:cubicBezTo>
                  <a:pt x="2499996" y="572135"/>
                  <a:pt x="2682875" y="287655"/>
                  <a:pt x="2873375" y="0"/>
                </a:cubicBezTo>
                <a:lnTo>
                  <a:pt x="2869565" y="0"/>
                </a:lnTo>
                <a:cubicBezTo>
                  <a:pt x="2856230" y="19050"/>
                  <a:pt x="2840355" y="43180"/>
                  <a:pt x="2821305" y="73025"/>
                </a:cubicBezTo>
                <a:cubicBezTo>
                  <a:pt x="2560955" y="481965"/>
                  <a:pt x="2299971" y="756285"/>
                  <a:pt x="1915796" y="1007745"/>
                </a:cubicBezTo>
                <a:cubicBezTo>
                  <a:pt x="1550035" y="1270635"/>
                  <a:pt x="1331596" y="1624965"/>
                  <a:pt x="1144271" y="1947545"/>
                </a:cubicBezTo>
                <a:lnTo>
                  <a:pt x="1147446" y="1947545"/>
                </a:lnTo>
                <a:cubicBezTo>
                  <a:pt x="1159510" y="1927225"/>
                  <a:pt x="1172210" y="1906270"/>
                  <a:pt x="1185546" y="1883410"/>
                </a:cubicBezTo>
                <a:cubicBezTo>
                  <a:pt x="1607821" y="1151255"/>
                  <a:pt x="1903096" y="1035685"/>
                  <a:pt x="2124075" y="863600"/>
                </a:cubicBezTo>
                <a:close/>
                <a:moveTo>
                  <a:pt x="1897380" y="883285"/>
                </a:moveTo>
                <a:cubicBezTo>
                  <a:pt x="2282825" y="659130"/>
                  <a:pt x="2513330" y="342265"/>
                  <a:pt x="2626996" y="635"/>
                </a:cubicBezTo>
                <a:lnTo>
                  <a:pt x="2624455" y="635"/>
                </a:lnTo>
                <a:cubicBezTo>
                  <a:pt x="2618740" y="16510"/>
                  <a:pt x="2616835" y="22225"/>
                  <a:pt x="2611755" y="37465"/>
                </a:cubicBezTo>
                <a:cubicBezTo>
                  <a:pt x="2470785" y="432435"/>
                  <a:pt x="2189480" y="727075"/>
                  <a:pt x="1833246" y="916940"/>
                </a:cubicBezTo>
                <a:cubicBezTo>
                  <a:pt x="1715771" y="981710"/>
                  <a:pt x="1581785" y="1025525"/>
                  <a:pt x="1470660" y="1089660"/>
                </a:cubicBezTo>
                <a:cubicBezTo>
                  <a:pt x="1137285" y="1274445"/>
                  <a:pt x="910590" y="1557655"/>
                  <a:pt x="771525" y="1899920"/>
                </a:cubicBezTo>
                <a:cubicBezTo>
                  <a:pt x="764540" y="1917065"/>
                  <a:pt x="758190" y="1932940"/>
                  <a:pt x="751840" y="1948815"/>
                </a:cubicBezTo>
                <a:lnTo>
                  <a:pt x="754380" y="1948815"/>
                </a:lnTo>
                <a:cubicBezTo>
                  <a:pt x="798830" y="1838325"/>
                  <a:pt x="861060" y="1692275"/>
                  <a:pt x="965835" y="1544955"/>
                </a:cubicBezTo>
                <a:cubicBezTo>
                  <a:pt x="1308735" y="1069975"/>
                  <a:pt x="1666875" y="1028700"/>
                  <a:pt x="1897380" y="883285"/>
                </a:cubicBezTo>
                <a:close/>
                <a:moveTo>
                  <a:pt x="1822450" y="892810"/>
                </a:moveTo>
                <a:cubicBezTo>
                  <a:pt x="2157096" y="714375"/>
                  <a:pt x="2433321" y="420370"/>
                  <a:pt x="2538096" y="23495"/>
                </a:cubicBezTo>
                <a:cubicBezTo>
                  <a:pt x="2541271" y="13335"/>
                  <a:pt x="2543175" y="5715"/>
                  <a:pt x="2544446" y="0"/>
                </a:cubicBezTo>
                <a:lnTo>
                  <a:pt x="2541271" y="0"/>
                </a:lnTo>
                <a:cubicBezTo>
                  <a:pt x="2540000" y="3810"/>
                  <a:pt x="2538730" y="8255"/>
                  <a:pt x="2537460" y="13970"/>
                </a:cubicBezTo>
                <a:cubicBezTo>
                  <a:pt x="2429510" y="428625"/>
                  <a:pt x="2138680" y="735330"/>
                  <a:pt x="1762760" y="920115"/>
                </a:cubicBezTo>
                <a:cubicBezTo>
                  <a:pt x="1629410" y="989330"/>
                  <a:pt x="1470025" y="1031240"/>
                  <a:pt x="1341755" y="1097915"/>
                </a:cubicBezTo>
                <a:cubicBezTo>
                  <a:pt x="995680" y="1270635"/>
                  <a:pt x="756920" y="1551940"/>
                  <a:pt x="630555" y="1906905"/>
                </a:cubicBezTo>
                <a:cubicBezTo>
                  <a:pt x="625475" y="1920875"/>
                  <a:pt x="621030" y="1934210"/>
                  <a:pt x="616585" y="1947545"/>
                </a:cubicBezTo>
                <a:lnTo>
                  <a:pt x="619125" y="1947545"/>
                </a:lnTo>
                <a:cubicBezTo>
                  <a:pt x="655320" y="1844675"/>
                  <a:pt x="706755" y="1712595"/>
                  <a:pt x="796290" y="1579245"/>
                </a:cubicBezTo>
                <a:cubicBezTo>
                  <a:pt x="1151255" y="1065530"/>
                  <a:pt x="1550035" y="1052195"/>
                  <a:pt x="1822450" y="892810"/>
                </a:cubicBezTo>
                <a:close/>
                <a:moveTo>
                  <a:pt x="2179955" y="880745"/>
                </a:moveTo>
                <a:cubicBezTo>
                  <a:pt x="2495550" y="612140"/>
                  <a:pt x="2707640" y="328930"/>
                  <a:pt x="2842896" y="146685"/>
                </a:cubicBezTo>
                <a:cubicBezTo>
                  <a:pt x="2870200" y="109855"/>
                  <a:pt x="2926715" y="33020"/>
                  <a:pt x="2954655" y="0"/>
                </a:cubicBezTo>
                <a:lnTo>
                  <a:pt x="2951480" y="0"/>
                </a:lnTo>
                <a:cubicBezTo>
                  <a:pt x="2948305" y="3810"/>
                  <a:pt x="2944496" y="8255"/>
                  <a:pt x="2940685" y="12700"/>
                </a:cubicBezTo>
                <a:cubicBezTo>
                  <a:pt x="2723515" y="294005"/>
                  <a:pt x="2573021" y="532130"/>
                  <a:pt x="2193925" y="864870"/>
                </a:cubicBezTo>
                <a:cubicBezTo>
                  <a:pt x="1718946" y="1234440"/>
                  <a:pt x="1551940" y="1527810"/>
                  <a:pt x="1270635" y="1947545"/>
                </a:cubicBezTo>
                <a:lnTo>
                  <a:pt x="1273810" y="1947545"/>
                </a:lnTo>
                <a:cubicBezTo>
                  <a:pt x="1274446" y="1946910"/>
                  <a:pt x="1274446" y="1946275"/>
                  <a:pt x="1275080" y="1945640"/>
                </a:cubicBezTo>
                <a:cubicBezTo>
                  <a:pt x="1303021" y="1905635"/>
                  <a:pt x="1332865" y="1859280"/>
                  <a:pt x="1367155" y="1807210"/>
                </a:cubicBezTo>
                <a:cubicBezTo>
                  <a:pt x="1623696" y="1408430"/>
                  <a:pt x="1842135" y="1140460"/>
                  <a:pt x="2179955" y="880745"/>
                </a:cubicBezTo>
                <a:close/>
                <a:moveTo>
                  <a:pt x="2309496" y="835660"/>
                </a:moveTo>
                <a:cubicBezTo>
                  <a:pt x="2542540" y="599440"/>
                  <a:pt x="2703830" y="398145"/>
                  <a:pt x="2859405" y="206375"/>
                </a:cubicBezTo>
                <a:cubicBezTo>
                  <a:pt x="2934335" y="113665"/>
                  <a:pt x="2993390" y="42545"/>
                  <a:pt x="3035300" y="635"/>
                </a:cubicBezTo>
                <a:cubicBezTo>
                  <a:pt x="3035300" y="635"/>
                  <a:pt x="3035300" y="635"/>
                  <a:pt x="3035935" y="0"/>
                </a:cubicBezTo>
                <a:lnTo>
                  <a:pt x="3031490" y="0"/>
                </a:lnTo>
                <a:cubicBezTo>
                  <a:pt x="3029585" y="1905"/>
                  <a:pt x="3027680" y="3810"/>
                  <a:pt x="3026410" y="5080"/>
                </a:cubicBezTo>
                <a:cubicBezTo>
                  <a:pt x="2827021" y="226695"/>
                  <a:pt x="2674621" y="441960"/>
                  <a:pt x="2461260" y="671195"/>
                </a:cubicBezTo>
                <a:cubicBezTo>
                  <a:pt x="2364105" y="779780"/>
                  <a:pt x="2242185" y="897890"/>
                  <a:pt x="2135505" y="1002030"/>
                </a:cubicBezTo>
                <a:cubicBezTo>
                  <a:pt x="1800860" y="1341755"/>
                  <a:pt x="1630680" y="1646555"/>
                  <a:pt x="1395096" y="1948180"/>
                </a:cubicBezTo>
                <a:lnTo>
                  <a:pt x="1398905" y="1948180"/>
                </a:lnTo>
                <a:cubicBezTo>
                  <a:pt x="1400175" y="1946275"/>
                  <a:pt x="1401446" y="1945005"/>
                  <a:pt x="1402715" y="1943735"/>
                </a:cubicBezTo>
                <a:cubicBezTo>
                  <a:pt x="1454150" y="1879600"/>
                  <a:pt x="1512571" y="1797050"/>
                  <a:pt x="1579880" y="1701800"/>
                </a:cubicBezTo>
                <a:cubicBezTo>
                  <a:pt x="1831340" y="1341120"/>
                  <a:pt x="1998980" y="1128395"/>
                  <a:pt x="2309496" y="835660"/>
                </a:cubicBezTo>
                <a:close/>
                <a:moveTo>
                  <a:pt x="2512060" y="1176020"/>
                </a:moveTo>
                <a:cubicBezTo>
                  <a:pt x="2602230" y="1015365"/>
                  <a:pt x="2646046" y="855980"/>
                  <a:pt x="2721610" y="708025"/>
                </a:cubicBezTo>
                <a:cubicBezTo>
                  <a:pt x="2852421" y="443230"/>
                  <a:pt x="3121025" y="122555"/>
                  <a:pt x="3356610" y="635"/>
                </a:cubicBezTo>
                <a:lnTo>
                  <a:pt x="3349625" y="635"/>
                </a:lnTo>
                <a:cubicBezTo>
                  <a:pt x="3348355" y="1270"/>
                  <a:pt x="3347721" y="1905"/>
                  <a:pt x="3346450" y="1905"/>
                </a:cubicBezTo>
                <a:cubicBezTo>
                  <a:pt x="3253105" y="53975"/>
                  <a:pt x="3183255" y="112395"/>
                  <a:pt x="3094990" y="196215"/>
                </a:cubicBezTo>
                <a:cubicBezTo>
                  <a:pt x="2870200" y="415290"/>
                  <a:pt x="2714625" y="671195"/>
                  <a:pt x="2616200" y="946785"/>
                </a:cubicBezTo>
                <a:cubicBezTo>
                  <a:pt x="2475865" y="1302385"/>
                  <a:pt x="2155190" y="1760220"/>
                  <a:pt x="1850390" y="1948180"/>
                </a:cubicBezTo>
                <a:lnTo>
                  <a:pt x="1856740" y="1948180"/>
                </a:lnTo>
                <a:cubicBezTo>
                  <a:pt x="1878965" y="1936115"/>
                  <a:pt x="1900555" y="1917065"/>
                  <a:pt x="1924050" y="1901825"/>
                </a:cubicBezTo>
                <a:cubicBezTo>
                  <a:pt x="2155190" y="1724660"/>
                  <a:pt x="2364740" y="1448435"/>
                  <a:pt x="2512060" y="1176020"/>
                </a:cubicBezTo>
                <a:close/>
                <a:moveTo>
                  <a:pt x="2035175" y="1661160"/>
                </a:moveTo>
                <a:cubicBezTo>
                  <a:pt x="2426971" y="1179830"/>
                  <a:pt x="2525396" y="866775"/>
                  <a:pt x="2708275" y="607060"/>
                </a:cubicBezTo>
                <a:cubicBezTo>
                  <a:pt x="2860675" y="381635"/>
                  <a:pt x="3098165" y="108585"/>
                  <a:pt x="3277235" y="0"/>
                </a:cubicBezTo>
                <a:lnTo>
                  <a:pt x="3270250" y="0"/>
                </a:lnTo>
                <a:cubicBezTo>
                  <a:pt x="3259455" y="6985"/>
                  <a:pt x="3248660" y="15875"/>
                  <a:pt x="3235960" y="23495"/>
                </a:cubicBezTo>
                <a:cubicBezTo>
                  <a:pt x="3007360" y="191135"/>
                  <a:pt x="2766060" y="492125"/>
                  <a:pt x="2600325" y="772160"/>
                </a:cubicBezTo>
                <a:cubicBezTo>
                  <a:pt x="2499996" y="949325"/>
                  <a:pt x="2446021" y="1062990"/>
                  <a:pt x="2360296" y="1196975"/>
                </a:cubicBezTo>
                <a:cubicBezTo>
                  <a:pt x="2197735" y="1460500"/>
                  <a:pt x="1956435" y="1789430"/>
                  <a:pt x="1744346" y="1947545"/>
                </a:cubicBezTo>
                <a:lnTo>
                  <a:pt x="1747521" y="1947545"/>
                </a:lnTo>
                <a:cubicBezTo>
                  <a:pt x="1825625" y="1898650"/>
                  <a:pt x="1947546" y="1766570"/>
                  <a:pt x="2035175" y="1661160"/>
                </a:cubicBezTo>
                <a:close/>
                <a:moveTo>
                  <a:pt x="3199130" y="0"/>
                </a:moveTo>
                <a:lnTo>
                  <a:pt x="3189605" y="0"/>
                </a:lnTo>
                <a:cubicBezTo>
                  <a:pt x="3129915" y="40640"/>
                  <a:pt x="3012440" y="161925"/>
                  <a:pt x="2988946" y="186690"/>
                </a:cubicBezTo>
                <a:cubicBezTo>
                  <a:pt x="2603500" y="600075"/>
                  <a:pt x="2347596" y="1030605"/>
                  <a:pt x="2075180" y="1408430"/>
                </a:cubicBezTo>
                <a:cubicBezTo>
                  <a:pt x="1957071" y="1574800"/>
                  <a:pt x="1767205" y="1826260"/>
                  <a:pt x="1631315" y="1947545"/>
                </a:cubicBezTo>
                <a:lnTo>
                  <a:pt x="1639571" y="1947545"/>
                </a:lnTo>
                <a:cubicBezTo>
                  <a:pt x="1645285" y="1941830"/>
                  <a:pt x="1651000" y="1934845"/>
                  <a:pt x="1657350" y="1930400"/>
                </a:cubicBezTo>
                <a:cubicBezTo>
                  <a:pt x="2075180" y="1511300"/>
                  <a:pt x="2419985" y="848360"/>
                  <a:pt x="2837180" y="366395"/>
                </a:cubicBezTo>
                <a:cubicBezTo>
                  <a:pt x="2921000" y="264160"/>
                  <a:pt x="3103880" y="66040"/>
                  <a:pt x="3199130" y="0"/>
                </a:cubicBezTo>
                <a:close/>
                <a:moveTo>
                  <a:pt x="2517775" y="683895"/>
                </a:moveTo>
                <a:cubicBezTo>
                  <a:pt x="2735580" y="422275"/>
                  <a:pt x="2994660" y="103505"/>
                  <a:pt x="3115946" y="0"/>
                </a:cubicBezTo>
                <a:lnTo>
                  <a:pt x="3111500" y="0"/>
                </a:lnTo>
                <a:cubicBezTo>
                  <a:pt x="3103246" y="6985"/>
                  <a:pt x="3096260" y="15240"/>
                  <a:pt x="3086100" y="22860"/>
                </a:cubicBezTo>
                <a:cubicBezTo>
                  <a:pt x="2989580" y="107950"/>
                  <a:pt x="2732405" y="420370"/>
                  <a:pt x="2573655" y="612140"/>
                </a:cubicBezTo>
                <a:cubicBezTo>
                  <a:pt x="2506346" y="692785"/>
                  <a:pt x="2435225" y="777875"/>
                  <a:pt x="2361565" y="864870"/>
                </a:cubicBezTo>
                <a:cubicBezTo>
                  <a:pt x="1990725" y="1289685"/>
                  <a:pt x="1770380" y="1664335"/>
                  <a:pt x="1517015" y="1947545"/>
                </a:cubicBezTo>
                <a:lnTo>
                  <a:pt x="1518285" y="1947545"/>
                </a:lnTo>
                <a:cubicBezTo>
                  <a:pt x="1614805" y="1852295"/>
                  <a:pt x="1725296" y="1693545"/>
                  <a:pt x="1857375" y="1515110"/>
                </a:cubicBezTo>
                <a:cubicBezTo>
                  <a:pt x="2149475" y="1110615"/>
                  <a:pt x="2273300" y="975360"/>
                  <a:pt x="2517775" y="683895"/>
                </a:cubicBezTo>
                <a:close/>
              </a:path>
            </a:pathLst>
          </a:custGeom>
          <a:gradFill>
            <a:gsLst>
              <a:gs pos="0">
                <a:srgbClr val="08303F">
                  <a:alpha val="12549"/>
                </a:srgbClr>
              </a:gs>
              <a:gs pos="100000">
                <a:srgbClr val="000000">
                  <a:alpha val="30980"/>
                </a:srgbClr>
              </a:gs>
            </a:gsLst>
            <a:lin ang="2698631" scaled="0"/>
          </a:gradFill>
          <a:ln>
            <a:noFill/>
          </a:ln>
        </p:spPr>
        <p:txBody>
          <a:bodyPr spcFirstLastPara="1" wrap="square" lIns="121900" tIns="60933" rIns="121900" bIns="60933" anchor="ctr" anchorCtr="0">
            <a:noAutofit/>
          </a:bodyPr>
          <a:lstStyle/>
          <a:p>
            <a:pPr marL="0" marR="0" lvl="0" indent="0" algn="l" rtl="0">
              <a:spcBef>
                <a:spcPts val="0"/>
              </a:spcBef>
              <a:spcAft>
                <a:spcPts val="0"/>
              </a:spcAft>
              <a:buNone/>
            </a:pPr>
            <a:endParaRPr sz="2400">
              <a:solidFill>
                <a:srgbClr val="000000"/>
              </a:solidFill>
              <a:latin typeface="Calibri"/>
              <a:ea typeface="Calibri"/>
              <a:cs typeface="Calibri"/>
              <a:sym typeface="Calibri"/>
            </a:endParaRP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35221" y="0"/>
            <a:ext cx="3903609" cy="6858000"/>
          </a:xfrm>
          <a:prstGeom prst="rect">
            <a:avLst/>
          </a:prstGeom>
        </p:spPr>
      </p:pic>
      <p:pic>
        <p:nvPicPr>
          <p:cNvPr id="9" name="Picture 8" descr="C:\Users\MARA~1.TAU\AppData\Local\Temp\Rar$DIa3424.12627\B.jpg"/>
          <p:cNvPicPr/>
          <p:nvPr userDrawn="1"/>
        </p:nvPicPr>
        <p:blipFill>
          <a:blip r:embed="rId3" cstate="print">
            <a:extLst>
              <a:ext uri="{28A0092B-C50C-407E-A947-70E740481C1C}">
                <a14:useLocalDpi xmlns:a14="http://schemas.microsoft.com/office/drawing/2010/main" val="0"/>
              </a:ext>
            </a:extLst>
          </a:blip>
          <a:stretch>
            <a:fillRect/>
          </a:stretch>
        </p:blipFill>
        <p:spPr>
          <a:xfrm>
            <a:off x="6904794" y="5460951"/>
            <a:ext cx="2303780" cy="899795"/>
          </a:xfrm>
          <a:prstGeom prst="rect">
            <a:avLst/>
          </a:prstGeom>
        </p:spPr>
      </p:pic>
      <p:sp>
        <p:nvSpPr>
          <p:cNvPr id="2" name="Rectangle 1"/>
          <p:cNvSpPr/>
          <p:nvPr userDrawn="1"/>
        </p:nvSpPr>
        <p:spPr>
          <a:xfrm>
            <a:off x="5199755" y="6391661"/>
            <a:ext cx="5773760" cy="410882"/>
          </a:xfrm>
          <a:prstGeom prst="rect">
            <a:avLst/>
          </a:prstGeom>
        </p:spPr>
        <p:txBody>
          <a:bodyPr wrap="none">
            <a:spAutoFit/>
          </a:bodyPr>
          <a:lstStyle/>
          <a:p>
            <a:pPr algn="ctr">
              <a:lnSpc>
                <a:spcPct val="115000"/>
              </a:lnSpc>
              <a:spcAft>
                <a:spcPts val="1000"/>
              </a:spcAft>
            </a:pPr>
            <a:r>
              <a:rPr lang="lv-LV" sz="1800" i="1" dirty="0">
                <a:effectLst/>
                <a:latin typeface="Times New Roman" panose="02020603050405020304" pitchFamily="18" charset="0"/>
                <a:ea typeface="Arial" panose="020B0604020202020204" pitchFamily="34" charset="0"/>
                <a:cs typeface="Times New Roman" panose="02020603050405020304" pitchFamily="18" charset="0"/>
              </a:rPr>
              <a:t>Materiāls tapis ar Latvijas vides aizsardzības fonda atbalstu</a:t>
            </a:r>
            <a:endParaRPr lang="en-US" sz="1100" dirty="0">
              <a:effectLst/>
              <a:latin typeface="Arial" panose="020B0604020202020204" pitchFamily="34" charset="0"/>
              <a:ea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330477019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6_Question and Content">
    <p:spTree>
      <p:nvGrpSpPr>
        <p:cNvPr id="1" name=""/>
        <p:cNvGrpSpPr/>
        <p:nvPr/>
      </p:nvGrpSpPr>
      <p:grpSpPr>
        <a:xfrm>
          <a:off x="0" y="0"/>
          <a:ext cx="0" cy="0"/>
          <a:chOff x="0" y="0"/>
          <a:chExt cx="0" cy="0"/>
        </a:xfrm>
      </p:grpSpPr>
      <p:sp>
        <p:nvSpPr>
          <p:cNvPr id="3" name="Rectangle 2"/>
          <p:cNvSpPr/>
          <p:nvPr userDrawn="1"/>
        </p:nvSpPr>
        <p:spPr>
          <a:xfrm>
            <a:off x="0" y="1"/>
            <a:ext cx="6110654" cy="6464140"/>
          </a:xfrm>
          <a:prstGeom prst="rect">
            <a:avLst/>
          </a:prstGeom>
          <a:solidFill>
            <a:srgbClr val="061A26">
              <a:alpha val="94000"/>
            </a:srgb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lt-LT"/>
          </a:p>
        </p:txBody>
      </p:sp>
      <p:sp>
        <p:nvSpPr>
          <p:cNvPr id="12" name="Text Placeholder 7"/>
          <p:cNvSpPr>
            <a:spLocks noGrp="1"/>
          </p:cNvSpPr>
          <p:nvPr>
            <p:ph type="body" sz="quarter" idx="13"/>
          </p:nvPr>
        </p:nvSpPr>
        <p:spPr>
          <a:xfrm>
            <a:off x="271681" y="1679330"/>
            <a:ext cx="5768634" cy="4642339"/>
          </a:xfrm>
        </p:spPr>
        <p:txBody>
          <a:bodyPr>
            <a:noAutofit/>
          </a:bodyPr>
          <a:lstStyle>
            <a:lvl1pPr marL="228600" indent="-228600">
              <a:buSzPct val="50000"/>
              <a:buFont typeface="Wingdings" panose="05000000000000000000" pitchFamily="2" charset="2"/>
              <a:buChar char="§"/>
              <a:defRPr sz="2000">
                <a:solidFill>
                  <a:srgbClr val="F5F5F5"/>
                </a:solidFill>
                <a:latin typeface="+mn-lt"/>
                <a:cs typeface="Times New Roman" panose="02020603050405020304" pitchFamily="18" charset="0"/>
              </a:defRPr>
            </a:lvl1pPr>
            <a:lvl2pPr marL="685800" indent="-228600">
              <a:buSzPct val="50000"/>
              <a:buFont typeface="Wingdings" panose="05000000000000000000" pitchFamily="2" charset="2"/>
              <a:buChar char="§"/>
              <a:defRPr sz="1800">
                <a:solidFill>
                  <a:srgbClr val="F5F5F5"/>
                </a:solidFill>
                <a:latin typeface="+mn-lt"/>
                <a:cs typeface="Times New Roman" panose="02020603050405020304" pitchFamily="18" charset="0"/>
              </a:defRPr>
            </a:lvl2pPr>
            <a:lvl3pPr marL="1143000" indent="-228600">
              <a:buSzPct val="50000"/>
              <a:buFont typeface="Wingdings" panose="05000000000000000000" pitchFamily="2" charset="2"/>
              <a:buChar char="§"/>
              <a:defRPr sz="1600">
                <a:solidFill>
                  <a:srgbClr val="F5F5F5"/>
                </a:solidFill>
                <a:latin typeface="+mn-lt"/>
                <a:cs typeface="Times New Roman" panose="02020603050405020304" pitchFamily="18" charset="0"/>
              </a:defRPr>
            </a:lvl3pPr>
            <a:lvl4pPr marL="1600200" indent="-228600">
              <a:buSzPct val="50000"/>
              <a:buFont typeface="Wingdings" panose="05000000000000000000" pitchFamily="2" charset="2"/>
              <a:buChar char="§"/>
              <a:defRPr sz="1400">
                <a:solidFill>
                  <a:srgbClr val="F5F5F5"/>
                </a:solidFill>
                <a:latin typeface="+mn-lt"/>
                <a:cs typeface="Times New Roman" panose="02020603050405020304" pitchFamily="18" charset="0"/>
              </a:defRPr>
            </a:lvl4pPr>
            <a:lvl5pPr marL="2057400" indent="-228600">
              <a:buSzPct val="50000"/>
              <a:buFont typeface="Wingdings" panose="05000000000000000000" pitchFamily="2" charset="2"/>
              <a:buChar char="§"/>
              <a:defRPr sz="1400">
                <a:solidFill>
                  <a:srgbClr val="F5F5F5"/>
                </a:solidFill>
                <a:latin typeface="+mn-lt"/>
                <a:cs typeface="Times New Roman" panose="02020603050405020304" pitchFamily="18"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lt-LT" dirty="0"/>
          </a:p>
        </p:txBody>
      </p:sp>
      <p:sp>
        <p:nvSpPr>
          <p:cNvPr id="13" name="Title 1"/>
          <p:cNvSpPr>
            <a:spLocks noGrp="1"/>
          </p:cNvSpPr>
          <p:nvPr>
            <p:ph type="title" hasCustomPrompt="1"/>
          </p:nvPr>
        </p:nvSpPr>
        <p:spPr>
          <a:xfrm>
            <a:off x="271681" y="185912"/>
            <a:ext cx="5768634" cy="861889"/>
          </a:xfrm>
        </p:spPr>
        <p:txBody>
          <a:bodyPr anchor="ctr">
            <a:normAutofit/>
          </a:bodyPr>
          <a:lstStyle>
            <a:lvl1pPr>
              <a:defRPr sz="3200" b="0">
                <a:solidFill>
                  <a:srgbClr val="F5F5F5"/>
                </a:solidFill>
                <a:latin typeface="Cambria Math" panose="02040503050406030204" pitchFamily="18" charset="0"/>
                <a:ea typeface="Cambria Math" panose="02040503050406030204" pitchFamily="18" charset="0"/>
              </a:defRPr>
            </a:lvl1pPr>
          </a:lstStyle>
          <a:p>
            <a:r>
              <a:rPr lang="lv-LV" dirty="0"/>
              <a:t>Content</a:t>
            </a:r>
            <a:endParaRPr lang="lt-LT" dirty="0"/>
          </a:p>
        </p:txBody>
      </p:sp>
      <p:sp>
        <p:nvSpPr>
          <p:cNvPr id="14" name="Rectangle 15"/>
          <p:cNvSpPr>
            <a:spLocks noChangeArrowheads="1"/>
          </p:cNvSpPr>
          <p:nvPr userDrawn="1"/>
        </p:nvSpPr>
        <p:spPr bwMode="gray">
          <a:xfrm>
            <a:off x="-1" y="0"/>
            <a:ext cx="271682" cy="6464140"/>
          </a:xfrm>
          <a:prstGeom prst="rect">
            <a:avLst/>
          </a:prstGeom>
          <a:solidFill>
            <a:srgbClr val="FFC000"/>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72000" rIns="91440" bIns="72000" numCol="1" spcCol="0" rtlCol="0" fromWordArt="0" anchor="ctr" anchorCtr="0" forceAA="0" compatLnSpc="1">
            <a:prstTxWarp prst="textNoShape">
              <a:avLst/>
            </a:prstTxWarp>
            <a:noAutofit/>
          </a:bodyPr>
          <a:lstStyle/>
          <a:p>
            <a:endParaRPr lang="lv-LV" sz="1600" b="1" dirty="0">
              <a:solidFill>
                <a:schemeClr val="bg1"/>
              </a:solidFill>
              <a:latin typeface="Arial" pitchFamily="34" charset="0"/>
            </a:endParaRPr>
          </a:p>
        </p:txBody>
      </p:sp>
      <p:sp>
        <p:nvSpPr>
          <p:cNvPr id="15" name="Rectangle 15"/>
          <p:cNvSpPr>
            <a:spLocks noChangeArrowheads="1"/>
          </p:cNvSpPr>
          <p:nvPr userDrawn="1"/>
        </p:nvSpPr>
        <p:spPr bwMode="gray">
          <a:xfrm>
            <a:off x="9015793" y="0"/>
            <a:ext cx="271682" cy="6464140"/>
          </a:xfrm>
          <a:prstGeom prst="rect">
            <a:avLst/>
          </a:prstGeom>
          <a:solidFill>
            <a:srgbClr val="FFC000"/>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72000" rIns="91440" bIns="72000" numCol="1" spcCol="0" rtlCol="0" fromWordArt="0" anchor="ctr" anchorCtr="0" forceAA="0" compatLnSpc="1">
            <a:prstTxWarp prst="textNoShape">
              <a:avLst/>
            </a:prstTxWarp>
            <a:noAutofit/>
          </a:bodyPr>
          <a:lstStyle/>
          <a:p>
            <a:endParaRPr lang="lv-LV" sz="1600" b="1" dirty="0">
              <a:solidFill>
                <a:schemeClr val="bg1"/>
              </a:solidFill>
              <a:latin typeface="Arial" pitchFamily="34" charset="0"/>
            </a:endParaRPr>
          </a:p>
        </p:txBody>
      </p:sp>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110654" y="0"/>
            <a:ext cx="2905139" cy="6464140"/>
          </a:xfrm>
          <a:prstGeom prst="rect">
            <a:avLst/>
          </a:prstGeom>
        </p:spPr>
      </p:pic>
    </p:spTree>
    <p:extLst>
      <p:ext uri="{BB962C8B-B14F-4D97-AF65-F5344CB8AC3E}">
        <p14:creationId xmlns:p14="http://schemas.microsoft.com/office/powerpoint/2010/main" val="33138130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44605287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stretch>
            <a:fillRect/>
          </a:stretch>
        </p:blipFill>
        <p:spPr>
          <a:xfrm>
            <a:off x="1436673" y="885928"/>
            <a:ext cx="4524346" cy="3386240"/>
          </a:xfrm>
          <a:prstGeom prst="rect">
            <a:avLst/>
          </a:prstGeom>
        </p:spPr>
      </p:pic>
      <p:sp>
        <p:nvSpPr>
          <p:cNvPr id="2" name="Title 1"/>
          <p:cNvSpPr>
            <a:spLocks noGrp="1"/>
          </p:cNvSpPr>
          <p:nvPr>
            <p:ph type="ctrTitle" hasCustomPrompt="1"/>
          </p:nvPr>
        </p:nvSpPr>
        <p:spPr>
          <a:xfrm>
            <a:off x="1524000" y="4996998"/>
            <a:ext cx="9144000" cy="1024287"/>
          </a:xfrm>
          <a:prstGeom prst="rect">
            <a:avLst/>
          </a:prstGeom>
        </p:spPr>
        <p:txBody>
          <a:bodyPr anchor="t">
            <a:normAutofit/>
          </a:bodyPr>
          <a:lstStyle>
            <a:lvl1pPr algn="ctr">
              <a:defRPr sz="4800" baseline="0">
                <a:solidFill>
                  <a:srgbClr val="061A26"/>
                </a:solidFill>
                <a:latin typeface="Cambria Math" panose="02040503050406030204" pitchFamily="18" charset="0"/>
                <a:ea typeface="Cambria Math" panose="02040503050406030204" pitchFamily="18" charset="0"/>
              </a:defRPr>
            </a:lvl1pPr>
          </a:lstStyle>
          <a:p>
            <a:r>
              <a:rPr lang="lt-LT" dirty="0"/>
              <a:t>Įrašykite Pavadinimą</a:t>
            </a:r>
          </a:p>
        </p:txBody>
      </p:sp>
      <p:sp>
        <p:nvSpPr>
          <p:cNvPr id="3" name="Subtitle 2"/>
          <p:cNvSpPr>
            <a:spLocks noGrp="1"/>
          </p:cNvSpPr>
          <p:nvPr>
            <p:ph type="subTitle" idx="1" hasCustomPrompt="1"/>
          </p:nvPr>
        </p:nvSpPr>
        <p:spPr>
          <a:xfrm>
            <a:off x="1524000" y="4524663"/>
            <a:ext cx="9144000" cy="472335"/>
          </a:xfrm>
          <a:prstGeom prst="rect">
            <a:avLst/>
          </a:prstGeom>
        </p:spPr>
        <p:txBody>
          <a:bodyPr anchor="b"/>
          <a:lstStyle>
            <a:lvl1pPr marL="0" indent="0" algn="ctr">
              <a:buNone/>
              <a:defRPr sz="2400">
                <a:solidFill>
                  <a:srgbClr val="09234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lt-LT" dirty="0"/>
              <a:t>Įrašykite komentarą</a:t>
            </a:r>
          </a:p>
        </p:txBody>
      </p:sp>
    </p:spTree>
    <p:extLst>
      <p:ext uri="{BB962C8B-B14F-4D97-AF65-F5344CB8AC3E}">
        <p14:creationId xmlns:p14="http://schemas.microsoft.com/office/powerpoint/2010/main" val="394661836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4_Question and Content">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a:srcRect t="7327"/>
          <a:stretch/>
        </p:blipFill>
        <p:spPr>
          <a:xfrm>
            <a:off x="9355757" y="162030"/>
            <a:ext cx="2689914" cy="1865747"/>
          </a:xfrm>
          <a:prstGeom prst="rect">
            <a:avLst/>
          </a:prstGeom>
        </p:spPr>
      </p:pic>
      <p:sp>
        <p:nvSpPr>
          <p:cNvPr id="8" name="Title 1"/>
          <p:cNvSpPr>
            <a:spLocks noGrp="1"/>
          </p:cNvSpPr>
          <p:nvPr>
            <p:ph type="ctrTitle" hasCustomPrompt="1"/>
          </p:nvPr>
        </p:nvSpPr>
        <p:spPr>
          <a:xfrm>
            <a:off x="296091" y="2758895"/>
            <a:ext cx="10877006" cy="1024287"/>
          </a:xfrm>
          <a:prstGeom prst="rect">
            <a:avLst/>
          </a:prstGeom>
        </p:spPr>
        <p:txBody>
          <a:bodyPr anchor="t">
            <a:noAutofit/>
          </a:bodyPr>
          <a:lstStyle>
            <a:lvl1pPr algn="l">
              <a:defRPr sz="6600" baseline="0">
                <a:solidFill>
                  <a:srgbClr val="061A26"/>
                </a:solidFill>
                <a:latin typeface="Cambria Math" panose="02040503050406030204" pitchFamily="18" charset="0"/>
                <a:ea typeface="Cambria Math" panose="02040503050406030204" pitchFamily="18" charset="0"/>
              </a:defRPr>
            </a:lvl1pPr>
          </a:lstStyle>
          <a:p>
            <a:r>
              <a:rPr lang="lt-LT" dirty="0"/>
              <a:t>Įrašykite Pavadinimą</a:t>
            </a:r>
          </a:p>
        </p:txBody>
      </p:sp>
    </p:spTree>
    <p:extLst>
      <p:ext uri="{BB962C8B-B14F-4D97-AF65-F5344CB8AC3E}">
        <p14:creationId xmlns:p14="http://schemas.microsoft.com/office/powerpoint/2010/main" val="33918843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9_Ending Slide">
    <p:spTree>
      <p:nvGrpSpPr>
        <p:cNvPr id="1" name=""/>
        <p:cNvGrpSpPr/>
        <p:nvPr/>
      </p:nvGrpSpPr>
      <p:grpSpPr>
        <a:xfrm>
          <a:off x="0" y="0"/>
          <a:ext cx="0" cy="0"/>
          <a:chOff x="0" y="0"/>
          <a:chExt cx="0" cy="0"/>
        </a:xfrm>
      </p:grpSpPr>
      <p:pic>
        <p:nvPicPr>
          <p:cNvPr id="21" name="Picture 20"/>
          <p:cNvPicPr>
            <a:picLocks noChangeAspect="1"/>
          </p:cNvPicPr>
          <p:nvPr userDrawn="1"/>
        </p:nvPicPr>
        <p:blipFill>
          <a:blip r:embed="rId2"/>
          <a:stretch>
            <a:fillRect/>
          </a:stretch>
        </p:blipFill>
        <p:spPr>
          <a:xfrm>
            <a:off x="6278094" y="694684"/>
            <a:ext cx="4524346" cy="3386240"/>
          </a:xfrm>
          <a:prstGeom prst="rect">
            <a:avLst/>
          </a:prstGeom>
        </p:spPr>
      </p:pic>
      <p:sp>
        <p:nvSpPr>
          <p:cNvPr id="12" name="Rectangle 11"/>
          <p:cNvSpPr/>
          <p:nvPr userDrawn="1"/>
        </p:nvSpPr>
        <p:spPr>
          <a:xfrm>
            <a:off x="0" y="6474994"/>
            <a:ext cx="12192000" cy="383006"/>
          </a:xfrm>
          <a:prstGeom prst="rect">
            <a:avLst/>
          </a:prstGeom>
          <a:solidFill>
            <a:srgbClr val="061A2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lt-LT">
              <a:solidFill>
                <a:prstClr val="white"/>
              </a:solidFill>
            </a:endParaRPr>
          </a:p>
        </p:txBody>
      </p:sp>
      <p:sp>
        <p:nvSpPr>
          <p:cNvPr id="14" name="TextBox 13"/>
          <p:cNvSpPr txBox="1"/>
          <p:nvPr userDrawn="1"/>
        </p:nvSpPr>
        <p:spPr>
          <a:xfrm>
            <a:off x="9895115" y="6474206"/>
            <a:ext cx="2296886" cy="369332"/>
          </a:xfrm>
          <a:prstGeom prst="rect">
            <a:avLst/>
          </a:prstGeom>
          <a:noFill/>
        </p:spPr>
        <p:txBody>
          <a:bodyPr wrap="square" rtlCol="0">
            <a:spAutoFit/>
          </a:bodyPr>
          <a:lstStyle/>
          <a:p>
            <a:r>
              <a:rPr lang="lt-LT" dirty="0">
                <a:solidFill>
                  <a:srgbClr val="F5F5F5"/>
                </a:solidFill>
              </a:rPr>
              <a:t>www.raitgroup.com</a:t>
            </a:r>
          </a:p>
        </p:txBody>
      </p:sp>
      <p:sp>
        <p:nvSpPr>
          <p:cNvPr id="5" name="Rectangle 4"/>
          <p:cNvSpPr/>
          <p:nvPr userDrawn="1"/>
        </p:nvSpPr>
        <p:spPr>
          <a:xfrm>
            <a:off x="10972800" y="1"/>
            <a:ext cx="1219200" cy="9753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Tree>
    <p:extLst>
      <p:ext uri="{BB962C8B-B14F-4D97-AF65-F5344CB8AC3E}">
        <p14:creationId xmlns:p14="http://schemas.microsoft.com/office/powerpoint/2010/main" val="345036530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Ending Slide">
    <p:spTree>
      <p:nvGrpSpPr>
        <p:cNvPr id="1" name=""/>
        <p:cNvGrpSpPr/>
        <p:nvPr/>
      </p:nvGrpSpPr>
      <p:grpSpPr>
        <a:xfrm>
          <a:off x="0" y="0"/>
          <a:ext cx="0" cy="0"/>
          <a:chOff x="0" y="0"/>
          <a:chExt cx="0" cy="0"/>
        </a:xfrm>
      </p:grpSpPr>
      <p:sp>
        <p:nvSpPr>
          <p:cNvPr id="6" name="Title 1"/>
          <p:cNvSpPr>
            <a:spLocks noGrp="1"/>
          </p:cNvSpPr>
          <p:nvPr>
            <p:ph type="title"/>
          </p:nvPr>
        </p:nvSpPr>
        <p:spPr>
          <a:xfrm>
            <a:off x="2946332" y="3207434"/>
            <a:ext cx="9245667" cy="1355041"/>
          </a:xfrm>
          <a:prstGeom prst="rect">
            <a:avLst/>
          </a:prstGeom>
          <a:solidFill>
            <a:srgbClr val="061A26">
              <a:alpha val="95000"/>
            </a:srgbClr>
          </a:solidFill>
        </p:spPr>
        <p:txBody>
          <a:bodyPr anchor="b"/>
          <a:lstStyle>
            <a:lvl1pPr algn="r">
              <a:defRPr sz="4400">
                <a:solidFill>
                  <a:srgbClr val="F5F5F5"/>
                </a:solidFill>
                <a:latin typeface="Cambria Math" panose="02040503050406030204" pitchFamily="18" charset="0"/>
                <a:ea typeface="Cambria Math" panose="02040503050406030204" pitchFamily="18" charset="0"/>
              </a:defRPr>
            </a:lvl1pPr>
          </a:lstStyle>
          <a:p>
            <a:r>
              <a:rPr lang="en-US" dirty="0"/>
              <a:t>Click to edit Master title style</a:t>
            </a:r>
            <a:endParaRPr lang="lt-LT" dirty="0"/>
          </a:p>
        </p:txBody>
      </p:sp>
      <p:sp>
        <p:nvSpPr>
          <p:cNvPr id="7" name="Text Placeholder 2"/>
          <p:cNvSpPr>
            <a:spLocks noGrp="1"/>
          </p:cNvSpPr>
          <p:nvPr>
            <p:ph type="body" idx="1"/>
          </p:nvPr>
        </p:nvSpPr>
        <p:spPr>
          <a:xfrm>
            <a:off x="2946332" y="4562475"/>
            <a:ext cx="9245668" cy="544097"/>
          </a:xfrm>
          <a:prstGeom prst="rect">
            <a:avLst/>
          </a:prstGeom>
          <a:solidFill>
            <a:srgbClr val="061A26">
              <a:alpha val="95000"/>
            </a:srgbClr>
          </a:solidFill>
        </p:spPr>
        <p:txBody>
          <a:bodyPr/>
          <a:lstStyle>
            <a:lvl1pPr marL="0" indent="0" algn="r">
              <a:buNone/>
              <a:defRPr sz="2400">
                <a:solidFill>
                  <a:srgbClr val="708090"/>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
        <p:nvSpPr>
          <p:cNvPr id="4" name="Rectangle 15"/>
          <p:cNvSpPr>
            <a:spLocks noChangeArrowheads="1"/>
          </p:cNvSpPr>
          <p:nvPr userDrawn="1"/>
        </p:nvSpPr>
        <p:spPr bwMode="gray">
          <a:xfrm>
            <a:off x="-1" y="0"/>
            <a:ext cx="254978" cy="6858000"/>
          </a:xfrm>
          <a:prstGeom prst="rect">
            <a:avLst/>
          </a:prstGeom>
          <a:solidFill>
            <a:srgbClr val="FFC000"/>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72000" rIns="91440" bIns="72000" numCol="1" spcCol="0" rtlCol="0" fromWordArt="0" anchor="ctr" anchorCtr="0" forceAA="0" compatLnSpc="1">
            <a:prstTxWarp prst="textNoShape">
              <a:avLst/>
            </a:prstTxWarp>
            <a:noAutofit/>
          </a:bodyPr>
          <a:lstStyle/>
          <a:p>
            <a:endParaRPr lang="lv-LV" sz="1600" b="1" dirty="0">
              <a:solidFill>
                <a:schemeClr val="bg1"/>
              </a:solidFill>
              <a:latin typeface="Arial" pitchFamily="34" charset="0"/>
            </a:endParaRP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54977" y="0"/>
            <a:ext cx="2691355" cy="6858000"/>
          </a:xfrm>
          <a:prstGeom prst="rect">
            <a:avLst/>
          </a:prstGeom>
        </p:spPr>
      </p:pic>
    </p:spTree>
    <p:extLst>
      <p:ext uri="{BB962C8B-B14F-4D97-AF65-F5344CB8AC3E}">
        <p14:creationId xmlns:p14="http://schemas.microsoft.com/office/powerpoint/2010/main" val="406920014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Ending Slide">
    <p:spTree>
      <p:nvGrpSpPr>
        <p:cNvPr id="1" name=""/>
        <p:cNvGrpSpPr/>
        <p:nvPr/>
      </p:nvGrpSpPr>
      <p:grpSpPr>
        <a:xfrm>
          <a:off x="0" y="0"/>
          <a:ext cx="0" cy="0"/>
          <a:chOff x="0" y="0"/>
          <a:chExt cx="0" cy="0"/>
        </a:xfrm>
      </p:grpSpPr>
      <p:sp>
        <p:nvSpPr>
          <p:cNvPr id="6" name="Title 1"/>
          <p:cNvSpPr>
            <a:spLocks noGrp="1"/>
          </p:cNvSpPr>
          <p:nvPr>
            <p:ph type="title"/>
          </p:nvPr>
        </p:nvSpPr>
        <p:spPr>
          <a:xfrm>
            <a:off x="2946332" y="3207434"/>
            <a:ext cx="9245667" cy="1355041"/>
          </a:xfrm>
          <a:prstGeom prst="rect">
            <a:avLst/>
          </a:prstGeom>
          <a:solidFill>
            <a:schemeClr val="bg1">
              <a:lumMod val="75000"/>
              <a:alpha val="95000"/>
            </a:schemeClr>
          </a:solidFill>
        </p:spPr>
        <p:txBody>
          <a:bodyPr anchor="b"/>
          <a:lstStyle>
            <a:lvl1pPr algn="r">
              <a:defRPr sz="4400">
                <a:solidFill>
                  <a:schemeClr val="tx2">
                    <a:lumMod val="50000"/>
                  </a:schemeClr>
                </a:solidFill>
                <a:latin typeface="Cambria Math" panose="02040503050406030204" pitchFamily="18" charset="0"/>
                <a:ea typeface="Cambria Math" panose="02040503050406030204" pitchFamily="18" charset="0"/>
              </a:defRPr>
            </a:lvl1pPr>
          </a:lstStyle>
          <a:p>
            <a:r>
              <a:rPr lang="en-US" dirty="0"/>
              <a:t>Click to edit Master title style</a:t>
            </a:r>
            <a:endParaRPr lang="lt-LT" dirty="0"/>
          </a:p>
        </p:txBody>
      </p:sp>
      <p:sp>
        <p:nvSpPr>
          <p:cNvPr id="7" name="Text Placeholder 2"/>
          <p:cNvSpPr>
            <a:spLocks noGrp="1"/>
          </p:cNvSpPr>
          <p:nvPr>
            <p:ph type="body" idx="1"/>
          </p:nvPr>
        </p:nvSpPr>
        <p:spPr>
          <a:xfrm>
            <a:off x="2946332" y="4562475"/>
            <a:ext cx="9245668" cy="544097"/>
          </a:xfrm>
          <a:prstGeom prst="rect">
            <a:avLst/>
          </a:prstGeom>
          <a:solidFill>
            <a:schemeClr val="bg1">
              <a:lumMod val="75000"/>
              <a:alpha val="95000"/>
            </a:schemeClr>
          </a:solidFill>
        </p:spPr>
        <p:txBody>
          <a:bodyPr/>
          <a:lstStyle>
            <a:lvl1pPr marL="0" indent="0" algn="r">
              <a:buNone/>
              <a:defRPr sz="2400">
                <a:solidFill>
                  <a:srgbClr val="708090"/>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
        <p:nvSpPr>
          <p:cNvPr id="4" name="Rectangle 15"/>
          <p:cNvSpPr>
            <a:spLocks noChangeArrowheads="1"/>
          </p:cNvSpPr>
          <p:nvPr userDrawn="1"/>
        </p:nvSpPr>
        <p:spPr bwMode="gray">
          <a:xfrm>
            <a:off x="-1" y="0"/>
            <a:ext cx="254978" cy="6858000"/>
          </a:xfrm>
          <a:prstGeom prst="rect">
            <a:avLst/>
          </a:prstGeom>
          <a:solidFill>
            <a:srgbClr val="FFC000"/>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72000" rIns="91440" bIns="72000" numCol="1" spcCol="0" rtlCol="0" fromWordArt="0" anchor="ctr" anchorCtr="0" forceAA="0" compatLnSpc="1">
            <a:prstTxWarp prst="textNoShape">
              <a:avLst/>
            </a:prstTxWarp>
            <a:noAutofit/>
          </a:bodyPr>
          <a:lstStyle/>
          <a:p>
            <a:endParaRPr lang="lv-LV" sz="1600" b="1" dirty="0">
              <a:solidFill>
                <a:schemeClr val="bg1"/>
              </a:solidFill>
              <a:latin typeface="Arial" pitchFamily="34" charset="0"/>
            </a:endParaRP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54977" y="0"/>
            <a:ext cx="2691355" cy="6858000"/>
          </a:xfrm>
          <a:prstGeom prst="rect">
            <a:avLst/>
          </a:prstGeom>
        </p:spPr>
      </p:pic>
    </p:spTree>
    <p:extLst>
      <p:ext uri="{BB962C8B-B14F-4D97-AF65-F5344CB8AC3E}">
        <p14:creationId xmlns:p14="http://schemas.microsoft.com/office/powerpoint/2010/main" val="47748034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Custom Content">
    <p:bg>
      <p:bgPr>
        <a:blipFill dpi="0" rotWithShape="1">
          <a:blip r:embed="rId2" cstate="print">
            <a:lum/>
          </a:blip>
          <a:srcRect/>
          <a:stretch>
            <a:fillRect t="-9000" b="-9000"/>
          </a:stretch>
        </a:blipFill>
        <a:effectLst/>
      </p:bgPr>
    </p:bg>
    <p:spTree>
      <p:nvGrpSpPr>
        <p:cNvPr id="1" name=""/>
        <p:cNvGrpSpPr/>
        <p:nvPr/>
      </p:nvGrpSpPr>
      <p:grpSpPr>
        <a:xfrm>
          <a:off x="0" y="0"/>
          <a:ext cx="0" cy="0"/>
          <a:chOff x="0" y="0"/>
          <a:chExt cx="0" cy="0"/>
        </a:xfrm>
      </p:grpSpPr>
      <p:sp>
        <p:nvSpPr>
          <p:cNvPr id="10" name="Rectangle 9"/>
          <p:cNvSpPr/>
          <p:nvPr userDrawn="1"/>
        </p:nvSpPr>
        <p:spPr>
          <a:xfrm>
            <a:off x="4772416" y="0"/>
            <a:ext cx="7419584" cy="6858000"/>
          </a:xfrm>
          <a:prstGeom prst="rect">
            <a:avLst/>
          </a:prstGeom>
          <a:solidFill>
            <a:srgbClr val="092341">
              <a:alpha val="50000"/>
            </a:srgb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lt-LT"/>
          </a:p>
        </p:txBody>
      </p:sp>
      <p:sp>
        <p:nvSpPr>
          <p:cNvPr id="3" name="Rectangle 2"/>
          <p:cNvSpPr/>
          <p:nvPr userDrawn="1"/>
        </p:nvSpPr>
        <p:spPr>
          <a:xfrm>
            <a:off x="0" y="0"/>
            <a:ext cx="4772416" cy="6858000"/>
          </a:xfrm>
          <a:prstGeom prst="rect">
            <a:avLst/>
          </a:prstGeom>
          <a:solidFill>
            <a:srgbClr val="061A26">
              <a:alpha val="9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lt-LT"/>
          </a:p>
        </p:txBody>
      </p:sp>
      <p:sp>
        <p:nvSpPr>
          <p:cNvPr id="2" name="Title 1"/>
          <p:cNvSpPr>
            <a:spLocks noGrp="1"/>
          </p:cNvSpPr>
          <p:nvPr>
            <p:ph type="title"/>
          </p:nvPr>
        </p:nvSpPr>
        <p:spPr>
          <a:xfrm>
            <a:off x="5303519" y="1012874"/>
            <a:ext cx="6555545" cy="4834473"/>
          </a:xfrm>
          <a:prstGeom prst="rect">
            <a:avLst/>
          </a:prstGeom>
        </p:spPr>
        <p:txBody>
          <a:bodyPr anchor="ctr">
            <a:normAutofit/>
          </a:bodyPr>
          <a:lstStyle>
            <a:lvl1pPr algn="r">
              <a:defRPr sz="6600" b="1">
                <a:solidFill>
                  <a:srgbClr val="F5F5F5"/>
                </a:solidFill>
                <a:latin typeface="Cambria Math" panose="02040503050406030204" pitchFamily="18" charset="0"/>
                <a:ea typeface="Cambria Math" panose="02040503050406030204" pitchFamily="18" charset="0"/>
              </a:defRPr>
            </a:lvl1pPr>
          </a:lstStyle>
          <a:p>
            <a:r>
              <a:rPr lang="en-US" dirty="0"/>
              <a:t>Click to edit Master title style</a:t>
            </a:r>
            <a:endParaRPr lang="lt-LT" dirty="0"/>
          </a:p>
        </p:txBody>
      </p:sp>
      <p:sp>
        <p:nvSpPr>
          <p:cNvPr id="8" name="Text Placeholder 7"/>
          <p:cNvSpPr>
            <a:spLocks noGrp="1"/>
          </p:cNvSpPr>
          <p:nvPr>
            <p:ph type="body" sz="quarter" idx="13"/>
          </p:nvPr>
        </p:nvSpPr>
        <p:spPr>
          <a:xfrm>
            <a:off x="847879" y="2652222"/>
            <a:ext cx="3495236" cy="3195125"/>
          </a:xfrm>
          <a:prstGeom prst="rect">
            <a:avLst/>
          </a:prstGeom>
        </p:spPr>
        <p:txBody>
          <a:bodyPr>
            <a:normAutofit/>
          </a:bodyPr>
          <a:lstStyle>
            <a:lvl1pPr marL="228600" indent="-228600">
              <a:buSzPct val="50000"/>
              <a:buFont typeface="Wingdings" panose="05000000000000000000" pitchFamily="2" charset="2"/>
              <a:buChar char="§"/>
              <a:defRPr sz="2000">
                <a:solidFill>
                  <a:srgbClr val="F5F5F5"/>
                </a:solidFill>
                <a:latin typeface="+mj-lt"/>
                <a:cs typeface="Times New Roman" panose="02020603050405020304" pitchFamily="18" charset="0"/>
              </a:defRPr>
            </a:lvl1pPr>
            <a:lvl2pPr marL="685800" indent="-228600">
              <a:buSzPct val="50000"/>
              <a:buFont typeface="Wingdings" panose="05000000000000000000" pitchFamily="2" charset="2"/>
              <a:buChar char="§"/>
              <a:defRPr sz="1800">
                <a:solidFill>
                  <a:srgbClr val="F5F5F5"/>
                </a:solidFill>
                <a:latin typeface="+mj-lt"/>
                <a:cs typeface="Times New Roman" panose="02020603050405020304" pitchFamily="18" charset="0"/>
              </a:defRPr>
            </a:lvl2pPr>
            <a:lvl3pPr marL="1143000" indent="-228600">
              <a:buSzPct val="50000"/>
              <a:buFont typeface="Wingdings" panose="05000000000000000000" pitchFamily="2" charset="2"/>
              <a:buChar char="§"/>
              <a:defRPr sz="1600">
                <a:solidFill>
                  <a:srgbClr val="F5F5F5"/>
                </a:solidFill>
                <a:latin typeface="+mj-lt"/>
                <a:cs typeface="Times New Roman" panose="02020603050405020304" pitchFamily="18" charset="0"/>
              </a:defRPr>
            </a:lvl3pPr>
            <a:lvl4pPr marL="1600200" indent="-228600">
              <a:buSzPct val="50000"/>
              <a:buFont typeface="Wingdings" panose="05000000000000000000" pitchFamily="2" charset="2"/>
              <a:buChar char="§"/>
              <a:defRPr sz="1400">
                <a:solidFill>
                  <a:srgbClr val="F5F5F5"/>
                </a:solidFill>
                <a:latin typeface="+mj-lt"/>
                <a:cs typeface="Times New Roman" panose="02020603050405020304" pitchFamily="18" charset="0"/>
              </a:defRPr>
            </a:lvl4pPr>
            <a:lvl5pPr marL="2057400" indent="-228600">
              <a:buSzPct val="50000"/>
              <a:buFont typeface="Wingdings" panose="05000000000000000000" pitchFamily="2" charset="2"/>
              <a:buChar char="§"/>
              <a:defRPr sz="1400">
                <a:solidFill>
                  <a:srgbClr val="F5F5F5"/>
                </a:solidFill>
                <a:latin typeface="+mj-lt"/>
                <a:cs typeface="Times New Roman" panose="02020603050405020304" pitchFamily="18"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lt-LT" dirty="0"/>
          </a:p>
        </p:txBody>
      </p:sp>
      <p:sp>
        <p:nvSpPr>
          <p:cNvPr id="6" name="Text Placeholder 5"/>
          <p:cNvSpPr>
            <a:spLocks noGrp="1"/>
          </p:cNvSpPr>
          <p:nvPr>
            <p:ph type="body" sz="quarter" idx="14" hasCustomPrompt="1"/>
          </p:nvPr>
        </p:nvSpPr>
        <p:spPr>
          <a:xfrm>
            <a:off x="847879" y="1012874"/>
            <a:ext cx="3495236" cy="1094871"/>
          </a:xfrm>
          <a:prstGeom prst="rect">
            <a:avLst/>
          </a:prstGeom>
        </p:spPr>
        <p:txBody>
          <a:bodyPr anchor="b">
            <a:noAutofit/>
          </a:bodyPr>
          <a:lstStyle>
            <a:lvl1pPr marL="0" indent="0" algn="l">
              <a:buNone/>
              <a:defRPr sz="2800" b="1">
                <a:solidFill>
                  <a:srgbClr val="F5F5F5"/>
                </a:solidFill>
                <a:latin typeface="Cambria Math" panose="02040503050406030204" pitchFamily="18" charset="0"/>
                <a:ea typeface="Cambria Math" panose="02040503050406030204" pitchFamily="18" charset="0"/>
              </a:defRPr>
            </a:lvl1pPr>
            <a:lvl2pPr algn="r">
              <a:defRPr sz="2000">
                <a:latin typeface="+mj-lt"/>
              </a:defRPr>
            </a:lvl2pPr>
            <a:lvl3pPr algn="r">
              <a:defRPr sz="1800">
                <a:latin typeface="+mj-lt"/>
              </a:defRPr>
            </a:lvl3pPr>
            <a:lvl4pPr algn="r">
              <a:defRPr sz="1600">
                <a:latin typeface="+mj-lt"/>
              </a:defRPr>
            </a:lvl4pPr>
            <a:lvl5pPr algn="r">
              <a:defRPr sz="1600">
                <a:latin typeface="+mj-lt"/>
              </a:defRPr>
            </a:lvl5pPr>
          </a:lstStyle>
          <a:p>
            <a:pPr lvl="0"/>
            <a:r>
              <a:rPr lang="en-US" dirty="0"/>
              <a:t>Click to edit Title style</a:t>
            </a:r>
            <a:endParaRPr lang="lt-LT" dirty="0"/>
          </a:p>
        </p:txBody>
      </p:sp>
    </p:spTree>
    <p:extLst>
      <p:ext uri="{BB962C8B-B14F-4D97-AF65-F5344CB8AC3E}">
        <p14:creationId xmlns:p14="http://schemas.microsoft.com/office/powerpoint/2010/main" val="320957107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_Custom Content">
    <p:bg>
      <p:bgPr>
        <a:blipFill dpi="0" rotWithShape="1">
          <a:blip r:embed="rId2" cstate="print">
            <a:lum/>
          </a:blip>
          <a:srcRect/>
          <a:stretch>
            <a:fillRect t="-9000" b="-9000"/>
          </a:stretch>
        </a:blipFill>
        <a:effectLst/>
      </p:bgPr>
    </p:bg>
    <p:spTree>
      <p:nvGrpSpPr>
        <p:cNvPr id="1" name=""/>
        <p:cNvGrpSpPr/>
        <p:nvPr/>
      </p:nvGrpSpPr>
      <p:grpSpPr>
        <a:xfrm>
          <a:off x="0" y="0"/>
          <a:ext cx="0" cy="0"/>
          <a:chOff x="0" y="0"/>
          <a:chExt cx="0" cy="0"/>
        </a:xfrm>
      </p:grpSpPr>
      <p:sp>
        <p:nvSpPr>
          <p:cNvPr id="10" name="Rectangle 9"/>
          <p:cNvSpPr/>
          <p:nvPr userDrawn="1"/>
        </p:nvSpPr>
        <p:spPr>
          <a:xfrm>
            <a:off x="4772416" y="0"/>
            <a:ext cx="7419584" cy="6858000"/>
          </a:xfrm>
          <a:prstGeom prst="rect">
            <a:avLst/>
          </a:prstGeom>
          <a:solidFill>
            <a:srgbClr val="092341">
              <a:alpha val="50000"/>
            </a:srgb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lt-LT"/>
          </a:p>
        </p:txBody>
      </p:sp>
      <p:sp>
        <p:nvSpPr>
          <p:cNvPr id="3" name="Rectangle 2"/>
          <p:cNvSpPr/>
          <p:nvPr userDrawn="1"/>
        </p:nvSpPr>
        <p:spPr>
          <a:xfrm>
            <a:off x="0" y="0"/>
            <a:ext cx="4772416" cy="6858000"/>
          </a:xfrm>
          <a:prstGeom prst="rect">
            <a:avLst/>
          </a:prstGeom>
          <a:solidFill>
            <a:srgbClr val="061A26">
              <a:alpha val="9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lt-LT"/>
          </a:p>
        </p:txBody>
      </p:sp>
      <p:sp>
        <p:nvSpPr>
          <p:cNvPr id="2" name="Title 1"/>
          <p:cNvSpPr>
            <a:spLocks noGrp="1"/>
          </p:cNvSpPr>
          <p:nvPr>
            <p:ph type="title"/>
          </p:nvPr>
        </p:nvSpPr>
        <p:spPr>
          <a:xfrm>
            <a:off x="5303519" y="1012874"/>
            <a:ext cx="6555545" cy="4834473"/>
          </a:xfrm>
          <a:prstGeom prst="rect">
            <a:avLst/>
          </a:prstGeom>
        </p:spPr>
        <p:txBody>
          <a:bodyPr anchor="ctr">
            <a:normAutofit/>
          </a:bodyPr>
          <a:lstStyle>
            <a:lvl1pPr algn="r">
              <a:defRPr sz="6600" b="1">
                <a:solidFill>
                  <a:srgbClr val="F5F5F5"/>
                </a:solidFill>
                <a:latin typeface="Cambria Math" panose="02040503050406030204" pitchFamily="18" charset="0"/>
                <a:ea typeface="Cambria Math" panose="02040503050406030204" pitchFamily="18" charset="0"/>
              </a:defRPr>
            </a:lvl1pPr>
          </a:lstStyle>
          <a:p>
            <a:r>
              <a:rPr lang="en-US" dirty="0"/>
              <a:t>Click to edit Master title style</a:t>
            </a:r>
            <a:endParaRPr lang="lt-LT" dirty="0"/>
          </a:p>
        </p:txBody>
      </p:sp>
      <p:sp>
        <p:nvSpPr>
          <p:cNvPr id="8" name="Text Placeholder 7"/>
          <p:cNvSpPr>
            <a:spLocks noGrp="1"/>
          </p:cNvSpPr>
          <p:nvPr>
            <p:ph type="body" sz="quarter" idx="13"/>
          </p:nvPr>
        </p:nvSpPr>
        <p:spPr>
          <a:xfrm>
            <a:off x="847879" y="2652222"/>
            <a:ext cx="3495236" cy="3195125"/>
          </a:xfrm>
          <a:prstGeom prst="rect">
            <a:avLst/>
          </a:prstGeom>
        </p:spPr>
        <p:txBody>
          <a:bodyPr>
            <a:normAutofit/>
          </a:bodyPr>
          <a:lstStyle>
            <a:lvl1pPr marL="228600" indent="-228600">
              <a:buSzPct val="50000"/>
              <a:buFont typeface="Wingdings" panose="05000000000000000000" pitchFamily="2" charset="2"/>
              <a:buChar char="§"/>
              <a:defRPr sz="2000">
                <a:solidFill>
                  <a:srgbClr val="F5F5F5"/>
                </a:solidFill>
                <a:latin typeface="+mj-lt"/>
                <a:cs typeface="Times New Roman" panose="02020603050405020304" pitchFamily="18" charset="0"/>
              </a:defRPr>
            </a:lvl1pPr>
            <a:lvl2pPr marL="685800" indent="-228600">
              <a:buSzPct val="50000"/>
              <a:buFont typeface="Wingdings" panose="05000000000000000000" pitchFamily="2" charset="2"/>
              <a:buChar char="§"/>
              <a:defRPr sz="1800">
                <a:solidFill>
                  <a:srgbClr val="F5F5F5"/>
                </a:solidFill>
                <a:latin typeface="+mj-lt"/>
                <a:cs typeface="Times New Roman" panose="02020603050405020304" pitchFamily="18" charset="0"/>
              </a:defRPr>
            </a:lvl2pPr>
            <a:lvl3pPr marL="1143000" indent="-228600">
              <a:buSzPct val="50000"/>
              <a:buFont typeface="Wingdings" panose="05000000000000000000" pitchFamily="2" charset="2"/>
              <a:buChar char="§"/>
              <a:defRPr sz="1600">
                <a:solidFill>
                  <a:srgbClr val="F5F5F5"/>
                </a:solidFill>
                <a:latin typeface="+mj-lt"/>
                <a:cs typeface="Times New Roman" panose="02020603050405020304" pitchFamily="18" charset="0"/>
              </a:defRPr>
            </a:lvl3pPr>
            <a:lvl4pPr marL="1600200" indent="-228600">
              <a:buSzPct val="50000"/>
              <a:buFont typeface="Wingdings" panose="05000000000000000000" pitchFamily="2" charset="2"/>
              <a:buChar char="§"/>
              <a:defRPr sz="1400">
                <a:solidFill>
                  <a:srgbClr val="F5F5F5"/>
                </a:solidFill>
                <a:latin typeface="+mj-lt"/>
                <a:cs typeface="Times New Roman" panose="02020603050405020304" pitchFamily="18" charset="0"/>
              </a:defRPr>
            </a:lvl4pPr>
            <a:lvl5pPr marL="2057400" indent="-228600">
              <a:buSzPct val="50000"/>
              <a:buFont typeface="Wingdings" panose="05000000000000000000" pitchFamily="2" charset="2"/>
              <a:buChar char="§"/>
              <a:defRPr sz="1400">
                <a:solidFill>
                  <a:srgbClr val="F5F5F5"/>
                </a:solidFill>
                <a:latin typeface="+mj-lt"/>
                <a:cs typeface="Times New Roman" panose="02020603050405020304" pitchFamily="18"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lt-LT" dirty="0"/>
          </a:p>
        </p:txBody>
      </p:sp>
      <p:sp>
        <p:nvSpPr>
          <p:cNvPr id="6" name="Text Placeholder 5"/>
          <p:cNvSpPr>
            <a:spLocks noGrp="1"/>
          </p:cNvSpPr>
          <p:nvPr>
            <p:ph type="body" sz="quarter" idx="14" hasCustomPrompt="1"/>
          </p:nvPr>
        </p:nvSpPr>
        <p:spPr>
          <a:xfrm>
            <a:off x="847879" y="1012874"/>
            <a:ext cx="3495236" cy="1094871"/>
          </a:xfrm>
          <a:prstGeom prst="rect">
            <a:avLst/>
          </a:prstGeom>
        </p:spPr>
        <p:txBody>
          <a:bodyPr anchor="b">
            <a:noAutofit/>
          </a:bodyPr>
          <a:lstStyle>
            <a:lvl1pPr marL="0" indent="0" algn="l">
              <a:buNone/>
              <a:defRPr sz="2800" b="1">
                <a:solidFill>
                  <a:srgbClr val="F5F5F5"/>
                </a:solidFill>
                <a:latin typeface="Cambria Math" panose="02040503050406030204" pitchFamily="18" charset="0"/>
                <a:ea typeface="Cambria Math" panose="02040503050406030204" pitchFamily="18" charset="0"/>
              </a:defRPr>
            </a:lvl1pPr>
            <a:lvl2pPr algn="r">
              <a:defRPr sz="2000">
                <a:latin typeface="+mj-lt"/>
              </a:defRPr>
            </a:lvl2pPr>
            <a:lvl3pPr algn="r">
              <a:defRPr sz="1800">
                <a:latin typeface="+mj-lt"/>
              </a:defRPr>
            </a:lvl3pPr>
            <a:lvl4pPr algn="r">
              <a:defRPr sz="1600">
                <a:latin typeface="+mj-lt"/>
              </a:defRPr>
            </a:lvl4pPr>
            <a:lvl5pPr algn="r">
              <a:defRPr sz="1600">
                <a:latin typeface="+mj-lt"/>
              </a:defRPr>
            </a:lvl5pPr>
          </a:lstStyle>
          <a:p>
            <a:pPr lvl="0"/>
            <a:r>
              <a:rPr lang="en-US" dirty="0"/>
              <a:t>Click to edit Title style</a:t>
            </a:r>
            <a:endParaRPr lang="lt-LT" dirty="0"/>
          </a:p>
        </p:txBody>
      </p:sp>
    </p:spTree>
    <p:extLst>
      <p:ext uri="{BB962C8B-B14F-4D97-AF65-F5344CB8AC3E}">
        <p14:creationId xmlns:p14="http://schemas.microsoft.com/office/powerpoint/2010/main" val="315248749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8_Question and Content">
    <p:spTree>
      <p:nvGrpSpPr>
        <p:cNvPr id="1" name=""/>
        <p:cNvGrpSpPr/>
        <p:nvPr/>
      </p:nvGrpSpPr>
      <p:grpSpPr>
        <a:xfrm>
          <a:off x="0" y="0"/>
          <a:ext cx="0" cy="0"/>
          <a:chOff x="0" y="0"/>
          <a:chExt cx="0" cy="0"/>
        </a:xfrm>
      </p:grpSpPr>
      <p:sp>
        <p:nvSpPr>
          <p:cNvPr id="3" name="Rectangle 2"/>
          <p:cNvSpPr/>
          <p:nvPr userDrawn="1"/>
        </p:nvSpPr>
        <p:spPr>
          <a:xfrm>
            <a:off x="0" y="1"/>
            <a:ext cx="3982915" cy="6464140"/>
          </a:xfrm>
          <a:prstGeom prst="rect">
            <a:avLst/>
          </a:prstGeom>
          <a:solidFill>
            <a:srgbClr val="061A26">
              <a:alpha val="94000"/>
            </a:srgb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lt-LT"/>
          </a:p>
        </p:txBody>
      </p:sp>
      <p:sp>
        <p:nvSpPr>
          <p:cNvPr id="12" name="Text Placeholder 7"/>
          <p:cNvSpPr>
            <a:spLocks noGrp="1"/>
          </p:cNvSpPr>
          <p:nvPr>
            <p:ph type="body" sz="quarter" idx="13"/>
          </p:nvPr>
        </p:nvSpPr>
        <p:spPr>
          <a:xfrm>
            <a:off x="271681" y="1679330"/>
            <a:ext cx="3640896" cy="4642339"/>
          </a:xfrm>
        </p:spPr>
        <p:txBody>
          <a:bodyPr>
            <a:noAutofit/>
          </a:bodyPr>
          <a:lstStyle>
            <a:lvl1pPr marL="228600" indent="-228600">
              <a:buSzPct val="50000"/>
              <a:buFont typeface="Wingdings" panose="05000000000000000000" pitchFamily="2" charset="2"/>
              <a:buChar char="§"/>
              <a:defRPr sz="2000">
                <a:solidFill>
                  <a:srgbClr val="F5F5F5"/>
                </a:solidFill>
                <a:latin typeface="+mn-lt"/>
                <a:cs typeface="Times New Roman" panose="02020603050405020304" pitchFamily="18" charset="0"/>
              </a:defRPr>
            </a:lvl1pPr>
            <a:lvl2pPr marL="685800" indent="-228600">
              <a:buSzPct val="50000"/>
              <a:buFont typeface="Wingdings" panose="05000000000000000000" pitchFamily="2" charset="2"/>
              <a:buChar char="§"/>
              <a:defRPr sz="1800">
                <a:solidFill>
                  <a:srgbClr val="F5F5F5"/>
                </a:solidFill>
                <a:latin typeface="+mn-lt"/>
                <a:cs typeface="Times New Roman" panose="02020603050405020304" pitchFamily="18" charset="0"/>
              </a:defRPr>
            </a:lvl2pPr>
            <a:lvl3pPr marL="1143000" indent="-228600">
              <a:buSzPct val="50000"/>
              <a:buFont typeface="Wingdings" panose="05000000000000000000" pitchFamily="2" charset="2"/>
              <a:buChar char="§"/>
              <a:defRPr sz="1600">
                <a:solidFill>
                  <a:srgbClr val="F5F5F5"/>
                </a:solidFill>
                <a:latin typeface="+mn-lt"/>
                <a:cs typeface="Times New Roman" panose="02020603050405020304" pitchFamily="18" charset="0"/>
              </a:defRPr>
            </a:lvl3pPr>
            <a:lvl4pPr marL="1600200" indent="-228600">
              <a:buSzPct val="50000"/>
              <a:buFont typeface="Wingdings" panose="05000000000000000000" pitchFamily="2" charset="2"/>
              <a:buChar char="§"/>
              <a:defRPr sz="1400">
                <a:solidFill>
                  <a:srgbClr val="F5F5F5"/>
                </a:solidFill>
                <a:latin typeface="+mn-lt"/>
                <a:cs typeface="Times New Roman" panose="02020603050405020304" pitchFamily="18" charset="0"/>
              </a:defRPr>
            </a:lvl4pPr>
            <a:lvl5pPr marL="2057400" indent="-228600">
              <a:buSzPct val="50000"/>
              <a:buFont typeface="Wingdings" panose="05000000000000000000" pitchFamily="2" charset="2"/>
              <a:buChar char="§"/>
              <a:defRPr sz="1400">
                <a:solidFill>
                  <a:srgbClr val="F5F5F5"/>
                </a:solidFill>
                <a:latin typeface="+mn-lt"/>
                <a:cs typeface="Times New Roman" panose="02020603050405020304" pitchFamily="18"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lt-LT" dirty="0"/>
          </a:p>
        </p:txBody>
      </p:sp>
      <p:sp>
        <p:nvSpPr>
          <p:cNvPr id="13" name="Title 1"/>
          <p:cNvSpPr>
            <a:spLocks noGrp="1"/>
          </p:cNvSpPr>
          <p:nvPr>
            <p:ph type="title"/>
          </p:nvPr>
        </p:nvSpPr>
        <p:spPr>
          <a:xfrm>
            <a:off x="271681" y="185912"/>
            <a:ext cx="3640896" cy="861889"/>
          </a:xfrm>
        </p:spPr>
        <p:txBody>
          <a:bodyPr anchor="ctr">
            <a:normAutofit/>
          </a:bodyPr>
          <a:lstStyle>
            <a:lvl1pPr>
              <a:defRPr sz="3200" b="0">
                <a:solidFill>
                  <a:srgbClr val="F5F5F5"/>
                </a:solidFill>
                <a:latin typeface="Cambria Math" panose="02040503050406030204" pitchFamily="18" charset="0"/>
                <a:ea typeface="Cambria Math" panose="02040503050406030204" pitchFamily="18" charset="0"/>
              </a:defRPr>
            </a:lvl1pPr>
          </a:lstStyle>
          <a:p>
            <a:endParaRPr lang="lt-LT" dirty="0"/>
          </a:p>
        </p:txBody>
      </p:sp>
      <p:sp>
        <p:nvSpPr>
          <p:cNvPr id="14" name="Rectangle 15"/>
          <p:cNvSpPr>
            <a:spLocks noChangeArrowheads="1"/>
          </p:cNvSpPr>
          <p:nvPr userDrawn="1"/>
        </p:nvSpPr>
        <p:spPr bwMode="gray">
          <a:xfrm>
            <a:off x="-1" y="0"/>
            <a:ext cx="271682" cy="6464140"/>
          </a:xfrm>
          <a:prstGeom prst="rect">
            <a:avLst/>
          </a:prstGeom>
          <a:solidFill>
            <a:srgbClr val="FFC000"/>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72000" rIns="91440" bIns="72000" numCol="1" spcCol="0" rtlCol="0" fromWordArt="0" anchor="ctr" anchorCtr="0" forceAA="0" compatLnSpc="1">
            <a:prstTxWarp prst="textNoShape">
              <a:avLst/>
            </a:prstTxWarp>
            <a:noAutofit/>
          </a:bodyPr>
          <a:lstStyle/>
          <a:p>
            <a:endParaRPr lang="lv-LV" sz="1600" b="1" dirty="0">
              <a:solidFill>
                <a:schemeClr val="bg1"/>
              </a:solidFill>
              <a:latin typeface="Arial" pitchFamily="34" charset="0"/>
            </a:endParaRPr>
          </a:p>
        </p:txBody>
      </p:sp>
    </p:spTree>
    <p:extLst>
      <p:ext uri="{BB962C8B-B14F-4D97-AF65-F5344CB8AC3E}">
        <p14:creationId xmlns:p14="http://schemas.microsoft.com/office/powerpoint/2010/main" val="322577362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7_Question and Content">
    <p:spTree>
      <p:nvGrpSpPr>
        <p:cNvPr id="1" name=""/>
        <p:cNvGrpSpPr/>
        <p:nvPr/>
      </p:nvGrpSpPr>
      <p:grpSpPr>
        <a:xfrm>
          <a:off x="0" y="0"/>
          <a:ext cx="0" cy="0"/>
          <a:chOff x="0" y="0"/>
          <a:chExt cx="0" cy="0"/>
        </a:xfrm>
      </p:grpSpPr>
      <p:sp>
        <p:nvSpPr>
          <p:cNvPr id="3" name="Rectangle 2"/>
          <p:cNvSpPr/>
          <p:nvPr userDrawn="1"/>
        </p:nvSpPr>
        <p:spPr>
          <a:xfrm>
            <a:off x="237200" y="903599"/>
            <a:ext cx="10718183" cy="5560542"/>
          </a:xfrm>
          <a:prstGeom prst="rect">
            <a:avLst/>
          </a:prstGeom>
          <a:solidFill>
            <a:srgbClr val="061A26">
              <a:alpha val="94000"/>
            </a:srgb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lt-LT"/>
          </a:p>
        </p:txBody>
      </p:sp>
      <p:sp>
        <p:nvSpPr>
          <p:cNvPr id="17" name="Rectangle 16"/>
          <p:cNvSpPr/>
          <p:nvPr userDrawn="1"/>
        </p:nvSpPr>
        <p:spPr>
          <a:xfrm>
            <a:off x="237198" y="1"/>
            <a:ext cx="11954800" cy="903599"/>
          </a:xfrm>
          <a:prstGeom prst="rect">
            <a:avLst/>
          </a:prstGeom>
          <a:solidFill>
            <a:srgbClr val="061A26">
              <a:alpha val="9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lt-LT"/>
          </a:p>
        </p:txBody>
      </p:sp>
      <p:pic>
        <p:nvPicPr>
          <p:cNvPr id="18" name="Picture 17"/>
          <p:cNvPicPr>
            <a:picLocks noChangeAspect="1"/>
          </p:cNvPicPr>
          <p:nvPr userDrawn="1"/>
        </p:nvPicPr>
        <p:blipFill rotWithShape="1">
          <a:blip r:embed="rId2" cstate="print">
            <a:extLst>
              <a:ext uri="{28A0092B-C50C-407E-A947-70E740481C1C}">
                <a14:useLocalDpi xmlns:a14="http://schemas.microsoft.com/office/drawing/2010/main" val="0"/>
              </a:ext>
            </a:extLst>
          </a:blip>
          <a:srcRect t="12127" b="29796"/>
          <a:stretch/>
        </p:blipFill>
        <p:spPr>
          <a:xfrm>
            <a:off x="10814537" y="51750"/>
            <a:ext cx="1377461" cy="800100"/>
          </a:xfrm>
          <a:prstGeom prst="rect">
            <a:avLst/>
          </a:prstGeom>
        </p:spPr>
      </p:pic>
      <p:sp>
        <p:nvSpPr>
          <p:cNvPr id="13" name="Title 1"/>
          <p:cNvSpPr>
            <a:spLocks noGrp="1"/>
          </p:cNvSpPr>
          <p:nvPr>
            <p:ph type="title" hasCustomPrompt="1"/>
          </p:nvPr>
        </p:nvSpPr>
        <p:spPr>
          <a:xfrm>
            <a:off x="271681" y="185912"/>
            <a:ext cx="9355896" cy="861889"/>
          </a:xfrm>
        </p:spPr>
        <p:txBody>
          <a:bodyPr anchor="ctr">
            <a:normAutofit/>
          </a:bodyPr>
          <a:lstStyle>
            <a:lvl1pPr>
              <a:defRPr sz="3200" b="0">
                <a:solidFill>
                  <a:srgbClr val="F5F5F5"/>
                </a:solidFill>
                <a:latin typeface="Cambria Math" panose="02040503050406030204" pitchFamily="18" charset="0"/>
                <a:ea typeface="Cambria Math" panose="02040503050406030204" pitchFamily="18" charset="0"/>
              </a:defRPr>
            </a:lvl1pPr>
          </a:lstStyle>
          <a:p>
            <a:r>
              <a:rPr lang="lv-LV" dirty="0"/>
              <a:t>Methodology</a:t>
            </a:r>
            <a:endParaRPr lang="lt-LT" dirty="0"/>
          </a:p>
        </p:txBody>
      </p:sp>
      <p:sp>
        <p:nvSpPr>
          <p:cNvPr id="20" name="Rectangle 15"/>
          <p:cNvSpPr>
            <a:spLocks noChangeArrowheads="1"/>
          </p:cNvSpPr>
          <p:nvPr userDrawn="1"/>
        </p:nvSpPr>
        <p:spPr bwMode="gray">
          <a:xfrm>
            <a:off x="-1" y="0"/>
            <a:ext cx="271682" cy="6464140"/>
          </a:xfrm>
          <a:prstGeom prst="rect">
            <a:avLst/>
          </a:prstGeom>
          <a:solidFill>
            <a:srgbClr val="FFC000"/>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72000" rIns="91440" bIns="72000" numCol="1" spcCol="0" rtlCol="0" fromWordArt="0" anchor="ctr" anchorCtr="0" forceAA="0" compatLnSpc="1">
            <a:prstTxWarp prst="textNoShape">
              <a:avLst/>
            </a:prstTxWarp>
            <a:noAutofit/>
          </a:bodyPr>
          <a:lstStyle/>
          <a:p>
            <a:endParaRPr lang="lv-LV" sz="1600" b="1" dirty="0">
              <a:solidFill>
                <a:schemeClr val="bg1"/>
              </a:solidFill>
              <a:latin typeface="Arial" pitchFamily="34" charset="0"/>
            </a:endParaRPr>
          </a:p>
        </p:txBody>
      </p:sp>
      <p:sp>
        <p:nvSpPr>
          <p:cNvPr id="21" name="Rectangle 15"/>
          <p:cNvSpPr>
            <a:spLocks noChangeArrowheads="1"/>
          </p:cNvSpPr>
          <p:nvPr userDrawn="1"/>
        </p:nvSpPr>
        <p:spPr bwMode="gray">
          <a:xfrm>
            <a:off x="271680" y="1047801"/>
            <a:ext cx="2955097" cy="5416339"/>
          </a:xfrm>
          <a:prstGeom prst="rect">
            <a:avLst/>
          </a:prstGeom>
          <a:solidFill>
            <a:srgbClr val="FFC000"/>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72000" rIns="91440" bIns="72000" numCol="1" spcCol="0" rtlCol="0" fromWordArt="0" anchor="ctr" anchorCtr="0" forceAA="0" compatLnSpc="1">
            <a:prstTxWarp prst="textNoShape">
              <a:avLst/>
            </a:prstTxWarp>
            <a:noAutofit/>
          </a:bodyPr>
          <a:lstStyle/>
          <a:p>
            <a:endParaRPr lang="lv-LV" sz="1600" b="1" dirty="0">
              <a:solidFill>
                <a:schemeClr val="bg1"/>
              </a:solidFill>
              <a:latin typeface="Arial" pitchFamily="34" charset="0"/>
            </a:endParaRP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417049" y="851850"/>
            <a:ext cx="1774949" cy="5612290"/>
          </a:xfrm>
          <a:prstGeom prst="rect">
            <a:avLst/>
          </a:prstGeom>
        </p:spPr>
      </p:pic>
    </p:spTree>
    <p:extLst>
      <p:ext uri="{BB962C8B-B14F-4D97-AF65-F5344CB8AC3E}">
        <p14:creationId xmlns:p14="http://schemas.microsoft.com/office/powerpoint/2010/main" val="189338164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sp>
        <p:nvSpPr>
          <p:cNvPr id="3" name="Rectangle 2"/>
          <p:cNvSpPr/>
          <p:nvPr userDrawn="1"/>
        </p:nvSpPr>
        <p:spPr>
          <a:xfrm>
            <a:off x="0" y="1"/>
            <a:ext cx="12191999" cy="903599"/>
          </a:xfrm>
          <a:prstGeom prst="rect">
            <a:avLst/>
          </a:prstGeom>
          <a:solidFill>
            <a:srgbClr val="061A26">
              <a:alpha val="9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lt-LT"/>
          </a:p>
        </p:txBody>
      </p:sp>
      <p:sp>
        <p:nvSpPr>
          <p:cNvPr id="2" name="Title 1"/>
          <p:cNvSpPr>
            <a:spLocks noGrp="1"/>
          </p:cNvSpPr>
          <p:nvPr>
            <p:ph type="title"/>
          </p:nvPr>
        </p:nvSpPr>
        <p:spPr>
          <a:xfrm>
            <a:off x="337352" y="1"/>
            <a:ext cx="11854648" cy="903600"/>
          </a:xfrm>
        </p:spPr>
        <p:txBody>
          <a:bodyPr anchor="ctr">
            <a:normAutofit/>
          </a:bodyPr>
          <a:lstStyle>
            <a:lvl1pPr>
              <a:defRPr sz="3200" b="0">
                <a:solidFill>
                  <a:srgbClr val="F5F5F5"/>
                </a:solidFill>
                <a:latin typeface="Cambria Math" panose="02040503050406030204" pitchFamily="18" charset="0"/>
                <a:ea typeface="Cambria Math" panose="02040503050406030204" pitchFamily="18" charset="0"/>
              </a:defRPr>
            </a:lvl1pPr>
          </a:lstStyle>
          <a:p>
            <a:r>
              <a:rPr lang="en-US" dirty="0"/>
              <a:t>Click to edit Master title style</a:t>
            </a:r>
            <a:endParaRPr lang="lt-LT" dirty="0"/>
          </a:p>
        </p:txBody>
      </p:sp>
      <p:sp>
        <p:nvSpPr>
          <p:cNvPr id="4" name="Rechteck 8">
            <a:extLst>
              <a:ext uri="{FF2B5EF4-FFF2-40B4-BE49-F238E27FC236}">
                <a16:creationId xmlns:a16="http://schemas.microsoft.com/office/drawing/2014/main" id="{C08B11C9-0375-4ABA-B872-FEC01FCC147C}"/>
              </a:ext>
            </a:extLst>
          </p:cNvPr>
          <p:cNvSpPr/>
          <p:nvPr userDrawn="1">
            <p:custDataLst>
              <p:tags r:id="rId1"/>
            </p:custDataLst>
          </p:nvPr>
        </p:nvSpPr>
        <p:spPr bwMode="gray">
          <a:xfrm>
            <a:off x="0" y="903890"/>
            <a:ext cx="12192000" cy="5591503"/>
          </a:xfrm>
          <a:prstGeom prst="rect">
            <a:avLst/>
          </a:prstGeom>
          <a:solidFill>
            <a:srgbClr val="152733">
              <a:alpha val="90000"/>
            </a:srgbClr>
          </a:solidFill>
          <a:ln w="9525" cap="flat" cmpd="sng" algn="ctr">
            <a:noFill/>
            <a:prstDash val="solid"/>
          </a:ln>
          <a:effectLst/>
        </p:spPr>
        <p:txBody>
          <a:bodyPr rot="0" spcFirstLastPara="0" vertOverflow="overflow" horzOverflow="overflow" vert="horz" wrap="square" lIns="157500" tIns="81900" rIns="157500" bIns="81900" numCol="1" spcCol="0" rtlCol="0" fromWordArt="0" anchor="t" anchorCtr="0" forceAA="0" compatLnSpc="1">
            <a:prstTxWarp prst="textNoShape">
              <a:avLst/>
            </a:prstTxWarp>
            <a:noAutofit/>
          </a:bodyPr>
          <a:lstStyle/>
          <a:p>
            <a:pPr defTabSz="1600200">
              <a:lnSpc>
                <a:spcPct val="100000"/>
              </a:lnSpc>
              <a:spcBef>
                <a:spcPts val="525"/>
              </a:spcBef>
              <a:defRPr/>
            </a:pPr>
            <a:endParaRPr lang="en-US" sz="1600" b="1" dirty="0">
              <a:solidFill>
                <a:srgbClr val="FFFFFF"/>
              </a:solidFill>
              <a:cs typeface="Arial" pitchFamily="34" charset="0"/>
            </a:endParaRPr>
          </a:p>
        </p:txBody>
      </p:sp>
      <p:pic>
        <p:nvPicPr>
          <p:cNvPr id="7" name="Picture 6"/>
          <p:cNvPicPr>
            <a:picLocks noChangeAspect="1"/>
          </p:cNvPicPr>
          <p:nvPr userDrawn="1"/>
        </p:nvPicPr>
        <p:blipFill rotWithShape="1">
          <a:blip r:embed="rId3" cstate="print">
            <a:extLst>
              <a:ext uri="{28A0092B-C50C-407E-A947-70E740481C1C}">
                <a14:useLocalDpi xmlns:a14="http://schemas.microsoft.com/office/drawing/2010/main" val="0"/>
              </a:ext>
            </a:extLst>
          </a:blip>
          <a:srcRect t="12127" b="29796"/>
          <a:stretch/>
        </p:blipFill>
        <p:spPr>
          <a:xfrm>
            <a:off x="10814537" y="51750"/>
            <a:ext cx="1377461" cy="800100"/>
          </a:xfrm>
          <a:prstGeom prst="rect">
            <a:avLst/>
          </a:prstGeom>
        </p:spPr>
      </p:pic>
    </p:spTree>
    <p:extLst>
      <p:ext uri="{BB962C8B-B14F-4D97-AF65-F5344CB8AC3E}">
        <p14:creationId xmlns:p14="http://schemas.microsoft.com/office/powerpoint/2010/main" val="219840082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4_Title Only">
    <p:spTree>
      <p:nvGrpSpPr>
        <p:cNvPr id="1" name=""/>
        <p:cNvGrpSpPr/>
        <p:nvPr/>
      </p:nvGrpSpPr>
      <p:grpSpPr>
        <a:xfrm>
          <a:off x="0" y="0"/>
          <a:ext cx="0" cy="0"/>
          <a:chOff x="0" y="0"/>
          <a:chExt cx="0" cy="0"/>
        </a:xfrm>
      </p:grpSpPr>
      <p:sp>
        <p:nvSpPr>
          <p:cNvPr id="3" name="Rectangle 2"/>
          <p:cNvSpPr/>
          <p:nvPr userDrawn="1"/>
        </p:nvSpPr>
        <p:spPr>
          <a:xfrm>
            <a:off x="0" y="1"/>
            <a:ext cx="12191999" cy="903599"/>
          </a:xfrm>
          <a:prstGeom prst="rect">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lt-LT"/>
          </a:p>
        </p:txBody>
      </p:sp>
      <p:sp>
        <p:nvSpPr>
          <p:cNvPr id="2" name="Title 1"/>
          <p:cNvSpPr>
            <a:spLocks noGrp="1"/>
          </p:cNvSpPr>
          <p:nvPr>
            <p:ph type="title"/>
          </p:nvPr>
        </p:nvSpPr>
        <p:spPr>
          <a:xfrm>
            <a:off x="337352" y="1"/>
            <a:ext cx="11854648" cy="903600"/>
          </a:xfrm>
        </p:spPr>
        <p:txBody>
          <a:bodyPr anchor="ctr">
            <a:normAutofit/>
          </a:bodyPr>
          <a:lstStyle>
            <a:lvl1pPr>
              <a:defRPr sz="3200" b="0">
                <a:solidFill>
                  <a:srgbClr val="F5F5F5"/>
                </a:solidFill>
                <a:latin typeface="Cambria Math" panose="02040503050406030204" pitchFamily="18" charset="0"/>
                <a:ea typeface="Cambria Math" panose="02040503050406030204" pitchFamily="18" charset="0"/>
              </a:defRPr>
            </a:lvl1pPr>
          </a:lstStyle>
          <a:p>
            <a:r>
              <a:rPr lang="en-US" dirty="0"/>
              <a:t>Click to edit Master title style</a:t>
            </a:r>
            <a:endParaRPr lang="lt-LT" dirty="0"/>
          </a:p>
        </p:txBody>
      </p:sp>
      <p:sp>
        <p:nvSpPr>
          <p:cNvPr id="4" name="Rechteck 8">
            <a:extLst>
              <a:ext uri="{FF2B5EF4-FFF2-40B4-BE49-F238E27FC236}">
                <a16:creationId xmlns:a16="http://schemas.microsoft.com/office/drawing/2014/main" id="{C08B11C9-0375-4ABA-B872-FEC01FCC147C}"/>
              </a:ext>
            </a:extLst>
          </p:cNvPr>
          <p:cNvSpPr/>
          <p:nvPr userDrawn="1">
            <p:custDataLst>
              <p:tags r:id="rId1"/>
            </p:custDataLst>
          </p:nvPr>
        </p:nvSpPr>
        <p:spPr bwMode="gray">
          <a:xfrm>
            <a:off x="0" y="903890"/>
            <a:ext cx="12192000" cy="5591503"/>
          </a:xfrm>
          <a:prstGeom prst="rect">
            <a:avLst/>
          </a:prstGeom>
          <a:solidFill>
            <a:schemeClr val="accent2">
              <a:lumMod val="50000"/>
            </a:schemeClr>
          </a:solidFill>
          <a:ln w="9525" cap="flat" cmpd="sng" algn="ctr">
            <a:noFill/>
            <a:prstDash val="solid"/>
          </a:ln>
          <a:effectLst/>
        </p:spPr>
        <p:txBody>
          <a:bodyPr rot="0" spcFirstLastPara="0" vertOverflow="overflow" horzOverflow="overflow" vert="horz" wrap="square" lIns="157500" tIns="81900" rIns="157500" bIns="81900" numCol="1" spcCol="0" rtlCol="0" fromWordArt="0" anchor="t" anchorCtr="0" forceAA="0" compatLnSpc="1">
            <a:prstTxWarp prst="textNoShape">
              <a:avLst/>
            </a:prstTxWarp>
            <a:noAutofit/>
          </a:bodyPr>
          <a:lstStyle/>
          <a:p>
            <a:pPr defTabSz="1600200">
              <a:lnSpc>
                <a:spcPct val="100000"/>
              </a:lnSpc>
              <a:spcBef>
                <a:spcPts val="525"/>
              </a:spcBef>
              <a:defRPr/>
            </a:pPr>
            <a:endParaRPr lang="en-US" sz="1600" b="1" dirty="0">
              <a:solidFill>
                <a:srgbClr val="FFFFFF"/>
              </a:solidFill>
              <a:cs typeface="Arial" pitchFamily="34" charset="0"/>
            </a:endParaRPr>
          </a:p>
        </p:txBody>
      </p:sp>
      <p:pic>
        <p:nvPicPr>
          <p:cNvPr id="7" name="Picture 6"/>
          <p:cNvPicPr>
            <a:picLocks noChangeAspect="1"/>
          </p:cNvPicPr>
          <p:nvPr userDrawn="1"/>
        </p:nvPicPr>
        <p:blipFill rotWithShape="1">
          <a:blip r:embed="rId3" cstate="print">
            <a:extLst>
              <a:ext uri="{28A0092B-C50C-407E-A947-70E740481C1C}">
                <a14:useLocalDpi xmlns:a14="http://schemas.microsoft.com/office/drawing/2010/main" val="0"/>
              </a:ext>
            </a:extLst>
          </a:blip>
          <a:srcRect t="12127" b="29796"/>
          <a:stretch/>
        </p:blipFill>
        <p:spPr>
          <a:xfrm>
            <a:off x="10814537" y="51750"/>
            <a:ext cx="1377461" cy="800100"/>
          </a:xfrm>
          <a:prstGeom prst="rect">
            <a:avLst/>
          </a:prstGeom>
        </p:spPr>
      </p:pic>
    </p:spTree>
    <p:extLst>
      <p:ext uri="{BB962C8B-B14F-4D97-AF65-F5344CB8AC3E}">
        <p14:creationId xmlns:p14="http://schemas.microsoft.com/office/powerpoint/2010/main" val="266668280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Rectangle 2"/>
          <p:cNvSpPr/>
          <p:nvPr userDrawn="1"/>
        </p:nvSpPr>
        <p:spPr>
          <a:xfrm>
            <a:off x="1" y="1"/>
            <a:ext cx="10955382" cy="903599"/>
          </a:xfrm>
          <a:prstGeom prst="rect">
            <a:avLst/>
          </a:prstGeom>
          <a:solidFill>
            <a:srgbClr val="061A26">
              <a:alpha val="9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lt-LT"/>
          </a:p>
        </p:txBody>
      </p:sp>
      <p:sp>
        <p:nvSpPr>
          <p:cNvPr id="2" name="Title 1"/>
          <p:cNvSpPr>
            <a:spLocks noGrp="1"/>
          </p:cNvSpPr>
          <p:nvPr>
            <p:ph type="title"/>
          </p:nvPr>
        </p:nvSpPr>
        <p:spPr>
          <a:xfrm>
            <a:off x="337352" y="1"/>
            <a:ext cx="10618032" cy="903600"/>
          </a:xfrm>
        </p:spPr>
        <p:txBody>
          <a:bodyPr anchor="ctr">
            <a:normAutofit/>
          </a:bodyPr>
          <a:lstStyle>
            <a:lvl1pPr>
              <a:defRPr sz="3200" b="0">
                <a:solidFill>
                  <a:srgbClr val="F5F5F5"/>
                </a:solidFill>
                <a:latin typeface="Cambria Math" panose="02040503050406030204" pitchFamily="18" charset="0"/>
                <a:ea typeface="Cambria Math" panose="02040503050406030204" pitchFamily="18" charset="0"/>
              </a:defRPr>
            </a:lvl1pPr>
          </a:lstStyle>
          <a:p>
            <a:r>
              <a:rPr lang="en-US" dirty="0"/>
              <a:t>Click to edit Master title style</a:t>
            </a:r>
            <a:endParaRPr lang="lt-LT" dirty="0"/>
          </a:p>
        </p:txBody>
      </p:sp>
    </p:spTree>
    <p:extLst>
      <p:ext uri="{BB962C8B-B14F-4D97-AF65-F5344CB8AC3E}">
        <p14:creationId xmlns:p14="http://schemas.microsoft.com/office/powerpoint/2010/main" val="226216412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5_Question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3796549783"/>
      </p:ext>
    </p:extLst>
  </p:cSld>
  <p:clrMapOvr>
    <a:masterClrMapping/>
  </p:clrMapOvr>
  <p:hf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9" name="Text Placeholder 8"/>
          <p:cNvSpPr>
            <a:spLocks noGrp="1"/>
          </p:cNvSpPr>
          <p:nvPr>
            <p:ph type="body" sz="quarter" idx="15"/>
          </p:nvPr>
        </p:nvSpPr>
        <p:spPr>
          <a:xfrm>
            <a:off x="710270" y="1941342"/>
            <a:ext cx="10771460" cy="3699617"/>
          </a:xfrm>
        </p:spPr>
        <p:txBody>
          <a:bodyPr>
            <a:normAutofit/>
          </a:bodyPr>
          <a:lstStyle>
            <a:lvl1pPr marL="228600" indent="-228600">
              <a:buSzPct val="50000"/>
              <a:buFont typeface="Wingdings" panose="05000000000000000000" pitchFamily="2" charset="2"/>
              <a:buChar char="§"/>
              <a:defRPr sz="1800">
                <a:solidFill>
                  <a:schemeClr val="tx1"/>
                </a:solidFill>
                <a:latin typeface="+mn-lt"/>
              </a:defRPr>
            </a:lvl1pPr>
            <a:lvl2pPr marL="685800" indent="-228600">
              <a:buSzPct val="50000"/>
              <a:buFont typeface="Wingdings" panose="05000000000000000000" pitchFamily="2" charset="2"/>
              <a:buChar char="§"/>
              <a:defRPr sz="1800">
                <a:solidFill>
                  <a:schemeClr val="tx1"/>
                </a:solidFill>
                <a:latin typeface="+mn-lt"/>
              </a:defRPr>
            </a:lvl2pPr>
            <a:lvl3pPr marL="1143000" indent="-228600">
              <a:buSzPct val="50000"/>
              <a:buFont typeface="Wingdings" panose="05000000000000000000" pitchFamily="2" charset="2"/>
              <a:buChar char="§"/>
              <a:defRPr sz="1800">
                <a:solidFill>
                  <a:schemeClr val="tx1"/>
                </a:solidFill>
                <a:latin typeface="+mn-lt"/>
              </a:defRPr>
            </a:lvl3pPr>
            <a:lvl4pPr marL="1600200" indent="-228600">
              <a:buSzPct val="50000"/>
              <a:buFont typeface="Wingdings" panose="05000000000000000000" pitchFamily="2" charset="2"/>
              <a:buChar char="§"/>
              <a:defRPr sz="1800">
                <a:solidFill>
                  <a:schemeClr val="tx1"/>
                </a:solidFill>
                <a:latin typeface="+mn-lt"/>
              </a:defRPr>
            </a:lvl4pPr>
            <a:lvl5pPr marL="2057400" indent="-228600">
              <a:buSzPct val="50000"/>
              <a:buFont typeface="Wingdings" panose="05000000000000000000" pitchFamily="2" charset="2"/>
              <a:buChar char="§"/>
              <a:defRPr sz="1800">
                <a:solidFill>
                  <a:schemeClr val="tx1"/>
                </a:solidFill>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lt-LT" dirty="0"/>
          </a:p>
        </p:txBody>
      </p:sp>
      <p:sp>
        <p:nvSpPr>
          <p:cNvPr id="8" name="Rectangle 7"/>
          <p:cNvSpPr/>
          <p:nvPr userDrawn="1"/>
        </p:nvSpPr>
        <p:spPr>
          <a:xfrm>
            <a:off x="1" y="1"/>
            <a:ext cx="10955382" cy="903599"/>
          </a:xfrm>
          <a:prstGeom prst="rect">
            <a:avLst/>
          </a:prstGeom>
          <a:solidFill>
            <a:srgbClr val="061A26">
              <a:alpha val="9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lt-LT"/>
          </a:p>
        </p:txBody>
      </p:sp>
      <p:sp>
        <p:nvSpPr>
          <p:cNvPr id="10" name="Title 1"/>
          <p:cNvSpPr>
            <a:spLocks noGrp="1"/>
          </p:cNvSpPr>
          <p:nvPr>
            <p:ph type="title"/>
          </p:nvPr>
        </p:nvSpPr>
        <p:spPr>
          <a:xfrm>
            <a:off x="337352" y="1"/>
            <a:ext cx="10618032" cy="903600"/>
          </a:xfrm>
        </p:spPr>
        <p:txBody>
          <a:bodyPr anchor="ctr">
            <a:normAutofit/>
          </a:bodyPr>
          <a:lstStyle>
            <a:lvl1pPr>
              <a:defRPr sz="3200" b="0">
                <a:solidFill>
                  <a:srgbClr val="F5F5F5"/>
                </a:solidFill>
                <a:latin typeface="Cambria Math" panose="02040503050406030204" pitchFamily="18" charset="0"/>
                <a:ea typeface="Cambria Math" panose="02040503050406030204" pitchFamily="18" charset="0"/>
              </a:defRPr>
            </a:lvl1pPr>
          </a:lstStyle>
          <a:p>
            <a:r>
              <a:rPr lang="en-US" dirty="0"/>
              <a:t>Click to edit Master title style</a:t>
            </a:r>
            <a:endParaRPr lang="lt-LT" dirty="0"/>
          </a:p>
        </p:txBody>
      </p:sp>
    </p:spTree>
    <p:extLst>
      <p:ext uri="{BB962C8B-B14F-4D97-AF65-F5344CB8AC3E}">
        <p14:creationId xmlns:p14="http://schemas.microsoft.com/office/powerpoint/2010/main" val="119877727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6.xml"/><Relationship Id="rId3" Type="http://schemas.openxmlformats.org/officeDocument/2006/relationships/slideLayout" Target="../slideLayouts/slideLayout21.xml"/><Relationship Id="rId7" Type="http://schemas.openxmlformats.org/officeDocument/2006/relationships/slideLayout" Target="../slideLayouts/slideLayout25.xml"/><Relationship Id="rId2" Type="http://schemas.openxmlformats.org/officeDocument/2006/relationships/slideLayout" Target="../slideLayouts/slideLayout20.xml"/><Relationship Id="rId1" Type="http://schemas.openxmlformats.org/officeDocument/2006/relationships/slideLayout" Target="../slideLayouts/slideLayout19.xml"/><Relationship Id="rId6" Type="http://schemas.openxmlformats.org/officeDocument/2006/relationships/slideLayout" Target="../slideLayouts/slideLayout24.xml"/><Relationship Id="rId5" Type="http://schemas.openxmlformats.org/officeDocument/2006/relationships/slideLayout" Target="../slideLayouts/slideLayout23.xml"/><Relationship Id="rId10" Type="http://schemas.openxmlformats.org/officeDocument/2006/relationships/theme" Target="../theme/theme2.xml"/><Relationship Id="rId4" Type="http://schemas.openxmlformats.org/officeDocument/2006/relationships/slideLayout" Target="../slideLayouts/slideLayout22.xml"/><Relationship Id="rId9" Type="http://schemas.openxmlformats.org/officeDocument/2006/relationships/slideLayout" Target="../slideLayouts/slideLayout2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07830" y="1"/>
            <a:ext cx="10521427" cy="903600"/>
          </a:xfrm>
          <a:prstGeom prst="rect">
            <a:avLst/>
          </a:prstGeom>
        </p:spPr>
        <p:txBody>
          <a:bodyPr vert="horz" lIns="91440" tIns="45720" rIns="91440" bIns="45720" rtlCol="0" anchor="ctr">
            <a:normAutofit/>
          </a:bodyPr>
          <a:lstStyle/>
          <a:p>
            <a:r>
              <a:rPr lang="en-US" dirty="0"/>
              <a:t>Click to edit Master title style</a:t>
            </a:r>
            <a:endParaRPr lang="lt-LT"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lt-LT" dirty="0"/>
          </a:p>
        </p:txBody>
      </p:sp>
      <p:sp>
        <p:nvSpPr>
          <p:cNvPr id="5" name="Rectangle 4"/>
          <p:cNvSpPr/>
          <p:nvPr userDrawn="1"/>
        </p:nvSpPr>
        <p:spPr>
          <a:xfrm>
            <a:off x="0" y="6474994"/>
            <a:ext cx="12192000" cy="383006"/>
          </a:xfrm>
          <a:prstGeom prst="rect">
            <a:avLst/>
          </a:prstGeom>
          <a:solidFill>
            <a:srgbClr val="061A26">
              <a:alpha val="94000"/>
            </a:srgb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lt-LT" dirty="0"/>
          </a:p>
        </p:txBody>
      </p:sp>
      <p:sp>
        <p:nvSpPr>
          <p:cNvPr id="7" name="Text Placeholder 7"/>
          <p:cNvSpPr txBox="1">
            <a:spLocks/>
          </p:cNvSpPr>
          <p:nvPr userDrawn="1"/>
        </p:nvSpPr>
        <p:spPr>
          <a:xfrm>
            <a:off x="273376" y="6474994"/>
            <a:ext cx="5784523" cy="383006"/>
          </a:xfrm>
          <a:prstGeom prst="rect">
            <a:avLst/>
          </a:prstGeom>
        </p:spPr>
        <p:txBody>
          <a:bodyPr anchor="ctr">
            <a:noAutofit/>
          </a:bodyPr>
          <a:lstStyle>
            <a:lvl1pPr marL="0" indent="0" algn="l" defTabSz="914400" rtl="0" eaLnBrk="1" latinLnBrk="0" hangingPunct="1">
              <a:lnSpc>
                <a:spcPct val="90000"/>
              </a:lnSpc>
              <a:spcBef>
                <a:spcPts val="1000"/>
              </a:spcBef>
              <a:buFont typeface="Arial" panose="020B0604020202020204" pitchFamily="34" charset="0"/>
              <a:buNone/>
              <a:defRPr sz="1250" kern="1200">
                <a:solidFill>
                  <a:srgbClr val="11B5CE"/>
                </a:solidFill>
                <a:latin typeface="+mn-lt"/>
                <a:ea typeface="+mn-ea"/>
                <a:cs typeface="Times New Roman" panose="02020603050405020304" pitchFamily="18"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accent2"/>
                </a:solidFill>
                <a:latin typeface="+mn-lt"/>
                <a:ea typeface="+mn-ea"/>
                <a:cs typeface="Times New Roman" panose="02020603050405020304" pitchFamily="18"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accent2"/>
                </a:solidFill>
                <a:latin typeface="+mn-lt"/>
                <a:ea typeface="+mn-ea"/>
                <a:cs typeface="Times New Roman" panose="02020603050405020304" pitchFamily="18"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accent2"/>
                </a:solidFill>
                <a:latin typeface="+mn-lt"/>
                <a:ea typeface="+mn-ea"/>
                <a:cs typeface="Times New Roman" panose="02020603050405020304" pitchFamily="18"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accent2"/>
                </a:solidFill>
                <a:latin typeface="+mn-lt"/>
                <a:ea typeface="+mn-ea"/>
                <a:cs typeface="Times New Roman" panose="02020603050405020304" pitchFamily="18"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ts val="0"/>
              </a:spcBef>
            </a:pPr>
            <a:r>
              <a:rPr lang="en-US" sz="1200" dirty="0" err="1"/>
              <a:t>Valsts</a:t>
            </a:r>
            <a:r>
              <a:rPr lang="en-US" sz="1200" dirty="0"/>
              <a:t> vides </a:t>
            </a:r>
            <a:r>
              <a:rPr lang="en-US" sz="1200" dirty="0" err="1"/>
              <a:t>dienesta</a:t>
            </a:r>
            <a:r>
              <a:rPr lang="en-US" sz="1200" dirty="0"/>
              <a:t> vides </a:t>
            </a:r>
            <a:r>
              <a:rPr lang="en-US" sz="1200" dirty="0" err="1"/>
              <a:t>inspekcijas</a:t>
            </a:r>
            <a:r>
              <a:rPr lang="en-US" sz="1200" dirty="0"/>
              <a:t> </a:t>
            </a:r>
            <a:r>
              <a:rPr lang="en-US" sz="1200" dirty="0" err="1"/>
              <a:t>klientu</a:t>
            </a:r>
            <a:r>
              <a:rPr lang="en-US" sz="1200" dirty="0"/>
              <a:t> </a:t>
            </a:r>
            <a:r>
              <a:rPr lang="en-US" sz="1200" dirty="0" err="1"/>
              <a:t>apmierinātības</a:t>
            </a:r>
            <a:r>
              <a:rPr lang="en-US" sz="1200" dirty="0"/>
              <a:t> </a:t>
            </a:r>
            <a:r>
              <a:rPr lang="en-US" sz="1200" dirty="0" err="1"/>
              <a:t>aptauja</a:t>
            </a:r>
            <a:endParaRPr lang="en-US" sz="1200" dirty="0"/>
          </a:p>
        </p:txBody>
      </p:sp>
      <p:sp>
        <p:nvSpPr>
          <p:cNvPr id="8" name="Text Placeholder 7"/>
          <p:cNvSpPr txBox="1">
            <a:spLocks/>
          </p:cNvSpPr>
          <p:nvPr userDrawn="1"/>
        </p:nvSpPr>
        <p:spPr>
          <a:xfrm>
            <a:off x="5067446" y="6474994"/>
            <a:ext cx="2448052" cy="383006"/>
          </a:xfrm>
          <a:prstGeom prst="rect">
            <a:avLst/>
          </a:prstGeom>
        </p:spPr>
        <p:txBody>
          <a:bodyPr anchor="ctr">
            <a:noAutofit/>
          </a:bodyPr>
          <a:lstStyle>
            <a:lvl1pPr marL="0" indent="0" algn="ctr" defTabSz="914400" rtl="0" eaLnBrk="1" latinLnBrk="0" hangingPunct="1">
              <a:lnSpc>
                <a:spcPct val="90000"/>
              </a:lnSpc>
              <a:spcBef>
                <a:spcPts val="1000"/>
              </a:spcBef>
              <a:buFont typeface="Arial" panose="020B0604020202020204" pitchFamily="34" charset="0"/>
              <a:buNone/>
              <a:defRPr sz="1250" kern="1200">
                <a:solidFill>
                  <a:srgbClr val="11B5CE"/>
                </a:solidFill>
                <a:latin typeface="+mn-lt"/>
                <a:ea typeface="+mn-ea"/>
                <a:cs typeface="Times New Roman" panose="02020603050405020304" pitchFamily="18"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accent2"/>
                </a:solidFill>
                <a:latin typeface="+mn-lt"/>
                <a:ea typeface="+mn-ea"/>
                <a:cs typeface="Times New Roman" panose="02020603050405020304" pitchFamily="18"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accent2"/>
                </a:solidFill>
                <a:latin typeface="+mn-lt"/>
                <a:ea typeface="+mn-ea"/>
                <a:cs typeface="Times New Roman" panose="02020603050405020304" pitchFamily="18"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accent2"/>
                </a:solidFill>
                <a:latin typeface="+mn-lt"/>
                <a:ea typeface="+mn-ea"/>
                <a:cs typeface="Times New Roman" panose="02020603050405020304" pitchFamily="18"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accent2"/>
                </a:solidFill>
                <a:latin typeface="+mn-lt"/>
                <a:ea typeface="+mn-ea"/>
                <a:cs typeface="Times New Roman" panose="02020603050405020304" pitchFamily="18"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fld id="{1017BF13-972B-4B85-B3E1-F5DD6A7635E8}" type="slidenum">
              <a:rPr lang="en-US" sz="1200" smtClean="0"/>
              <a:pPr/>
              <a:t>‹#›</a:t>
            </a:fld>
            <a:endParaRPr lang="lt-LT" sz="1200" dirty="0"/>
          </a:p>
        </p:txBody>
      </p:sp>
      <p:sp>
        <p:nvSpPr>
          <p:cNvPr id="9" name="Text Placeholder 7"/>
          <p:cNvSpPr txBox="1">
            <a:spLocks/>
          </p:cNvSpPr>
          <p:nvPr userDrawn="1"/>
        </p:nvSpPr>
        <p:spPr>
          <a:xfrm>
            <a:off x="9530588" y="6474994"/>
            <a:ext cx="2448052" cy="383006"/>
          </a:xfrm>
          <a:prstGeom prst="rect">
            <a:avLst/>
          </a:prstGeom>
        </p:spPr>
        <p:txBody>
          <a:bodyPr anchor="ctr">
            <a:noAutofit/>
          </a:bodyPr>
          <a:lstStyle>
            <a:lvl1pPr marL="0" indent="0" algn="ctr" defTabSz="914400" rtl="0" eaLnBrk="1" latinLnBrk="0" hangingPunct="1">
              <a:lnSpc>
                <a:spcPct val="90000"/>
              </a:lnSpc>
              <a:spcBef>
                <a:spcPts val="1000"/>
              </a:spcBef>
              <a:buFont typeface="Arial" panose="020B0604020202020204" pitchFamily="34" charset="0"/>
              <a:buNone/>
              <a:defRPr sz="1250" kern="1200">
                <a:solidFill>
                  <a:srgbClr val="11B5CE"/>
                </a:solidFill>
                <a:latin typeface="+mn-lt"/>
                <a:ea typeface="+mn-ea"/>
                <a:cs typeface="Times New Roman" panose="02020603050405020304" pitchFamily="18"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accent2"/>
                </a:solidFill>
                <a:latin typeface="+mn-lt"/>
                <a:ea typeface="+mn-ea"/>
                <a:cs typeface="Times New Roman" panose="02020603050405020304" pitchFamily="18"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accent2"/>
                </a:solidFill>
                <a:latin typeface="+mn-lt"/>
                <a:ea typeface="+mn-ea"/>
                <a:cs typeface="Times New Roman" panose="02020603050405020304" pitchFamily="18"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accent2"/>
                </a:solidFill>
                <a:latin typeface="+mn-lt"/>
                <a:ea typeface="+mn-ea"/>
                <a:cs typeface="Times New Roman" panose="02020603050405020304" pitchFamily="18"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accent2"/>
                </a:solidFill>
                <a:latin typeface="+mn-lt"/>
                <a:ea typeface="+mn-ea"/>
                <a:cs typeface="Times New Roman" panose="02020603050405020304" pitchFamily="18"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r>
              <a:rPr lang="lv-LV" sz="1200" dirty="0"/>
              <a:t>2020</a:t>
            </a:r>
            <a:endParaRPr lang="lt-LT" sz="1200" dirty="0"/>
          </a:p>
        </p:txBody>
      </p:sp>
      <p:pic>
        <p:nvPicPr>
          <p:cNvPr id="10" name="Picture 9"/>
          <p:cNvPicPr>
            <a:picLocks noChangeAspect="1"/>
          </p:cNvPicPr>
          <p:nvPr userDrawn="1"/>
        </p:nvPicPr>
        <p:blipFill>
          <a:blip r:embed="rId20"/>
          <a:stretch>
            <a:fillRect/>
          </a:stretch>
        </p:blipFill>
        <p:spPr>
          <a:xfrm>
            <a:off x="11009471" y="0"/>
            <a:ext cx="1108508" cy="829661"/>
          </a:xfrm>
          <a:prstGeom prst="rect">
            <a:avLst/>
          </a:prstGeom>
        </p:spPr>
      </p:pic>
    </p:spTree>
    <p:extLst>
      <p:ext uri="{BB962C8B-B14F-4D97-AF65-F5344CB8AC3E}">
        <p14:creationId xmlns:p14="http://schemas.microsoft.com/office/powerpoint/2010/main" val="1337008030"/>
      </p:ext>
    </p:extLst>
  </p:cSld>
  <p:clrMap bg1="lt1" tx1="dk1" bg2="lt2" tx2="dk2" accent1="accent1" accent2="accent2" accent3="accent3" accent4="accent4" accent5="accent5" accent6="accent6" hlink="hlink" folHlink="folHlink"/>
  <p:sldLayoutIdLst>
    <p:sldLayoutId id="2147483765" r:id="rId1"/>
    <p:sldLayoutId id="2147483766" r:id="rId2"/>
    <p:sldLayoutId id="2147483767" r:id="rId3"/>
    <p:sldLayoutId id="2147483768" r:id="rId4"/>
    <p:sldLayoutId id="2147483769" r:id="rId5"/>
    <p:sldLayoutId id="2147483770" r:id="rId6"/>
    <p:sldLayoutId id="2147483771" r:id="rId7"/>
    <p:sldLayoutId id="2147483772" r:id="rId8"/>
    <p:sldLayoutId id="2147483773" r:id="rId9"/>
    <p:sldLayoutId id="2147483774" r:id="rId10"/>
    <p:sldLayoutId id="2147483775" r:id="rId11"/>
    <p:sldLayoutId id="2147483776" r:id="rId12"/>
    <p:sldLayoutId id="2147483777" r:id="rId13"/>
    <p:sldLayoutId id="2147483778" r:id="rId14"/>
    <p:sldLayoutId id="2147483779" r:id="rId15"/>
    <p:sldLayoutId id="2147483786" r:id="rId16"/>
    <p:sldLayoutId id="2147483787" r:id="rId17"/>
    <p:sldLayoutId id="2147483788" r:id="rId18"/>
  </p:sldLayoutIdLst>
  <p:hf hdr="0" ftr="0" dt="0"/>
  <p:txStyles>
    <p:titleStyle>
      <a:lvl1pPr algn="l" defTabSz="914400" rtl="0" eaLnBrk="1" latinLnBrk="0" hangingPunct="1">
        <a:lnSpc>
          <a:spcPct val="90000"/>
        </a:lnSpc>
        <a:spcBef>
          <a:spcPct val="0"/>
        </a:spcBef>
        <a:buNone/>
        <a:defRPr sz="3200" kern="1200">
          <a:solidFill>
            <a:schemeClr val="tx1"/>
          </a:solidFill>
          <a:latin typeface="Cambria Math" panose="02040503050406030204" pitchFamily="18" charset="0"/>
          <a:ea typeface="Cambria Math" panose="02040503050406030204" pitchFamily="18" charset="0"/>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lt-L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49629647"/>
      </p:ext>
    </p:extLst>
  </p:cSld>
  <p:clrMap bg1="lt1" tx1="dk1" bg2="lt2" tx2="dk2" accent1="accent1" accent2="accent2" accent3="accent3" accent4="accent4" accent5="accent5" accent6="accent6" hlink="hlink" folHlink="folHlink"/>
  <p:sldLayoutIdLst>
    <p:sldLayoutId id="2147483791" r:id="rId1"/>
    <p:sldLayoutId id="2147483792" r:id="rId2"/>
    <p:sldLayoutId id="2147483793" r:id="rId3"/>
    <p:sldLayoutId id="2147483794" r:id="rId4"/>
    <p:sldLayoutId id="2147483795" r:id="rId5"/>
    <p:sldLayoutId id="2147483796" r:id="rId6"/>
    <p:sldLayoutId id="2147483797" r:id="rId7"/>
    <p:sldLayoutId id="2147483798" r:id="rId8"/>
    <p:sldLayoutId id="2147483799" r:id="rId9"/>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12.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2" Type="http://schemas.openxmlformats.org/officeDocument/2006/relationships/chart" Target="../charts/chart5.xml"/><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2" Type="http://schemas.openxmlformats.org/officeDocument/2006/relationships/chart" Target="../charts/chart6.xml"/><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17.xml.rels><?xml version="1.0" encoding="UTF-8" standalone="yes"?>
<Relationships xmlns="http://schemas.openxmlformats.org/package/2006/relationships"><Relationship Id="rId2" Type="http://schemas.openxmlformats.org/officeDocument/2006/relationships/chart" Target="../charts/chart7.xml"/><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2" Type="http://schemas.openxmlformats.org/officeDocument/2006/relationships/chart" Target="../charts/chart8.xml"/><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chart" Target="../charts/chart9.xml"/><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2" Type="http://schemas.openxmlformats.org/officeDocument/2006/relationships/chart" Target="../charts/chart10.xml"/><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23.xml.rels><?xml version="1.0" encoding="UTF-8" standalone="yes"?>
<Relationships xmlns="http://schemas.openxmlformats.org/package/2006/relationships"><Relationship Id="rId2" Type="http://schemas.openxmlformats.org/officeDocument/2006/relationships/chart" Target="../charts/chart11.xml"/><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2" Type="http://schemas.openxmlformats.org/officeDocument/2006/relationships/chart" Target="../charts/chart12.xml"/><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2" Type="http://schemas.openxmlformats.org/officeDocument/2006/relationships/chart" Target="../charts/chart13.xml"/><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2" Type="http://schemas.openxmlformats.org/officeDocument/2006/relationships/chart" Target="../charts/chart14.xml"/><Relationship Id="rId1" Type="http://schemas.openxmlformats.org/officeDocument/2006/relationships/slideLayout" Target="../slideLayouts/slideLayout7.xml"/></Relationships>
</file>

<file path=ppt/slides/_rels/slide27.xml.rels><?xml version="1.0" encoding="UTF-8" standalone="yes"?>
<Relationships xmlns="http://schemas.openxmlformats.org/package/2006/relationships"><Relationship Id="rId2" Type="http://schemas.openxmlformats.org/officeDocument/2006/relationships/chart" Target="../charts/chart15.xml"/><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29.xml.rels><?xml version="1.0" encoding="UTF-8" standalone="yes"?>
<Relationships xmlns="http://schemas.openxmlformats.org/package/2006/relationships"><Relationship Id="rId2" Type="http://schemas.openxmlformats.org/officeDocument/2006/relationships/chart" Target="../charts/chart16.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30.xml.rels><?xml version="1.0" encoding="UTF-8" standalone="yes"?>
<Relationships xmlns="http://schemas.openxmlformats.org/package/2006/relationships"><Relationship Id="rId2" Type="http://schemas.openxmlformats.org/officeDocument/2006/relationships/chart" Target="../charts/chart17.xml"/><Relationship Id="rId1" Type="http://schemas.openxmlformats.org/officeDocument/2006/relationships/slideLayout" Target="../slideLayouts/slideLayout7.xml"/></Relationships>
</file>

<file path=ppt/slides/_rels/slide31.xml.rels><?xml version="1.0" encoding="UTF-8" standalone="yes"?>
<Relationships xmlns="http://schemas.openxmlformats.org/package/2006/relationships"><Relationship Id="rId2" Type="http://schemas.openxmlformats.org/officeDocument/2006/relationships/chart" Target="../charts/chart18.xml"/><Relationship Id="rId1"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33.xml.rels><?xml version="1.0" encoding="UTF-8" standalone="yes"?>
<Relationships xmlns="http://schemas.openxmlformats.org/package/2006/relationships"><Relationship Id="rId2" Type="http://schemas.openxmlformats.org/officeDocument/2006/relationships/chart" Target="../charts/chart19.xml"/><Relationship Id="rId1" Type="http://schemas.openxmlformats.org/officeDocument/2006/relationships/slideLayout" Target="../slideLayouts/slideLayout7.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6.xml.rels><?xml version="1.0" encoding="UTF-8" standalone="yes"?>
<Relationships xmlns="http://schemas.openxmlformats.org/package/2006/relationships"><Relationship Id="rId2" Type="http://schemas.openxmlformats.org/officeDocument/2006/relationships/chart" Target="../charts/chart20.xml"/><Relationship Id="rId1" Type="http://schemas.openxmlformats.org/officeDocument/2006/relationships/slideLayout" Target="../slideLayouts/slideLayout9.xml"/></Relationships>
</file>

<file path=ppt/slides/_rels/slide4.xml.rels><?xml version="1.0" encoding="UTF-8" standalone="yes"?>
<Relationships xmlns="http://schemas.openxmlformats.org/package/2006/relationships"><Relationship Id="rId8" Type="http://schemas.openxmlformats.org/officeDocument/2006/relationships/tags" Target="../tags/tag10.xml"/><Relationship Id="rId3" Type="http://schemas.openxmlformats.org/officeDocument/2006/relationships/tags" Target="../tags/tag5.xml"/><Relationship Id="rId7" Type="http://schemas.openxmlformats.org/officeDocument/2006/relationships/tags" Target="../tags/tag9.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tags" Target="../tags/tag8.xml"/><Relationship Id="rId11" Type="http://schemas.openxmlformats.org/officeDocument/2006/relationships/notesSlide" Target="../notesSlides/notesSlide1.xml"/><Relationship Id="rId5" Type="http://schemas.openxmlformats.org/officeDocument/2006/relationships/tags" Target="../tags/tag7.xml"/><Relationship Id="rId10" Type="http://schemas.openxmlformats.org/officeDocument/2006/relationships/slideLayout" Target="../slideLayouts/slideLayout4.xml"/><Relationship Id="rId4" Type="http://schemas.openxmlformats.org/officeDocument/2006/relationships/tags" Target="../tags/tag6.xml"/><Relationship Id="rId9" Type="http://schemas.openxmlformats.org/officeDocument/2006/relationships/tags" Target="../tags/tag11.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8.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15490665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lv-LV" dirty="0"/>
              <a:t>Sadarbības ar VVD visaugstāk novērtētie aspekti</a:t>
            </a:r>
          </a:p>
        </p:txBody>
      </p:sp>
      <p:sp>
        <p:nvSpPr>
          <p:cNvPr id="3" name="Rectangle 2"/>
          <p:cNvSpPr/>
          <p:nvPr/>
        </p:nvSpPr>
        <p:spPr>
          <a:xfrm>
            <a:off x="337352" y="6259448"/>
            <a:ext cx="5485478" cy="196926"/>
          </a:xfrm>
          <a:prstGeom prst="rect">
            <a:avLst/>
          </a:prstGeom>
        </p:spPr>
        <p:txBody>
          <a:bodyPr vert="horz" lIns="91440" tIns="45720" rIns="91440" bIns="45720" rtlCol="0" anchor="b" anchorCtr="0">
            <a:noAutofit/>
          </a:bodyPr>
          <a:lstStyle/>
          <a:p>
            <a:pPr>
              <a:buSzPct val="50000"/>
              <a:buFont typeface="Wingdings" panose="05000000000000000000" pitchFamily="2" charset="2"/>
              <a:buNone/>
            </a:pPr>
            <a:r>
              <a:rPr lang="lv-LV" sz="1000" dirty="0">
                <a:solidFill>
                  <a:sysClr val="window" lastClr="FFFFFF">
                    <a:lumMod val="50000"/>
                  </a:sysClr>
                </a:solidFill>
                <a:latin typeface="Calibri"/>
              </a:rPr>
              <a:t>Q11. Ko Jūs visaugstāk vērtējat līdzšinējā sadarbībā ar Valsts vides dienestu? Sniedziet pēc iespējas detalizētāku komentāru! </a:t>
            </a:r>
          </a:p>
          <a:p>
            <a:pPr>
              <a:buSzPct val="50000"/>
              <a:buFont typeface="Wingdings" panose="05000000000000000000" pitchFamily="2" charset="2"/>
              <a:buNone/>
            </a:pPr>
            <a:r>
              <a:rPr lang="lv-LV" sz="1000" dirty="0">
                <a:solidFill>
                  <a:sysClr val="window" lastClr="FFFFFF">
                    <a:lumMod val="50000"/>
                  </a:sysClr>
                </a:solidFill>
                <a:latin typeface="Calibri"/>
              </a:rPr>
              <a:t>Bāze: n= 323, Visi klienti</a:t>
            </a:r>
            <a:endParaRPr lang="en-US" sz="1000" dirty="0">
              <a:solidFill>
                <a:sysClr val="window" lastClr="FFFFFF">
                  <a:lumMod val="50000"/>
                </a:sysClr>
              </a:solidFill>
              <a:latin typeface="Calibri"/>
            </a:endParaRPr>
          </a:p>
        </p:txBody>
      </p:sp>
      <p:graphicFrame>
        <p:nvGraphicFramePr>
          <p:cNvPr id="4" name="Table 3"/>
          <p:cNvGraphicFramePr>
            <a:graphicFrameLocks noGrp="1"/>
          </p:cNvGraphicFramePr>
          <p:nvPr>
            <p:extLst>
              <p:ext uri="{D42A27DB-BD31-4B8C-83A1-F6EECF244321}">
                <p14:modId xmlns:p14="http://schemas.microsoft.com/office/powerpoint/2010/main" val="2033995343"/>
              </p:ext>
            </p:extLst>
          </p:nvPr>
        </p:nvGraphicFramePr>
        <p:xfrm>
          <a:off x="337352" y="1061170"/>
          <a:ext cx="4775218" cy="4752410"/>
        </p:xfrm>
        <a:graphic>
          <a:graphicData uri="http://schemas.openxmlformats.org/drawingml/2006/table">
            <a:tbl>
              <a:tblPr bandRow="1">
                <a:tableStyleId>{5C22544A-7EE6-4342-B048-85BDC9FD1C3A}</a:tableStyleId>
              </a:tblPr>
              <a:tblGrid>
                <a:gridCol w="3874405">
                  <a:extLst>
                    <a:ext uri="{9D8B030D-6E8A-4147-A177-3AD203B41FA5}">
                      <a16:colId xmlns:a16="http://schemas.microsoft.com/office/drawing/2014/main" val="20000"/>
                    </a:ext>
                  </a:extLst>
                </a:gridCol>
                <a:gridCol w="900813">
                  <a:extLst>
                    <a:ext uri="{9D8B030D-6E8A-4147-A177-3AD203B41FA5}">
                      <a16:colId xmlns:a16="http://schemas.microsoft.com/office/drawing/2014/main" val="20001"/>
                    </a:ext>
                  </a:extLst>
                </a:gridCol>
              </a:tblGrid>
              <a:tr h="150046">
                <a:tc>
                  <a:txBody>
                    <a:bodyPr/>
                    <a:lstStyle/>
                    <a:p>
                      <a:pPr>
                        <a:lnSpc>
                          <a:spcPct val="200000"/>
                        </a:lnSpc>
                        <a:spcAft>
                          <a:spcPts val="0"/>
                        </a:spcAft>
                      </a:pPr>
                      <a:r>
                        <a:rPr lang="lv-LV" sz="1400" dirty="0">
                          <a:effectLst/>
                        </a:rPr>
                        <a:t>Sapratne/ izpratne</a:t>
                      </a:r>
                      <a:endParaRPr lang="en-US" sz="14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57875" marR="57875" marT="0" marB="0"/>
                </a:tc>
                <a:tc>
                  <a:txBody>
                    <a:bodyPr/>
                    <a:lstStyle/>
                    <a:p>
                      <a:pPr algn="ctr">
                        <a:lnSpc>
                          <a:spcPct val="200000"/>
                        </a:lnSpc>
                        <a:spcAft>
                          <a:spcPts val="0"/>
                        </a:spcAft>
                      </a:pPr>
                      <a:r>
                        <a:rPr lang="lv-LV" sz="1400" dirty="0">
                          <a:effectLst/>
                        </a:rPr>
                        <a:t>14 %</a:t>
                      </a:r>
                      <a:endParaRPr lang="en-US" sz="14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57875" marR="57875" marT="0" marB="0" anchor="ctr"/>
                </a:tc>
                <a:extLst>
                  <a:ext uri="{0D108BD9-81ED-4DB2-BD59-A6C34878D82A}">
                    <a16:rowId xmlns:a16="http://schemas.microsoft.com/office/drawing/2014/main" val="10000"/>
                  </a:ext>
                </a:extLst>
              </a:tr>
              <a:tr h="150046">
                <a:tc>
                  <a:txBody>
                    <a:bodyPr/>
                    <a:lstStyle/>
                    <a:p>
                      <a:pPr>
                        <a:lnSpc>
                          <a:spcPct val="200000"/>
                        </a:lnSpc>
                        <a:spcAft>
                          <a:spcPts val="0"/>
                        </a:spcAft>
                      </a:pPr>
                      <a:r>
                        <a:rPr lang="lv-LV" sz="1400" dirty="0">
                          <a:effectLst/>
                        </a:rPr>
                        <a:t>Sniegtie skaidrojumi, ieteikumi, informācija</a:t>
                      </a:r>
                      <a:endParaRPr lang="en-US" sz="14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57875" marR="57875" marT="0" marB="0"/>
                </a:tc>
                <a:tc>
                  <a:txBody>
                    <a:bodyPr/>
                    <a:lstStyle/>
                    <a:p>
                      <a:pPr algn="ctr">
                        <a:lnSpc>
                          <a:spcPct val="200000"/>
                        </a:lnSpc>
                        <a:spcAft>
                          <a:spcPts val="0"/>
                        </a:spcAft>
                      </a:pPr>
                      <a:r>
                        <a:rPr lang="lv-LV" sz="1400">
                          <a:effectLst/>
                        </a:rPr>
                        <a:t>14 %</a:t>
                      </a:r>
                      <a:endParaRPr lang="en-US" sz="1400">
                        <a:effectLst/>
                        <a:latin typeface="Arial" panose="020B0604020202020204" pitchFamily="34" charset="0"/>
                        <a:ea typeface="Times New Roman" panose="02020603050405020304" pitchFamily="18" charset="0"/>
                        <a:cs typeface="Times New Roman" panose="02020603050405020304" pitchFamily="18" charset="0"/>
                      </a:endParaRPr>
                    </a:p>
                  </a:txBody>
                  <a:tcPr marL="57875" marR="57875" marT="0" marB="0" anchor="ctr"/>
                </a:tc>
                <a:extLst>
                  <a:ext uri="{0D108BD9-81ED-4DB2-BD59-A6C34878D82A}">
                    <a16:rowId xmlns:a16="http://schemas.microsoft.com/office/drawing/2014/main" val="10001"/>
                  </a:ext>
                </a:extLst>
              </a:tr>
              <a:tr h="150046">
                <a:tc>
                  <a:txBody>
                    <a:bodyPr/>
                    <a:lstStyle/>
                    <a:p>
                      <a:pPr>
                        <a:lnSpc>
                          <a:spcPct val="200000"/>
                        </a:lnSpc>
                        <a:spcAft>
                          <a:spcPts val="0"/>
                        </a:spcAft>
                      </a:pPr>
                      <a:r>
                        <a:rPr lang="lv-LV" sz="1400" dirty="0">
                          <a:effectLst/>
                        </a:rPr>
                        <a:t>Profesionalitāte</a:t>
                      </a:r>
                      <a:endParaRPr lang="en-US" sz="14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57875" marR="57875" marT="0" marB="0"/>
                </a:tc>
                <a:tc>
                  <a:txBody>
                    <a:bodyPr/>
                    <a:lstStyle/>
                    <a:p>
                      <a:pPr algn="ctr">
                        <a:lnSpc>
                          <a:spcPct val="200000"/>
                        </a:lnSpc>
                        <a:spcAft>
                          <a:spcPts val="0"/>
                        </a:spcAft>
                      </a:pPr>
                      <a:r>
                        <a:rPr lang="lv-LV" sz="1400">
                          <a:effectLst/>
                        </a:rPr>
                        <a:t>12 %</a:t>
                      </a:r>
                      <a:endParaRPr lang="en-US" sz="1400">
                        <a:effectLst/>
                        <a:latin typeface="Arial" panose="020B0604020202020204" pitchFamily="34" charset="0"/>
                        <a:ea typeface="Times New Roman" panose="02020603050405020304" pitchFamily="18" charset="0"/>
                        <a:cs typeface="Times New Roman" panose="02020603050405020304" pitchFamily="18" charset="0"/>
                      </a:endParaRPr>
                    </a:p>
                  </a:txBody>
                  <a:tcPr marL="57875" marR="57875" marT="0" marB="0" anchor="ctr"/>
                </a:tc>
                <a:extLst>
                  <a:ext uri="{0D108BD9-81ED-4DB2-BD59-A6C34878D82A}">
                    <a16:rowId xmlns:a16="http://schemas.microsoft.com/office/drawing/2014/main" val="10002"/>
                  </a:ext>
                </a:extLst>
              </a:tr>
              <a:tr h="150046">
                <a:tc>
                  <a:txBody>
                    <a:bodyPr/>
                    <a:lstStyle/>
                    <a:p>
                      <a:pPr>
                        <a:lnSpc>
                          <a:spcPct val="200000"/>
                        </a:lnSpc>
                        <a:spcAft>
                          <a:spcPts val="0"/>
                        </a:spcAft>
                      </a:pPr>
                      <a:r>
                        <a:rPr lang="lv-LV" sz="1400" dirty="0">
                          <a:effectLst/>
                        </a:rPr>
                        <a:t>Komunikācija</a:t>
                      </a:r>
                      <a:endParaRPr lang="en-US" sz="14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57875" marR="57875" marT="0" marB="0"/>
                </a:tc>
                <a:tc>
                  <a:txBody>
                    <a:bodyPr/>
                    <a:lstStyle/>
                    <a:p>
                      <a:pPr algn="ctr">
                        <a:lnSpc>
                          <a:spcPct val="200000"/>
                        </a:lnSpc>
                        <a:spcAft>
                          <a:spcPts val="0"/>
                        </a:spcAft>
                      </a:pPr>
                      <a:r>
                        <a:rPr lang="lv-LV" sz="1400">
                          <a:effectLst/>
                        </a:rPr>
                        <a:t>11 %</a:t>
                      </a:r>
                      <a:endParaRPr lang="en-US" sz="1400">
                        <a:effectLst/>
                        <a:latin typeface="Arial" panose="020B0604020202020204" pitchFamily="34" charset="0"/>
                        <a:ea typeface="Times New Roman" panose="02020603050405020304" pitchFamily="18" charset="0"/>
                        <a:cs typeface="Times New Roman" panose="02020603050405020304" pitchFamily="18" charset="0"/>
                      </a:endParaRPr>
                    </a:p>
                  </a:txBody>
                  <a:tcPr marL="57875" marR="57875" marT="0" marB="0" anchor="ctr"/>
                </a:tc>
                <a:extLst>
                  <a:ext uri="{0D108BD9-81ED-4DB2-BD59-A6C34878D82A}">
                    <a16:rowId xmlns:a16="http://schemas.microsoft.com/office/drawing/2014/main" val="10003"/>
                  </a:ext>
                </a:extLst>
              </a:tr>
              <a:tr h="150046">
                <a:tc>
                  <a:txBody>
                    <a:bodyPr/>
                    <a:lstStyle/>
                    <a:p>
                      <a:pPr>
                        <a:lnSpc>
                          <a:spcPct val="200000"/>
                        </a:lnSpc>
                        <a:spcAft>
                          <a:spcPts val="0"/>
                        </a:spcAft>
                      </a:pPr>
                      <a:r>
                        <a:rPr lang="lv-LV" sz="1400" dirty="0">
                          <a:effectLst/>
                        </a:rPr>
                        <a:t>Apmierinā</a:t>
                      </a:r>
                      <a:r>
                        <a:rPr lang="en-US" sz="1400" dirty="0" err="1">
                          <a:effectLst/>
                        </a:rPr>
                        <a:t>ts</a:t>
                      </a:r>
                      <a:r>
                        <a:rPr lang="en-US" sz="1400" dirty="0">
                          <a:effectLst/>
                        </a:rPr>
                        <a:t> </a:t>
                      </a:r>
                      <a:r>
                        <a:rPr lang="en-US" sz="1400" dirty="0" err="1">
                          <a:effectLst/>
                        </a:rPr>
                        <a:t>ar</a:t>
                      </a:r>
                      <a:r>
                        <a:rPr lang="en-US" sz="1400" dirty="0">
                          <a:effectLst/>
                        </a:rPr>
                        <a:t> VVD </a:t>
                      </a:r>
                      <a:r>
                        <a:rPr lang="en-US" sz="1400" dirty="0" err="1">
                          <a:effectLst/>
                        </a:rPr>
                        <a:t>darbu</a:t>
                      </a:r>
                      <a:endParaRPr lang="en-US" sz="14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57875" marR="57875" marT="0" marB="0"/>
                </a:tc>
                <a:tc>
                  <a:txBody>
                    <a:bodyPr/>
                    <a:lstStyle/>
                    <a:p>
                      <a:pPr algn="ctr">
                        <a:lnSpc>
                          <a:spcPct val="200000"/>
                        </a:lnSpc>
                        <a:spcAft>
                          <a:spcPts val="0"/>
                        </a:spcAft>
                      </a:pPr>
                      <a:r>
                        <a:rPr lang="en-US" sz="1400">
                          <a:effectLst/>
                        </a:rPr>
                        <a:t>8 %</a:t>
                      </a:r>
                      <a:endParaRPr lang="en-US" sz="1400">
                        <a:effectLst/>
                        <a:latin typeface="Arial" panose="020B0604020202020204" pitchFamily="34" charset="0"/>
                        <a:ea typeface="Times New Roman" panose="02020603050405020304" pitchFamily="18" charset="0"/>
                        <a:cs typeface="Times New Roman" panose="02020603050405020304" pitchFamily="18" charset="0"/>
                      </a:endParaRPr>
                    </a:p>
                  </a:txBody>
                  <a:tcPr marL="57875" marR="57875" marT="0" marB="0" anchor="ctr"/>
                </a:tc>
                <a:extLst>
                  <a:ext uri="{0D108BD9-81ED-4DB2-BD59-A6C34878D82A}">
                    <a16:rowId xmlns:a16="http://schemas.microsoft.com/office/drawing/2014/main" val="10004"/>
                  </a:ext>
                </a:extLst>
              </a:tr>
              <a:tr h="150046">
                <a:tc>
                  <a:txBody>
                    <a:bodyPr/>
                    <a:lstStyle/>
                    <a:p>
                      <a:pPr>
                        <a:lnSpc>
                          <a:spcPct val="200000"/>
                        </a:lnSpc>
                        <a:spcAft>
                          <a:spcPts val="0"/>
                        </a:spcAft>
                      </a:pPr>
                      <a:r>
                        <a:rPr lang="en-US" sz="1400" dirty="0" err="1">
                          <a:effectLst/>
                        </a:rPr>
                        <a:t>Sadarbība</a:t>
                      </a:r>
                      <a:endParaRPr lang="en-US" sz="14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57875" marR="57875" marT="0" marB="0"/>
                </a:tc>
                <a:tc>
                  <a:txBody>
                    <a:bodyPr/>
                    <a:lstStyle/>
                    <a:p>
                      <a:pPr algn="ctr">
                        <a:lnSpc>
                          <a:spcPct val="200000"/>
                        </a:lnSpc>
                        <a:spcAft>
                          <a:spcPts val="0"/>
                        </a:spcAft>
                      </a:pPr>
                      <a:r>
                        <a:rPr lang="en-US" sz="1400">
                          <a:effectLst/>
                        </a:rPr>
                        <a:t>8 %</a:t>
                      </a:r>
                      <a:endParaRPr lang="en-US" sz="1400">
                        <a:effectLst/>
                        <a:latin typeface="Arial" panose="020B0604020202020204" pitchFamily="34" charset="0"/>
                        <a:ea typeface="Times New Roman" panose="02020603050405020304" pitchFamily="18" charset="0"/>
                        <a:cs typeface="Times New Roman" panose="02020603050405020304" pitchFamily="18" charset="0"/>
                      </a:endParaRPr>
                    </a:p>
                  </a:txBody>
                  <a:tcPr marL="57875" marR="57875" marT="0" marB="0" anchor="ctr"/>
                </a:tc>
                <a:extLst>
                  <a:ext uri="{0D108BD9-81ED-4DB2-BD59-A6C34878D82A}">
                    <a16:rowId xmlns:a16="http://schemas.microsoft.com/office/drawing/2014/main" val="10005"/>
                  </a:ext>
                </a:extLst>
              </a:tr>
              <a:tr h="150046">
                <a:tc>
                  <a:txBody>
                    <a:bodyPr/>
                    <a:lstStyle/>
                    <a:p>
                      <a:pPr>
                        <a:lnSpc>
                          <a:spcPct val="200000"/>
                        </a:lnSpc>
                        <a:spcAft>
                          <a:spcPts val="0"/>
                        </a:spcAft>
                      </a:pPr>
                      <a:r>
                        <a:rPr lang="en-US" sz="1400" dirty="0" err="1">
                          <a:effectLst/>
                        </a:rPr>
                        <a:t>Cilvēcīga</a:t>
                      </a:r>
                      <a:r>
                        <a:rPr lang="en-US" sz="1400" dirty="0">
                          <a:effectLst/>
                        </a:rPr>
                        <a:t>, </a:t>
                      </a:r>
                      <a:r>
                        <a:rPr lang="en-US" sz="1400" dirty="0" err="1">
                          <a:effectLst/>
                        </a:rPr>
                        <a:t>laipna</a:t>
                      </a:r>
                      <a:r>
                        <a:rPr lang="en-US" sz="1400" dirty="0">
                          <a:effectLst/>
                        </a:rPr>
                        <a:t> </a:t>
                      </a:r>
                      <a:r>
                        <a:rPr lang="en-US" sz="1400" dirty="0" err="1">
                          <a:effectLst/>
                        </a:rPr>
                        <a:t>attieksme</a:t>
                      </a:r>
                      <a:endParaRPr lang="en-US" sz="14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57875" marR="57875" marT="0" marB="0"/>
                </a:tc>
                <a:tc>
                  <a:txBody>
                    <a:bodyPr/>
                    <a:lstStyle/>
                    <a:p>
                      <a:pPr algn="ctr">
                        <a:lnSpc>
                          <a:spcPct val="200000"/>
                        </a:lnSpc>
                        <a:spcAft>
                          <a:spcPts val="0"/>
                        </a:spcAft>
                      </a:pPr>
                      <a:r>
                        <a:rPr lang="en-US" sz="1400">
                          <a:effectLst/>
                        </a:rPr>
                        <a:t>6 %</a:t>
                      </a:r>
                      <a:endParaRPr lang="en-US" sz="1400">
                        <a:effectLst/>
                        <a:latin typeface="Arial" panose="020B0604020202020204" pitchFamily="34" charset="0"/>
                        <a:ea typeface="Times New Roman" panose="02020603050405020304" pitchFamily="18" charset="0"/>
                        <a:cs typeface="Times New Roman" panose="02020603050405020304" pitchFamily="18" charset="0"/>
                      </a:endParaRPr>
                    </a:p>
                  </a:txBody>
                  <a:tcPr marL="57875" marR="57875" marT="0" marB="0" anchor="ctr"/>
                </a:tc>
                <a:extLst>
                  <a:ext uri="{0D108BD9-81ED-4DB2-BD59-A6C34878D82A}">
                    <a16:rowId xmlns:a16="http://schemas.microsoft.com/office/drawing/2014/main" val="10006"/>
                  </a:ext>
                </a:extLst>
              </a:tr>
              <a:tr h="150046">
                <a:tc>
                  <a:txBody>
                    <a:bodyPr/>
                    <a:lstStyle/>
                    <a:p>
                      <a:pPr>
                        <a:lnSpc>
                          <a:spcPct val="200000"/>
                        </a:lnSpc>
                        <a:spcAft>
                          <a:spcPts val="0"/>
                        </a:spcAft>
                      </a:pPr>
                      <a:r>
                        <a:rPr lang="en-US" sz="1400" dirty="0" err="1">
                          <a:effectLst/>
                        </a:rPr>
                        <a:t>Konsultēšana</a:t>
                      </a:r>
                      <a:endParaRPr lang="en-US" sz="14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57875" marR="57875" marT="0" marB="0"/>
                </a:tc>
                <a:tc>
                  <a:txBody>
                    <a:bodyPr/>
                    <a:lstStyle/>
                    <a:p>
                      <a:pPr algn="ctr">
                        <a:lnSpc>
                          <a:spcPct val="200000"/>
                        </a:lnSpc>
                        <a:spcAft>
                          <a:spcPts val="0"/>
                        </a:spcAft>
                      </a:pPr>
                      <a:r>
                        <a:rPr lang="en-US" sz="1400">
                          <a:effectLst/>
                        </a:rPr>
                        <a:t>6 %</a:t>
                      </a:r>
                      <a:endParaRPr lang="en-US" sz="1400">
                        <a:effectLst/>
                        <a:latin typeface="Arial" panose="020B0604020202020204" pitchFamily="34" charset="0"/>
                        <a:ea typeface="Times New Roman" panose="02020603050405020304" pitchFamily="18" charset="0"/>
                        <a:cs typeface="Times New Roman" panose="02020603050405020304" pitchFamily="18" charset="0"/>
                      </a:endParaRPr>
                    </a:p>
                  </a:txBody>
                  <a:tcPr marL="57875" marR="57875" marT="0" marB="0" anchor="ctr"/>
                </a:tc>
                <a:extLst>
                  <a:ext uri="{0D108BD9-81ED-4DB2-BD59-A6C34878D82A}">
                    <a16:rowId xmlns:a16="http://schemas.microsoft.com/office/drawing/2014/main" val="10007"/>
                  </a:ext>
                </a:extLst>
              </a:tr>
              <a:tr h="150046">
                <a:tc>
                  <a:txBody>
                    <a:bodyPr/>
                    <a:lstStyle/>
                    <a:p>
                      <a:pPr>
                        <a:lnSpc>
                          <a:spcPct val="200000"/>
                        </a:lnSpc>
                        <a:spcAft>
                          <a:spcPts val="0"/>
                        </a:spcAft>
                      </a:pPr>
                      <a:r>
                        <a:rPr lang="en-US" sz="1400" dirty="0" err="1">
                          <a:effectLst/>
                        </a:rPr>
                        <a:t>Atsaucība</a:t>
                      </a:r>
                      <a:endParaRPr lang="en-US" sz="14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57875" marR="57875" marT="0" marB="0"/>
                </a:tc>
                <a:tc>
                  <a:txBody>
                    <a:bodyPr/>
                    <a:lstStyle/>
                    <a:p>
                      <a:pPr algn="ctr">
                        <a:lnSpc>
                          <a:spcPct val="200000"/>
                        </a:lnSpc>
                        <a:spcAft>
                          <a:spcPts val="0"/>
                        </a:spcAft>
                      </a:pPr>
                      <a:r>
                        <a:rPr lang="en-US" sz="1400">
                          <a:effectLst/>
                        </a:rPr>
                        <a:t>6 %</a:t>
                      </a:r>
                      <a:endParaRPr lang="en-US" sz="1400">
                        <a:effectLst/>
                        <a:latin typeface="Arial" panose="020B0604020202020204" pitchFamily="34" charset="0"/>
                        <a:ea typeface="Times New Roman" panose="02020603050405020304" pitchFamily="18" charset="0"/>
                        <a:cs typeface="Times New Roman" panose="02020603050405020304" pitchFamily="18" charset="0"/>
                      </a:endParaRPr>
                    </a:p>
                  </a:txBody>
                  <a:tcPr marL="57875" marR="57875" marT="0" marB="0" anchor="ctr"/>
                </a:tc>
                <a:extLst>
                  <a:ext uri="{0D108BD9-81ED-4DB2-BD59-A6C34878D82A}">
                    <a16:rowId xmlns:a16="http://schemas.microsoft.com/office/drawing/2014/main" val="10008"/>
                  </a:ext>
                </a:extLst>
              </a:tr>
              <a:tr h="150046">
                <a:tc>
                  <a:txBody>
                    <a:bodyPr/>
                    <a:lstStyle/>
                    <a:p>
                      <a:pPr>
                        <a:lnSpc>
                          <a:spcPct val="200000"/>
                        </a:lnSpc>
                        <a:spcAft>
                          <a:spcPts val="0"/>
                        </a:spcAft>
                      </a:pPr>
                      <a:r>
                        <a:rPr lang="nb-NO" sz="1400" dirty="0">
                          <a:effectLst/>
                        </a:rPr>
                        <a:t>Uzreiz nesoda, bet palīdz izprast, sakārtot darbību</a:t>
                      </a:r>
                      <a:endParaRPr lang="en-US" sz="14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57875" marR="57875" marT="0" marB="0"/>
                </a:tc>
                <a:tc>
                  <a:txBody>
                    <a:bodyPr/>
                    <a:lstStyle/>
                    <a:p>
                      <a:pPr algn="ctr">
                        <a:lnSpc>
                          <a:spcPct val="200000"/>
                        </a:lnSpc>
                        <a:spcAft>
                          <a:spcPts val="0"/>
                        </a:spcAft>
                      </a:pPr>
                      <a:r>
                        <a:rPr lang="en-US" sz="1400" dirty="0">
                          <a:effectLst/>
                        </a:rPr>
                        <a:t>4 %</a:t>
                      </a:r>
                      <a:endParaRPr lang="en-US" sz="14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57875" marR="57875" marT="0" marB="0" anchor="ctr"/>
                </a:tc>
                <a:extLst>
                  <a:ext uri="{0D108BD9-81ED-4DB2-BD59-A6C34878D82A}">
                    <a16:rowId xmlns:a16="http://schemas.microsoft.com/office/drawing/2014/main" val="10009"/>
                  </a:ext>
                </a:extLst>
              </a:tr>
              <a:tr h="150046">
                <a:tc>
                  <a:txBody>
                    <a:bodyPr/>
                    <a:lstStyle/>
                    <a:p>
                      <a:pPr>
                        <a:lnSpc>
                          <a:spcPct val="200000"/>
                        </a:lnSpc>
                        <a:spcAft>
                          <a:spcPts val="0"/>
                        </a:spcAft>
                      </a:pPr>
                      <a:r>
                        <a:rPr lang="en-US" sz="1400" dirty="0" err="1">
                          <a:effectLst/>
                        </a:rPr>
                        <a:t>Kompetece</a:t>
                      </a:r>
                      <a:endParaRPr lang="en-US" sz="14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57875" marR="57875" marT="0" marB="0"/>
                </a:tc>
                <a:tc>
                  <a:txBody>
                    <a:bodyPr/>
                    <a:lstStyle/>
                    <a:p>
                      <a:pPr algn="ctr">
                        <a:lnSpc>
                          <a:spcPct val="200000"/>
                        </a:lnSpc>
                        <a:spcAft>
                          <a:spcPts val="0"/>
                        </a:spcAft>
                      </a:pPr>
                      <a:r>
                        <a:rPr lang="en-US" sz="1400" dirty="0">
                          <a:effectLst/>
                        </a:rPr>
                        <a:t>4 %</a:t>
                      </a:r>
                      <a:endParaRPr lang="en-US" sz="14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57875" marR="57875" marT="0" marB="0" anchor="ctr"/>
                </a:tc>
                <a:extLst>
                  <a:ext uri="{0D108BD9-81ED-4DB2-BD59-A6C34878D82A}">
                    <a16:rowId xmlns:a16="http://schemas.microsoft.com/office/drawing/2014/main" val="10010"/>
                  </a:ext>
                </a:extLst>
              </a:tr>
              <a:tr h="150046">
                <a:tc>
                  <a:txBody>
                    <a:bodyPr/>
                    <a:lstStyle/>
                    <a:p>
                      <a:pPr>
                        <a:lnSpc>
                          <a:spcPct val="200000"/>
                        </a:lnSpc>
                        <a:spcAft>
                          <a:spcPts val="0"/>
                        </a:spcAft>
                      </a:pPr>
                      <a:r>
                        <a:rPr lang="en-US" sz="1400" dirty="0" err="1">
                          <a:effectLst/>
                        </a:rPr>
                        <a:t>Precizitāte</a:t>
                      </a:r>
                      <a:r>
                        <a:rPr lang="en-US" sz="1400" dirty="0">
                          <a:effectLst/>
                        </a:rPr>
                        <a:t>, </a:t>
                      </a:r>
                      <a:r>
                        <a:rPr lang="en-US" sz="1400" dirty="0" err="1">
                          <a:effectLst/>
                        </a:rPr>
                        <a:t>skaidrība</a:t>
                      </a:r>
                      <a:r>
                        <a:rPr lang="en-US" sz="1400" dirty="0">
                          <a:effectLst/>
                        </a:rPr>
                        <a:t>, </a:t>
                      </a:r>
                      <a:r>
                        <a:rPr lang="en-US" sz="1400" dirty="0" err="1">
                          <a:effectLst/>
                        </a:rPr>
                        <a:t>korektums</a:t>
                      </a:r>
                      <a:endParaRPr lang="en-US" sz="14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57875" marR="57875" marT="0" marB="0"/>
                </a:tc>
                <a:tc>
                  <a:txBody>
                    <a:bodyPr/>
                    <a:lstStyle/>
                    <a:p>
                      <a:pPr algn="ctr">
                        <a:lnSpc>
                          <a:spcPct val="200000"/>
                        </a:lnSpc>
                        <a:spcAft>
                          <a:spcPts val="0"/>
                        </a:spcAft>
                      </a:pPr>
                      <a:r>
                        <a:rPr lang="en-US" sz="1400" dirty="0">
                          <a:effectLst/>
                        </a:rPr>
                        <a:t>4 %</a:t>
                      </a:r>
                      <a:endParaRPr lang="en-US" sz="14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57875" marR="57875" marT="0" marB="0" anchor="ctr"/>
                </a:tc>
                <a:extLst>
                  <a:ext uri="{0D108BD9-81ED-4DB2-BD59-A6C34878D82A}">
                    <a16:rowId xmlns:a16="http://schemas.microsoft.com/office/drawing/2014/main" val="10011"/>
                  </a:ext>
                </a:extLst>
              </a:tr>
              <a:tr h="150046">
                <a:tc>
                  <a:txBody>
                    <a:bodyPr/>
                    <a:lstStyle/>
                    <a:p>
                      <a:pPr>
                        <a:lnSpc>
                          <a:spcPct val="200000"/>
                        </a:lnSpc>
                        <a:spcAft>
                          <a:spcPts val="0"/>
                        </a:spcAft>
                      </a:pPr>
                      <a:r>
                        <a:rPr lang="en-US" sz="1400" dirty="0" err="1">
                          <a:effectLst/>
                        </a:rPr>
                        <a:t>Attieksme</a:t>
                      </a:r>
                      <a:endParaRPr lang="en-US" sz="14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57875" marR="57875" marT="0" marB="0"/>
                </a:tc>
                <a:tc>
                  <a:txBody>
                    <a:bodyPr/>
                    <a:lstStyle/>
                    <a:p>
                      <a:pPr algn="ctr">
                        <a:lnSpc>
                          <a:spcPct val="200000"/>
                        </a:lnSpc>
                        <a:spcAft>
                          <a:spcPts val="0"/>
                        </a:spcAft>
                      </a:pPr>
                      <a:r>
                        <a:rPr lang="en-US" sz="1400" dirty="0">
                          <a:effectLst/>
                        </a:rPr>
                        <a:t>3 %</a:t>
                      </a:r>
                      <a:endParaRPr lang="en-US" sz="14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57875" marR="57875" marT="0" marB="0" anchor="ctr"/>
                </a:tc>
                <a:extLst>
                  <a:ext uri="{0D108BD9-81ED-4DB2-BD59-A6C34878D82A}">
                    <a16:rowId xmlns:a16="http://schemas.microsoft.com/office/drawing/2014/main" val="10012"/>
                  </a:ext>
                </a:extLst>
              </a:tr>
            </a:tbl>
          </a:graphicData>
        </a:graphic>
      </p:graphicFrame>
      <p:graphicFrame>
        <p:nvGraphicFramePr>
          <p:cNvPr id="11" name="Table 10"/>
          <p:cNvGraphicFramePr>
            <a:graphicFrameLocks noGrp="1"/>
          </p:cNvGraphicFramePr>
          <p:nvPr>
            <p:extLst>
              <p:ext uri="{D42A27DB-BD31-4B8C-83A1-F6EECF244321}">
                <p14:modId xmlns:p14="http://schemas.microsoft.com/office/powerpoint/2010/main" val="563269350"/>
              </p:ext>
            </p:extLst>
          </p:nvPr>
        </p:nvGraphicFramePr>
        <p:xfrm>
          <a:off x="6180166" y="1061170"/>
          <a:ext cx="4775218" cy="4386840"/>
        </p:xfrm>
        <a:graphic>
          <a:graphicData uri="http://schemas.openxmlformats.org/drawingml/2006/table">
            <a:tbl>
              <a:tblPr bandRow="1">
                <a:tableStyleId>{5C22544A-7EE6-4342-B048-85BDC9FD1C3A}</a:tableStyleId>
              </a:tblPr>
              <a:tblGrid>
                <a:gridCol w="3874405">
                  <a:extLst>
                    <a:ext uri="{9D8B030D-6E8A-4147-A177-3AD203B41FA5}">
                      <a16:colId xmlns:a16="http://schemas.microsoft.com/office/drawing/2014/main" val="20000"/>
                    </a:ext>
                  </a:extLst>
                </a:gridCol>
                <a:gridCol w="900813">
                  <a:extLst>
                    <a:ext uri="{9D8B030D-6E8A-4147-A177-3AD203B41FA5}">
                      <a16:colId xmlns:a16="http://schemas.microsoft.com/office/drawing/2014/main" val="20001"/>
                    </a:ext>
                  </a:extLst>
                </a:gridCol>
              </a:tblGrid>
              <a:tr h="150046">
                <a:tc>
                  <a:txBody>
                    <a:bodyPr/>
                    <a:lstStyle/>
                    <a:p>
                      <a:pPr>
                        <a:lnSpc>
                          <a:spcPct val="200000"/>
                        </a:lnSpc>
                        <a:spcAft>
                          <a:spcPts val="0"/>
                        </a:spcAft>
                      </a:pPr>
                      <a:r>
                        <a:rPr lang="en-US" sz="1400" dirty="0" err="1">
                          <a:effectLst/>
                        </a:rPr>
                        <a:t>Operativitāte</a:t>
                      </a:r>
                      <a:endParaRPr lang="en-US" sz="14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57875" marR="57875" marT="0" marB="0"/>
                </a:tc>
                <a:tc>
                  <a:txBody>
                    <a:bodyPr/>
                    <a:lstStyle/>
                    <a:p>
                      <a:pPr algn="ctr">
                        <a:lnSpc>
                          <a:spcPct val="200000"/>
                        </a:lnSpc>
                        <a:spcAft>
                          <a:spcPts val="0"/>
                        </a:spcAft>
                      </a:pPr>
                      <a:r>
                        <a:rPr lang="en-US" sz="1400" dirty="0">
                          <a:effectLst/>
                        </a:rPr>
                        <a:t>2 %</a:t>
                      </a:r>
                      <a:endParaRPr lang="en-US" sz="14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57875" marR="57875" marT="0" marB="0" anchor="ctr"/>
                </a:tc>
                <a:extLst>
                  <a:ext uri="{0D108BD9-81ED-4DB2-BD59-A6C34878D82A}">
                    <a16:rowId xmlns:a16="http://schemas.microsoft.com/office/drawing/2014/main" val="10000"/>
                  </a:ext>
                </a:extLst>
              </a:tr>
              <a:tr h="150046">
                <a:tc>
                  <a:txBody>
                    <a:bodyPr/>
                    <a:lstStyle/>
                    <a:p>
                      <a:pPr>
                        <a:lnSpc>
                          <a:spcPct val="200000"/>
                        </a:lnSpc>
                        <a:spcAft>
                          <a:spcPts val="0"/>
                        </a:spcAft>
                      </a:pPr>
                      <a:r>
                        <a:rPr lang="en-US" sz="1400" dirty="0" err="1">
                          <a:effectLst/>
                        </a:rPr>
                        <a:t>Uztur</a:t>
                      </a:r>
                      <a:r>
                        <a:rPr lang="en-US" sz="1400" dirty="0">
                          <a:effectLst/>
                        </a:rPr>
                        <a:t> </a:t>
                      </a:r>
                      <a:r>
                        <a:rPr lang="en-US" sz="1400" dirty="0" err="1">
                          <a:effectLst/>
                        </a:rPr>
                        <a:t>kārtību</a:t>
                      </a:r>
                      <a:r>
                        <a:rPr lang="en-US" sz="1400" dirty="0">
                          <a:effectLst/>
                        </a:rPr>
                        <a:t>, </a:t>
                      </a:r>
                      <a:r>
                        <a:rPr lang="en-US" sz="1400" dirty="0" err="1">
                          <a:effectLst/>
                        </a:rPr>
                        <a:t>nodrošina</a:t>
                      </a:r>
                      <a:r>
                        <a:rPr lang="en-US" sz="1400" dirty="0">
                          <a:effectLst/>
                        </a:rPr>
                        <a:t> vides </a:t>
                      </a:r>
                      <a:r>
                        <a:rPr lang="en-US" sz="1400" dirty="0" err="1">
                          <a:effectLst/>
                        </a:rPr>
                        <a:t>prasību</a:t>
                      </a:r>
                      <a:r>
                        <a:rPr lang="en-US" sz="1400" dirty="0">
                          <a:effectLst/>
                        </a:rPr>
                        <a:t> </a:t>
                      </a:r>
                      <a:r>
                        <a:rPr lang="en-US" sz="1400" dirty="0" err="1">
                          <a:effectLst/>
                        </a:rPr>
                        <a:t>ievērošanu</a:t>
                      </a:r>
                      <a:endParaRPr lang="en-US" sz="14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57875" marR="57875" marT="0" marB="0" anchor="b"/>
                </a:tc>
                <a:tc>
                  <a:txBody>
                    <a:bodyPr/>
                    <a:lstStyle/>
                    <a:p>
                      <a:pPr algn="ctr">
                        <a:lnSpc>
                          <a:spcPct val="200000"/>
                        </a:lnSpc>
                        <a:spcAft>
                          <a:spcPts val="0"/>
                        </a:spcAft>
                      </a:pPr>
                      <a:r>
                        <a:rPr lang="en-US" sz="1400">
                          <a:effectLst/>
                        </a:rPr>
                        <a:t>2 %</a:t>
                      </a:r>
                      <a:endParaRPr lang="en-US" sz="1400">
                        <a:effectLst/>
                        <a:latin typeface="Arial" panose="020B0604020202020204" pitchFamily="34" charset="0"/>
                        <a:ea typeface="Times New Roman" panose="02020603050405020304" pitchFamily="18" charset="0"/>
                        <a:cs typeface="Times New Roman" panose="02020603050405020304" pitchFamily="18" charset="0"/>
                      </a:endParaRPr>
                    </a:p>
                  </a:txBody>
                  <a:tcPr marL="57875" marR="57875" marT="0" marB="0" anchor="ctr"/>
                </a:tc>
                <a:extLst>
                  <a:ext uri="{0D108BD9-81ED-4DB2-BD59-A6C34878D82A}">
                    <a16:rowId xmlns:a16="http://schemas.microsoft.com/office/drawing/2014/main" val="10001"/>
                  </a:ext>
                </a:extLst>
              </a:tr>
              <a:tr h="150046">
                <a:tc>
                  <a:txBody>
                    <a:bodyPr/>
                    <a:lstStyle/>
                    <a:p>
                      <a:pPr>
                        <a:lnSpc>
                          <a:spcPct val="200000"/>
                        </a:lnSpc>
                        <a:spcAft>
                          <a:spcPts val="0"/>
                        </a:spcAft>
                      </a:pPr>
                      <a:r>
                        <a:rPr lang="en-US" sz="1400" dirty="0">
                          <a:effectLst/>
                        </a:rPr>
                        <a:t>Atbalsts</a:t>
                      </a:r>
                      <a:endParaRPr lang="en-US" sz="14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57875" marR="57875" marT="0" marB="0" anchor="b"/>
                </a:tc>
                <a:tc>
                  <a:txBody>
                    <a:bodyPr/>
                    <a:lstStyle/>
                    <a:p>
                      <a:pPr algn="ctr">
                        <a:lnSpc>
                          <a:spcPct val="200000"/>
                        </a:lnSpc>
                        <a:spcAft>
                          <a:spcPts val="0"/>
                        </a:spcAft>
                      </a:pPr>
                      <a:r>
                        <a:rPr lang="en-US" sz="1400">
                          <a:effectLst/>
                        </a:rPr>
                        <a:t>2 %</a:t>
                      </a:r>
                      <a:endParaRPr lang="en-US" sz="1400">
                        <a:effectLst/>
                        <a:latin typeface="Arial" panose="020B0604020202020204" pitchFamily="34" charset="0"/>
                        <a:ea typeface="Times New Roman" panose="02020603050405020304" pitchFamily="18" charset="0"/>
                        <a:cs typeface="Times New Roman" panose="02020603050405020304" pitchFamily="18" charset="0"/>
                      </a:endParaRPr>
                    </a:p>
                  </a:txBody>
                  <a:tcPr marL="57875" marR="57875" marT="0" marB="0" anchor="ctr"/>
                </a:tc>
                <a:extLst>
                  <a:ext uri="{0D108BD9-81ED-4DB2-BD59-A6C34878D82A}">
                    <a16:rowId xmlns:a16="http://schemas.microsoft.com/office/drawing/2014/main" val="10002"/>
                  </a:ext>
                </a:extLst>
              </a:tr>
              <a:tr h="150046">
                <a:tc>
                  <a:txBody>
                    <a:bodyPr/>
                    <a:lstStyle/>
                    <a:p>
                      <a:pPr>
                        <a:lnSpc>
                          <a:spcPct val="200000"/>
                        </a:lnSpc>
                        <a:spcAft>
                          <a:spcPts val="0"/>
                        </a:spcAft>
                      </a:pPr>
                      <a:r>
                        <a:rPr lang="en-US" sz="1400" dirty="0" err="1">
                          <a:effectLst/>
                        </a:rPr>
                        <a:t>Inspektoru</a:t>
                      </a:r>
                      <a:r>
                        <a:rPr lang="en-US" sz="1400" dirty="0">
                          <a:effectLst/>
                        </a:rPr>
                        <a:t> </a:t>
                      </a:r>
                      <a:r>
                        <a:rPr lang="en-US" sz="1400" dirty="0" err="1">
                          <a:effectLst/>
                        </a:rPr>
                        <a:t>darbs</a:t>
                      </a:r>
                      <a:r>
                        <a:rPr lang="en-US" sz="1400" dirty="0">
                          <a:effectLst/>
                        </a:rPr>
                        <a:t> (</a:t>
                      </a:r>
                      <a:r>
                        <a:rPr lang="en-US" sz="1400" dirty="0" err="1">
                          <a:effectLst/>
                        </a:rPr>
                        <a:t>vispārīgi</a:t>
                      </a:r>
                      <a:r>
                        <a:rPr lang="en-US" sz="1400" dirty="0">
                          <a:effectLst/>
                        </a:rPr>
                        <a:t>)</a:t>
                      </a:r>
                      <a:endParaRPr lang="en-US" sz="14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57875" marR="57875" marT="0" marB="0" anchor="b"/>
                </a:tc>
                <a:tc>
                  <a:txBody>
                    <a:bodyPr/>
                    <a:lstStyle/>
                    <a:p>
                      <a:pPr algn="ctr">
                        <a:lnSpc>
                          <a:spcPct val="200000"/>
                        </a:lnSpc>
                        <a:spcAft>
                          <a:spcPts val="0"/>
                        </a:spcAft>
                      </a:pPr>
                      <a:r>
                        <a:rPr lang="en-US" sz="1400">
                          <a:effectLst/>
                        </a:rPr>
                        <a:t>2 %</a:t>
                      </a:r>
                      <a:endParaRPr lang="en-US" sz="1400">
                        <a:effectLst/>
                        <a:latin typeface="Arial" panose="020B0604020202020204" pitchFamily="34" charset="0"/>
                        <a:ea typeface="Times New Roman" panose="02020603050405020304" pitchFamily="18" charset="0"/>
                        <a:cs typeface="Times New Roman" panose="02020603050405020304" pitchFamily="18" charset="0"/>
                      </a:endParaRPr>
                    </a:p>
                  </a:txBody>
                  <a:tcPr marL="57875" marR="57875" marT="0" marB="0" anchor="ctr"/>
                </a:tc>
                <a:extLst>
                  <a:ext uri="{0D108BD9-81ED-4DB2-BD59-A6C34878D82A}">
                    <a16:rowId xmlns:a16="http://schemas.microsoft.com/office/drawing/2014/main" val="10003"/>
                  </a:ext>
                </a:extLst>
              </a:tr>
              <a:tr h="150046">
                <a:tc>
                  <a:txBody>
                    <a:bodyPr/>
                    <a:lstStyle/>
                    <a:p>
                      <a:pPr>
                        <a:lnSpc>
                          <a:spcPct val="200000"/>
                        </a:lnSpc>
                        <a:spcAft>
                          <a:spcPts val="0"/>
                        </a:spcAft>
                      </a:pPr>
                      <a:r>
                        <a:rPr lang="en-US" sz="1400">
                          <a:effectLst/>
                        </a:rPr>
                        <a:t>Atbalsts, konsultācija pa telefonu</a:t>
                      </a:r>
                      <a:endParaRPr lang="en-US" sz="1400">
                        <a:effectLst/>
                        <a:latin typeface="Arial" panose="020B0604020202020204" pitchFamily="34" charset="0"/>
                        <a:ea typeface="Times New Roman" panose="02020603050405020304" pitchFamily="18" charset="0"/>
                        <a:cs typeface="Times New Roman" panose="02020603050405020304" pitchFamily="18" charset="0"/>
                      </a:endParaRPr>
                    </a:p>
                  </a:txBody>
                  <a:tcPr marL="57875" marR="57875" marT="0" marB="0" anchor="b"/>
                </a:tc>
                <a:tc>
                  <a:txBody>
                    <a:bodyPr/>
                    <a:lstStyle/>
                    <a:p>
                      <a:pPr algn="ctr">
                        <a:lnSpc>
                          <a:spcPct val="200000"/>
                        </a:lnSpc>
                        <a:spcAft>
                          <a:spcPts val="0"/>
                        </a:spcAft>
                      </a:pPr>
                      <a:r>
                        <a:rPr lang="en-US" sz="1400" dirty="0">
                          <a:effectLst/>
                        </a:rPr>
                        <a:t>1 %</a:t>
                      </a:r>
                      <a:endParaRPr lang="en-US" sz="14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57875" marR="57875" marT="0" marB="0" anchor="ctr"/>
                </a:tc>
                <a:extLst>
                  <a:ext uri="{0D108BD9-81ED-4DB2-BD59-A6C34878D82A}">
                    <a16:rowId xmlns:a16="http://schemas.microsoft.com/office/drawing/2014/main" val="10004"/>
                  </a:ext>
                </a:extLst>
              </a:tr>
              <a:tr h="150046">
                <a:tc>
                  <a:txBody>
                    <a:bodyPr/>
                    <a:lstStyle/>
                    <a:p>
                      <a:pPr>
                        <a:lnSpc>
                          <a:spcPct val="200000"/>
                        </a:lnSpc>
                        <a:spcAft>
                          <a:spcPts val="0"/>
                        </a:spcAft>
                      </a:pPr>
                      <a:r>
                        <a:rPr lang="en-US" sz="1400">
                          <a:effectLst/>
                        </a:rPr>
                        <a:t>Savlaicīga informēšana</a:t>
                      </a:r>
                      <a:endParaRPr lang="en-US" sz="1400">
                        <a:effectLst/>
                        <a:latin typeface="Arial" panose="020B0604020202020204" pitchFamily="34" charset="0"/>
                        <a:ea typeface="Times New Roman" panose="02020603050405020304" pitchFamily="18" charset="0"/>
                        <a:cs typeface="Times New Roman" panose="02020603050405020304" pitchFamily="18" charset="0"/>
                      </a:endParaRPr>
                    </a:p>
                  </a:txBody>
                  <a:tcPr marL="57875" marR="57875" marT="0" marB="0" anchor="b"/>
                </a:tc>
                <a:tc>
                  <a:txBody>
                    <a:bodyPr/>
                    <a:lstStyle/>
                    <a:p>
                      <a:pPr algn="ctr">
                        <a:lnSpc>
                          <a:spcPct val="200000"/>
                        </a:lnSpc>
                        <a:spcAft>
                          <a:spcPts val="0"/>
                        </a:spcAft>
                      </a:pPr>
                      <a:r>
                        <a:rPr lang="en-US" sz="1400" dirty="0">
                          <a:effectLst/>
                        </a:rPr>
                        <a:t>1 %</a:t>
                      </a:r>
                      <a:endParaRPr lang="en-US" sz="14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57875" marR="57875" marT="0" marB="0" anchor="ctr"/>
                </a:tc>
                <a:extLst>
                  <a:ext uri="{0D108BD9-81ED-4DB2-BD59-A6C34878D82A}">
                    <a16:rowId xmlns:a16="http://schemas.microsoft.com/office/drawing/2014/main" val="10005"/>
                  </a:ext>
                </a:extLst>
              </a:tr>
              <a:tr h="150046">
                <a:tc>
                  <a:txBody>
                    <a:bodyPr/>
                    <a:lstStyle/>
                    <a:p>
                      <a:pPr>
                        <a:lnSpc>
                          <a:spcPct val="200000"/>
                        </a:lnSpc>
                        <a:spcAft>
                          <a:spcPts val="0"/>
                        </a:spcAft>
                      </a:pPr>
                      <a:r>
                        <a:rPr lang="en-US" sz="1400">
                          <a:effectLst/>
                        </a:rPr>
                        <a:t>Objektivitāte</a:t>
                      </a:r>
                      <a:endParaRPr lang="en-US" sz="1400">
                        <a:effectLst/>
                        <a:latin typeface="Arial" panose="020B0604020202020204" pitchFamily="34" charset="0"/>
                        <a:ea typeface="Times New Roman" panose="02020603050405020304" pitchFamily="18" charset="0"/>
                        <a:cs typeface="Times New Roman" panose="02020603050405020304" pitchFamily="18" charset="0"/>
                      </a:endParaRPr>
                    </a:p>
                  </a:txBody>
                  <a:tcPr marL="57875" marR="57875" marT="0" marB="0" anchor="b"/>
                </a:tc>
                <a:tc>
                  <a:txBody>
                    <a:bodyPr/>
                    <a:lstStyle/>
                    <a:p>
                      <a:pPr algn="ctr">
                        <a:lnSpc>
                          <a:spcPct val="200000"/>
                        </a:lnSpc>
                        <a:spcAft>
                          <a:spcPts val="0"/>
                        </a:spcAft>
                      </a:pPr>
                      <a:r>
                        <a:rPr lang="en-US" sz="1400" dirty="0">
                          <a:effectLst/>
                        </a:rPr>
                        <a:t>1 %</a:t>
                      </a:r>
                      <a:endParaRPr lang="en-US" sz="14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57875" marR="57875" marT="0" marB="0" anchor="ctr"/>
                </a:tc>
                <a:extLst>
                  <a:ext uri="{0D108BD9-81ED-4DB2-BD59-A6C34878D82A}">
                    <a16:rowId xmlns:a16="http://schemas.microsoft.com/office/drawing/2014/main" val="10006"/>
                  </a:ext>
                </a:extLst>
              </a:tr>
              <a:tr h="150046">
                <a:tc>
                  <a:txBody>
                    <a:bodyPr/>
                    <a:lstStyle/>
                    <a:p>
                      <a:pPr>
                        <a:lnSpc>
                          <a:spcPct val="200000"/>
                        </a:lnSpc>
                        <a:spcAft>
                          <a:spcPts val="0"/>
                        </a:spcAft>
                      </a:pPr>
                      <a:r>
                        <a:rPr lang="en-US" sz="1400">
                          <a:effectLst/>
                        </a:rPr>
                        <a:t>Nelegālas zvejas kontrole</a:t>
                      </a:r>
                      <a:endParaRPr lang="en-US" sz="1400">
                        <a:effectLst/>
                        <a:latin typeface="Arial" panose="020B0604020202020204" pitchFamily="34" charset="0"/>
                        <a:ea typeface="Times New Roman" panose="02020603050405020304" pitchFamily="18" charset="0"/>
                        <a:cs typeface="Times New Roman" panose="02020603050405020304" pitchFamily="18" charset="0"/>
                      </a:endParaRPr>
                    </a:p>
                  </a:txBody>
                  <a:tcPr marL="57875" marR="57875" marT="0" marB="0" anchor="b"/>
                </a:tc>
                <a:tc>
                  <a:txBody>
                    <a:bodyPr/>
                    <a:lstStyle/>
                    <a:p>
                      <a:pPr algn="ctr">
                        <a:lnSpc>
                          <a:spcPct val="200000"/>
                        </a:lnSpc>
                        <a:spcAft>
                          <a:spcPts val="0"/>
                        </a:spcAft>
                      </a:pPr>
                      <a:r>
                        <a:rPr lang="en-US" sz="1400" dirty="0">
                          <a:effectLst/>
                        </a:rPr>
                        <a:t>1 %</a:t>
                      </a:r>
                      <a:endParaRPr lang="en-US" sz="14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57875" marR="57875" marT="0" marB="0" anchor="ctr"/>
                </a:tc>
                <a:extLst>
                  <a:ext uri="{0D108BD9-81ED-4DB2-BD59-A6C34878D82A}">
                    <a16:rowId xmlns:a16="http://schemas.microsoft.com/office/drawing/2014/main" val="10007"/>
                  </a:ext>
                </a:extLst>
              </a:tr>
              <a:tr h="150046">
                <a:tc>
                  <a:txBody>
                    <a:bodyPr/>
                    <a:lstStyle/>
                    <a:p>
                      <a:pPr>
                        <a:lnSpc>
                          <a:spcPct val="200000"/>
                        </a:lnSpc>
                        <a:spcAft>
                          <a:spcPts val="0"/>
                        </a:spcAft>
                      </a:pPr>
                      <a:r>
                        <a:rPr lang="en-US" sz="1400">
                          <a:effectLst/>
                        </a:rPr>
                        <a:t>Ērta dokumentācija</a:t>
                      </a:r>
                      <a:endParaRPr lang="en-US" sz="1400">
                        <a:effectLst/>
                        <a:latin typeface="Arial" panose="020B0604020202020204" pitchFamily="34" charset="0"/>
                        <a:ea typeface="Times New Roman" panose="02020603050405020304" pitchFamily="18" charset="0"/>
                        <a:cs typeface="Times New Roman" panose="02020603050405020304" pitchFamily="18" charset="0"/>
                      </a:endParaRPr>
                    </a:p>
                  </a:txBody>
                  <a:tcPr marL="57875" marR="57875" marT="0" marB="0" anchor="b"/>
                </a:tc>
                <a:tc>
                  <a:txBody>
                    <a:bodyPr/>
                    <a:lstStyle/>
                    <a:p>
                      <a:pPr algn="ctr">
                        <a:lnSpc>
                          <a:spcPct val="200000"/>
                        </a:lnSpc>
                        <a:spcAft>
                          <a:spcPts val="0"/>
                        </a:spcAft>
                      </a:pPr>
                      <a:r>
                        <a:rPr lang="en-US" sz="1400" dirty="0">
                          <a:effectLst/>
                        </a:rPr>
                        <a:t>1 %</a:t>
                      </a:r>
                      <a:endParaRPr lang="en-US" sz="14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57875" marR="57875" marT="0" marB="0" anchor="ctr"/>
                </a:tc>
                <a:extLst>
                  <a:ext uri="{0D108BD9-81ED-4DB2-BD59-A6C34878D82A}">
                    <a16:rowId xmlns:a16="http://schemas.microsoft.com/office/drawing/2014/main" val="10008"/>
                  </a:ext>
                </a:extLst>
              </a:tr>
              <a:tr h="150046">
                <a:tc>
                  <a:txBody>
                    <a:bodyPr/>
                    <a:lstStyle/>
                    <a:p>
                      <a:pPr>
                        <a:lnSpc>
                          <a:spcPct val="200000"/>
                        </a:lnSpc>
                        <a:spcAft>
                          <a:spcPts val="0"/>
                        </a:spcAft>
                      </a:pPr>
                      <a:r>
                        <a:rPr lang="en-US" sz="1400">
                          <a:effectLst/>
                        </a:rPr>
                        <a:t>Iedziļināšanās</a:t>
                      </a:r>
                      <a:endParaRPr lang="en-US" sz="1400">
                        <a:effectLst/>
                        <a:latin typeface="Arial" panose="020B0604020202020204" pitchFamily="34" charset="0"/>
                        <a:ea typeface="Times New Roman" panose="02020603050405020304" pitchFamily="18" charset="0"/>
                        <a:cs typeface="Times New Roman" panose="02020603050405020304" pitchFamily="18" charset="0"/>
                      </a:endParaRPr>
                    </a:p>
                  </a:txBody>
                  <a:tcPr marL="57875" marR="57875" marT="0" marB="0" anchor="b"/>
                </a:tc>
                <a:tc>
                  <a:txBody>
                    <a:bodyPr/>
                    <a:lstStyle/>
                    <a:p>
                      <a:pPr algn="ctr">
                        <a:lnSpc>
                          <a:spcPct val="200000"/>
                        </a:lnSpc>
                        <a:spcAft>
                          <a:spcPts val="0"/>
                        </a:spcAft>
                      </a:pPr>
                      <a:r>
                        <a:rPr lang="en-US" sz="1400" dirty="0">
                          <a:effectLst/>
                        </a:rPr>
                        <a:t>1 %</a:t>
                      </a:r>
                      <a:endParaRPr lang="en-US" sz="14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57875" marR="57875" marT="0" marB="0" anchor="ctr"/>
                </a:tc>
                <a:extLst>
                  <a:ext uri="{0D108BD9-81ED-4DB2-BD59-A6C34878D82A}">
                    <a16:rowId xmlns:a16="http://schemas.microsoft.com/office/drawing/2014/main" val="10009"/>
                  </a:ext>
                </a:extLst>
              </a:tr>
              <a:tr h="150046">
                <a:tc>
                  <a:txBody>
                    <a:bodyPr/>
                    <a:lstStyle/>
                    <a:p>
                      <a:pPr>
                        <a:lnSpc>
                          <a:spcPct val="200000"/>
                        </a:lnSpc>
                        <a:spcAft>
                          <a:spcPts val="0"/>
                        </a:spcAft>
                      </a:pPr>
                      <a:r>
                        <a:rPr lang="en-US" sz="1400">
                          <a:effectLst/>
                        </a:rPr>
                        <a:t>Attālināta pārbaude</a:t>
                      </a:r>
                      <a:endParaRPr lang="en-US" sz="1400">
                        <a:effectLst/>
                        <a:latin typeface="Arial" panose="020B0604020202020204" pitchFamily="34" charset="0"/>
                        <a:ea typeface="Times New Roman" panose="02020603050405020304" pitchFamily="18" charset="0"/>
                        <a:cs typeface="Times New Roman" panose="02020603050405020304" pitchFamily="18" charset="0"/>
                      </a:endParaRPr>
                    </a:p>
                  </a:txBody>
                  <a:tcPr marL="57875" marR="57875" marT="0" marB="0" anchor="b"/>
                </a:tc>
                <a:tc>
                  <a:txBody>
                    <a:bodyPr/>
                    <a:lstStyle/>
                    <a:p>
                      <a:pPr algn="ctr">
                        <a:lnSpc>
                          <a:spcPct val="200000"/>
                        </a:lnSpc>
                        <a:spcAft>
                          <a:spcPts val="0"/>
                        </a:spcAft>
                      </a:pPr>
                      <a:r>
                        <a:rPr lang="en-US" sz="1400" dirty="0">
                          <a:effectLst/>
                        </a:rPr>
                        <a:t>1 %</a:t>
                      </a:r>
                      <a:endParaRPr lang="en-US" sz="14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57875" marR="57875" marT="0" marB="0" anchor="ctr"/>
                </a:tc>
                <a:extLst>
                  <a:ext uri="{0D108BD9-81ED-4DB2-BD59-A6C34878D82A}">
                    <a16:rowId xmlns:a16="http://schemas.microsoft.com/office/drawing/2014/main" val="10010"/>
                  </a:ext>
                </a:extLst>
              </a:tr>
              <a:tr h="150046">
                <a:tc>
                  <a:txBody>
                    <a:bodyPr/>
                    <a:lstStyle/>
                    <a:p>
                      <a:pPr>
                        <a:lnSpc>
                          <a:spcPct val="200000"/>
                        </a:lnSpc>
                        <a:spcAft>
                          <a:spcPts val="0"/>
                        </a:spcAft>
                      </a:pPr>
                      <a:r>
                        <a:rPr lang="en-US" sz="1400">
                          <a:effectLst/>
                        </a:rPr>
                        <a:t>Sasniedzami</a:t>
                      </a:r>
                      <a:endParaRPr lang="en-US" sz="1400">
                        <a:effectLst/>
                        <a:latin typeface="Arial" panose="020B0604020202020204" pitchFamily="34" charset="0"/>
                        <a:ea typeface="Times New Roman" panose="02020603050405020304" pitchFamily="18" charset="0"/>
                        <a:cs typeface="Times New Roman" panose="02020603050405020304" pitchFamily="18" charset="0"/>
                      </a:endParaRPr>
                    </a:p>
                  </a:txBody>
                  <a:tcPr marL="57875" marR="57875" marT="0" marB="0" anchor="b"/>
                </a:tc>
                <a:tc>
                  <a:txBody>
                    <a:bodyPr/>
                    <a:lstStyle/>
                    <a:p>
                      <a:pPr algn="ctr">
                        <a:lnSpc>
                          <a:spcPct val="200000"/>
                        </a:lnSpc>
                        <a:spcAft>
                          <a:spcPts val="0"/>
                        </a:spcAft>
                      </a:pPr>
                      <a:r>
                        <a:rPr lang="en-US" sz="1400" dirty="0">
                          <a:effectLst/>
                        </a:rPr>
                        <a:t>0,4 %</a:t>
                      </a:r>
                      <a:endParaRPr lang="en-US" sz="14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57875" marR="57875" marT="0" marB="0" anchor="ctr"/>
                </a:tc>
                <a:extLst>
                  <a:ext uri="{0D108BD9-81ED-4DB2-BD59-A6C34878D82A}">
                    <a16:rowId xmlns:a16="http://schemas.microsoft.com/office/drawing/2014/main" val="10011"/>
                  </a:ext>
                </a:extLst>
              </a:tr>
            </a:tbl>
          </a:graphicData>
        </a:graphic>
      </p:graphicFrame>
    </p:spTree>
    <p:extLst>
      <p:ext uri="{BB962C8B-B14F-4D97-AF65-F5344CB8AC3E}">
        <p14:creationId xmlns:p14="http://schemas.microsoft.com/office/powerpoint/2010/main" val="199720824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lv-LV" dirty="0"/>
              <a:t>Attālināto pārbaužu novērtējums</a:t>
            </a:r>
          </a:p>
        </p:txBody>
      </p:sp>
      <p:sp>
        <p:nvSpPr>
          <p:cNvPr id="4" name="Text Placeholder 3"/>
          <p:cNvSpPr>
            <a:spLocks noGrp="1"/>
          </p:cNvSpPr>
          <p:nvPr>
            <p:ph type="body" idx="1"/>
          </p:nvPr>
        </p:nvSpPr>
        <p:spPr/>
        <p:txBody>
          <a:bodyPr/>
          <a:lstStyle/>
          <a:p>
            <a:endParaRPr lang="lv-LV"/>
          </a:p>
        </p:txBody>
      </p:sp>
    </p:spTree>
    <p:extLst>
      <p:ext uri="{BB962C8B-B14F-4D97-AF65-F5344CB8AC3E}">
        <p14:creationId xmlns:p14="http://schemas.microsoft.com/office/powerpoint/2010/main" val="82921311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lv-LV" dirty="0"/>
              <a:t>Attālināto un klātienes pārbaužu sadalījums</a:t>
            </a:r>
          </a:p>
        </p:txBody>
      </p:sp>
      <p:sp>
        <p:nvSpPr>
          <p:cNvPr id="36" name="Text Placeholder 5"/>
          <p:cNvSpPr txBox="1">
            <a:spLocks/>
          </p:cNvSpPr>
          <p:nvPr/>
        </p:nvSpPr>
        <p:spPr>
          <a:xfrm>
            <a:off x="133350" y="5950985"/>
            <a:ext cx="11925299" cy="485209"/>
          </a:xfrm>
          <a:prstGeom prst="rect">
            <a:avLst/>
          </a:prstGeom>
        </p:spPr>
        <p:txBody>
          <a:bodyPr vert="horz" lIns="91440" tIns="45720" rIns="91440" bIns="45720" rtlCol="0" anchor="b" anchorCtr="0">
            <a:noAutofit/>
          </a:bodyPr>
          <a:lstStyle>
            <a:lvl1pPr marL="0" indent="0" algn="l" defTabSz="914400" rtl="0" eaLnBrk="1" latinLnBrk="0" hangingPunct="1">
              <a:lnSpc>
                <a:spcPct val="100000"/>
              </a:lnSpc>
              <a:spcBef>
                <a:spcPts val="0"/>
              </a:spcBef>
              <a:buSzPct val="50000"/>
              <a:buFont typeface="Wingdings" panose="05000000000000000000" pitchFamily="2" charset="2"/>
              <a:buNone/>
              <a:defRPr sz="1200" i="0" kern="1200" baseline="0">
                <a:solidFill>
                  <a:schemeClr val="bg1">
                    <a:lumMod val="50000"/>
                  </a:schemeClr>
                </a:solidFill>
                <a:latin typeface="+mj-lt"/>
                <a:ea typeface="+mn-ea"/>
                <a:cs typeface="+mn-cs"/>
              </a:defRPr>
            </a:lvl1pPr>
            <a:lvl2pPr marL="685800" indent="-228600" algn="l" defTabSz="914400" rtl="0" eaLnBrk="1" latinLnBrk="0" hangingPunct="1">
              <a:lnSpc>
                <a:spcPct val="90000"/>
              </a:lnSpc>
              <a:spcBef>
                <a:spcPts val="500"/>
              </a:spcBef>
              <a:buSzPct val="50000"/>
              <a:buFont typeface="Wingdings" panose="05000000000000000000" pitchFamily="2" charset="2"/>
              <a:buChar char="§"/>
              <a:defRPr sz="1200" kern="1200">
                <a:solidFill>
                  <a:schemeClr val="bg1">
                    <a:lumMod val="50000"/>
                  </a:schemeClr>
                </a:solidFill>
                <a:latin typeface="+mj-lt"/>
                <a:ea typeface="+mn-ea"/>
                <a:cs typeface="+mn-cs"/>
              </a:defRPr>
            </a:lvl2pPr>
            <a:lvl3pPr marL="1143000" indent="-228600" algn="l" defTabSz="914400" rtl="0" eaLnBrk="1" latinLnBrk="0" hangingPunct="1">
              <a:lnSpc>
                <a:spcPct val="90000"/>
              </a:lnSpc>
              <a:spcBef>
                <a:spcPts val="500"/>
              </a:spcBef>
              <a:buSzPct val="50000"/>
              <a:buFont typeface="Wingdings" panose="05000000000000000000" pitchFamily="2" charset="2"/>
              <a:buChar char="§"/>
              <a:defRPr sz="1200" kern="1200">
                <a:solidFill>
                  <a:schemeClr val="bg1">
                    <a:lumMod val="50000"/>
                  </a:schemeClr>
                </a:solidFill>
                <a:latin typeface="+mj-lt"/>
                <a:ea typeface="+mn-ea"/>
                <a:cs typeface="+mn-cs"/>
              </a:defRPr>
            </a:lvl3pPr>
            <a:lvl4pPr marL="1600200" indent="-228600" algn="l" defTabSz="914400" rtl="0" eaLnBrk="1" latinLnBrk="0" hangingPunct="1">
              <a:lnSpc>
                <a:spcPct val="90000"/>
              </a:lnSpc>
              <a:spcBef>
                <a:spcPts val="500"/>
              </a:spcBef>
              <a:buSzPct val="50000"/>
              <a:buFont typeface="Wingdings" panose="05000000000000000000" pitchFamily="2" charset="2"/>
              <a:buChar char="§"/>
              <a:defRPr sz="1200" kern="1200">
                <a:solidFill>
                  <a:schemeClr val="bg1">
                    <a:lumMod val="50000"/>
                  </a:schemeClr>
                </a:solidFill>
                <a:latin typeface="+mj-lt"/>
                <a:ea typeface="+mn-ea"/>
                <a:cs typeface="+mn-cs"/>
              </a:defRPr>
            </a:lvl4pPr>
            <a:lvl5pPr marL="2057400" indent="-228600" algn="l" defTabSz="914400" rtl="0" eaLnBrk="1" latinLnBrk="0" hangingPunct="1">
              <a:lnSpc>
                <a:spcPct val="90000"/>
              </a:lnSpc>
              <a:spcBef>
                <a:spcPts val="500"/>
              </a:spcBef>
              <a:buSzPct val="50000"/>
              <a:buFont typeface="Wingdings" panose="05000000000000000000" pitchFamily="2" charset="2"/>
              <a:buChar char="§"/>
              <a:defRPr sz="1200" kern="1200">
                <a:solidFill>
                  <a:schemeClr val="bg1">
                    <a:lumMod val="50000"/>
                  </a:schemeClr>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r>
              <a:rPr lang="lv-LV" sz="1000" dirty="0">
                <a:solidFill>
                  <a:sysClr val="window" lastClr="FFFFFF">
                    <a:lumMod val="50000"/>
                  </a:sysClr>
                </a:solidFill>
                <a:latin typeface="Calibri"/>
              </a:rPr>
              <a:t>Q</a:t>
            </a:r>
            <a:r>
              <a:rPr lang="en-US" sz="1000" dirty="0">
                <a:solidFill>
                  <a:sysClr val="window" lastClr="FFFFFF">
                    <a:lumMod val="50000"/>
                  </a:sysClr>
                </a:solidFill>
                <a:latin typeface="Calibri"/>
              </a:rPr>
              <a:t>2</a:t>
            </a:r>
            <a:r>
              <a:rPr lang="lv-LV" sz="1000" dirty="0">
                <a:solidFill>
                  <a:sysClr val="window" lastClr="FFFFFF">
                    <a:lumMod val="50000"/>
                  </a:sysClr>
                </a:solidFill>
                <a:latin typeface="Calibri"/>
              </a:rPr>
              <a:t>. Atcerieties nesenāko, pēdējo Valsts vides dienesta (vai Radiācijas drošības centra) pārbaudi 2020.gadā. Vai tā notika klātienē vai arī izmantojot attālinātas metodes (piem., zvani, video zvani, dokumentu nosūtīšana elektroniski un to neklātienes pārbaude)?</a:t>
            </a:r>
            <a:endParaRPr lang="en-US" sz="1000" dirty="0">
              <a:solidFill>
                <a:sysClr val="window" lastClr="FFFFFF">
                  <a:lumMod val="50000"/>
                </a:sysClr>
              </a:solidFill>
              <a:latin typeface="Calibri"/>
            </a:endParaRPr>
          </a:p>
          <a:p>
            <a:r>
              <a:rPr kumimoji="0" lang="lv-LV" sz="1000" b="0" i="0" u="none" strike="noStrike" kern="1200" cap="none" spc="0" normalizeH="0" baseline="0" noProof="0" dirty="0">
                <a:ln>
                  <a:noFill/>
                </a:ln>
                <a:solidFill>
                  <a:sysClr val="window" lastClr="FFFFFF">
                    <a:lumMod val="50000"/>
                  </a:sysClr>
                </a:solidFill>
                <a:effectLst/>
                <a:uLnTx/>
                <a:uFillTx/>
                <a:latin typeface="Calibri"/>
                <a:ea typeface="+mn-ea"/>
                <a:cs typeface="+mn-cs"/>
              </a:rPr>
              <a:t>Bāze: </a:t>
            </a:r>
            <a:r>
              <a:rPr lang="lv-LV" sz="1000" dirty="0">
                <a:solidFill>
                  <a:sysClr val="window" lastClr="FFFFFF">
                    <a:lumMod val="50000"/>
                  </a:sysClr>
                </a:solidFill>
                <a:latin typeface="Calibri"/>
              </a:rPr>
              <a:t>visi respondenti</a:t>
            </a:r>
            <a:r>
              <a:rPr lang="en-US" sz="1000" dirty="0">
                <a:solidFill>
                  <a:sysClr val="window" lastClr="FFFFFF">
                    <a:lumMod val="50000"/>
                  </a:sysClr>
                </a:solidFill>
                <a:latin typeface="Calibri"/>
              </a:rPr>
              <a:t>, `n` </a:t>
            </a:r>
            <a:r>
              <a:rPr lang="en-US" sz="1000" dirty="0" err="1">
                <a:solidFill>
                  <a:sysClr val="window" lastClr="FFFFFF">
                    <a:lumMod val="50000"/>
                  </a:sysClr>
                </a:solidFill>
                <a:latin typeface="Calibri"/>
              </a:rPr>
              <a:t>skat</a:t>
            </a:r>
            <a:r>
              <a:rPr lang="lv-LV" sz="1000" dirty="0" err="1">
                <a:solidFill>
                  <a:sysClr val="window" lastClr="FFFFFF">
                    <a:lumMod val="50000"/>
                  </a:sysClr>
                </a:solidFill>
                <a:latin typeface="Calibri"/>
              </a:rPr>
              <a:t>īt</a:t>
            </a:r>
            <a:r>
              <a:rPr lang="lv-LV" sz="1000" dirty="0">
                <a:solidFill>
                  <a:sysClr val="window" lastClr="FFFFFF">
                    <a:lumMod val="50000"/>
                  </a:sysClr>
                </a:solidFill>
                <a:latin typeface="Calibri"/>
              </a:rPr>
              <a:t> grafikā</a:t>
            </a:r>
          </a:p>
        </p:txBody>
      </p:sp>
      <p:graphicFrame>
        <p:nvGraphicFramePr>
          <p:cNvPr id="5" name="Chart 4"/>
          <p:cNvGraphicFramePr/>
          <p:nvPr>
            <p:extLst>
              <p:ext uri="{D42A27DB-BD31-4B8C-83A1-F6EECF244321}">
                <p14:modId xmlns:p14="http://schemas.microsoft.com/office/powerpoint/2010/main" val="3614798052"/>
              </p:ext>
            </p:extLst>
          </p:nvPr>
        </p:nvGraphicFramePr>
        <p:xfrm>
          <a:off x="650448" y="1627758"/>
          <a:ext cx="10737987" cy="4177981"/>
        </p:xfrm>
        <a:graphic>
          <a:graphicData uri="http://schemas.openxmlformats.org/drawingml/2006/chart">
            <c:chart xmlns:c="http://schemas.openxmlformats.org/drawingml/2006/chart" xmlns:r="http://schemas.openxmlformats.org/officeDocument/2006/relationships" r:id="rId2"/>
          </a:graphicData>
        </a:graphic>
      </p:graphicFrame>
      <p:cxnSp>
        <p:nvCxnSpPr>
          <p:cNvPr id="6" name="Straight Arrow Connector 5"/>
          <p:cNvCxnSpPr/>
          <p:nvPr/>
        </p:nvCxnSpPr>
        <p:spPr>
          <a:xfrm flipV="1">
            <a:off x="5935365" y="3065739"/>
            <a:ext cx="0" cy="216024"/>
          </a:xfrm>
          <a:prstGeom prst="straightConnector1">
            <a:avLst/>
          </a:prstGeom>
          <a:ln w="19050">
            <a:solidFill>
              <a:srgbClr val="1B7F24"/>
            </a:solidFill>
            <a:headEnd type="none" w="med" len="med"/>
            <a:tailEnd type="arrow"/>
          </a:ln>
        </p:spPr>
        <p:style>
          <a:lnRef idx="1">
            <a:schemeClr val="accent1"/>
          </a:lnRef>
          <a:fillRef idx="0">
            <a:schemeClr val="accent1"/>
          </a:fillRef>
          <a:effectRef idx="0">
            <a:schemeClr val="accent1"/>
          </a:effectRef>
          <a:fontRef idx="minor">
            <a:schemeClr val="tx1"/>
          </a:fontRef>
        </p:style>
      </p:cxnSp>
      <p:cxnSp>
        <p:nvCxnSpPr>
          <p:cNvPr id="7" name="Straight Arrow Connector 6"/>
          <p:cNvCxnSpPr/>
          <p:nvPr/>
        </p:nvCxnSpPr>
        <p:spPr>
          <a:xfrm flipV="1">
            <a:off x="7764129" y="3924614"/>
            <a:ext cx="0" cy="216024"/>
          </a:xfrm>
          <a:prstGeom prst="straightConnector1">
            <a:avLst/>
          </a:prstGeom>
          <a:ln w="19050">
            <a:solidFill>
              <a:srgbClr val="1B7F24"/>
            </a:solidFill>
            <a:headEnd type="none" w="med" len="med"/>
            <a:tailEnd type="arrow"/>
          </a:ln>
        </p:spPr>
        <p:style>
          <a:lnRef idx="1">
            <a:schemeClr val="accent1"/>
          </a:lnRef>
          <a:fillRef idx="0">
            <a:schemeClr val="accent1"/>
          </a:fillRef>
          <a:effectRef idx="0">
            <a:schemeClr val="accent1"/>
          </a:effectRef>
          <a:fontRef idx="minor">
            <a:schemeClr val="tx1"/>
          </a:fontRef>
        </p:style>
      </p:cxnSp>
      <p:cxnSp>
        <p:nvCxnSpPr>
          <p:cNvPr id="8" name="Straight Arrow Connector 7"/>
          <p:cNvCxnSpPr/>
          <p:nvPr/>
        </p:nvCxnSpPr>
        <p:spPr>
          <a:xfrm rot="10800000" flipV="1">
            <a:off x="7764129" y="2187618"/>
            <a:ext cx="0" cy="216024"/>
          </a:xfrm>
          <a:prstGeom prst="straightConnector1">
            <a:avLst/>
          </a:prstGeom>
          <a:ln w="19050">
            <a:solidFill>
              <a:srgbClr val="B2371A"/>
            </a:solidFill>
            <a:headEnd type="none" w="med" len="med"/>
            <a:tailEnd type="arrow"/>
          </a:ln>
        </p:spPr>
        <p:style>
          <a:lnRef idx="1">
            <a:schemeClr val="accent1"/>
          </a:lnRef>
          <a:fillRef idx="0">
            <a:schemeClr val="accent1"/>
          </a:fillRef>
          <a:effectRef idx="0">
            <a:schemeClr val="accent1"/>
          </a:effectRef>
          <a:fontRef idx="minor">
            <a:schemeClr val="tx1"/>
          </a:fontRef>
        </p:style>
      </p:cxnSp>
      <p:cxnSp>
        <p:nvCxnSpPr>
          <p:cNvPr id="9" name="Straight Arrow Connector 8"/>
          <p:cNvCxnSpPr/>
          <p:nvPr/>
        </p:nvCxnSpPr>
        <p:spPr>
          <a:xfrm rot="10800000" flipV="1">
            <a:off x="5881190" y="5093930"/>
            <a:ext cx="0" cy="216024"/>
          </a:xfrm>
          <a:prstGeom prst="straightConnector1">
            <a:avLst/>
          </a:prstGeom>
          <a:ln w="19050">
            <a:solidFill>
              <a:srgbClr val="B2371A"/>
            </a:solidFill>
            <a:headEnd type="none" w="med" len="med"/>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8412849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ctr">
            <a:normAutofit/>
          </a:bodyPr>
          <a:lstStyle/>
          <a:p>
            <a:r>
              <a:rPr lang="lv-LV" dirty="0"/>
              <a:t>VVD tehniskās gatavības attālinātai pārbaudei novērtējums</a:t>
            </a:r>
          </a:p>
        </p:txBody>
      </p:sp>
      <p:graphicFrame>
        <p:nvGraphicFramePr>
          <p:cNvPr id="3" name="Chart 2"/>
          <p:cNvGraphicFramePr/>
          <p:nvPr>
            <p:extLst>
              <p:ext uri="{D42A27DB-BD31-4B8C-83A1-F6EECF244321}">
                <p14:modId xmlns:p14="http://schemas.microsoft.com/office/powerpoint/2010/main" val="1407458305"/>
              </p:ext>
            </p:extLst>
          </p:nvPr>
        </p:nvGraphicFramePr>
        <p:xfrm>
          <a:off x="538595" y="1194954"/>
          <a:ext cx="10822034" cy="4632861"/>
        </p:xfrm>
        <a:graphic>
          <a:graphicData uri="http://schemas.openxmlformats.org/drawingml/2006/chart">
            <c:chart xmlns:c="http://schemas.openxmlformats.org/drawingml/2006/chart" xmlns:r="http://schemas.openxmlformats.org/officeDocument/2006/relationships" r:id="rId2"/>
          </a:graphicData>
        </a:graphic>
      </p:graphicFrame>
      <p:sp>
        <p:nvSpPr>
          <p:cNvPr id="6" name="Text Placeholder 5"/>
          <p:cNvSpPr txBox="1">
            <a:spLocks/>
          </p:cNvSpPr>
          <p:nvPr/>
        </p:nvSpPr>
        <p:spPr>
          <a:xfrm>
            <a:off x="133350" y="5973288"/>
            <a:ext cx="11925299" cy="485209"/>
          </a:xfrm>
          <a:prstGeom prst="rect">
            <a:avLst/>
          </a:prstGeom>
        </p:spPr>
        <p:txBody>
          <a:bodyPr vert="horz" lIns="91440" tIns="45720" rIns="91440" bIns="45720" rtlCol="0" anchor="b" anchorCtr="0">
            <a:noAutofit/>
          </a:bodyPr>
          <a:lstStyle>
            <a:lvl1pPr marL="0" indent="0" algn="l" defTabSz="914400" rtl="0" eaLnBrk="1" latinLnBrk="0" hangingPunct="1">
              <a:lnSpc>
                <a:spcPct val="100000"/>
              </a:lnSpc>
              <a:spcBef>
                <a:spcPts val="0"/>
              </a:spcBef>
              <a:buSzPct val="50000"/>
              <a:buFont typeface="Wingdings" panose="05000000000000000000" pitchFamily="2" charset="2"/>
              <a:buNone/>
              <a:defRPr sz="1200" i="0" kern="1200" baseline="0">
                <a:solidFill>
                  <a:schemeClr val="bg1">
                    <a:lumMod val="50000"/>
                  </a:schemeClr>
                </a:solidFill>
                <a:latin typeface="+mj-lt"/>
                <a:ea typeface="+mn-ea"/>
                <a:cs typeface="+mn-cs"/>
              </a:defRPr>
            </a:lvl1pPr>
            <a:lvl2pPr marL="685800" indent="-228600" algn="l" defTabSz="914400" rtl="0" eaLnBrk="1" latinLnBrk="0" hangingPunct="1">
              <a:lnSpc>
                <a:spcPct val="90000"/>
              </a:lnSpc>
              <a:spcBef>
                <a:spcPts val="500"/>
              </a:spcBef>
              <a:buSzPct val="50000"/>
              <a:buFont typeface="Wingdings" panose="05000000000000000000" pitchFamily="2" charset="2"/>
              <a:buChar char="§"/>
              <a:defRPr sz="1200" kern="1200">
                <a:solidFill>
                  <a:schemeClr val="bg1">
                    <a:lumMod val="50000"/>
                  </a:schemeClr>
                </a:solidFill>
                <a:latin typeface="+mj-lt"/>
                <a:ea typeface="+mn-ea"/>
                <a:cs typeface="+mn-cs"/>
              </a:defRPr>
            </a:lvl2pPr>
            <a:lvl3pPr marL="1143000" indent="-228600" algn="l" defTabSz="914400" rtl="0" eaLnBrk="1" latinLnBrk="0" hangingPunct="1">
              <a:lnSpc>
                <a:spcPct val="90000"/>
              </a:lnSpc>
              <a:spcBef>
                <a:spcPts val="500"/>
              </a:spcBef>
              <a:buSzPct val="50000"/>
              <a:buFont typeface="Wingdings" panose="05000000000000000000" pitchFamily="2" charset="2"/>
              <a:buChar char="§"/>
              <a:defRPr sz="1200" kern="1200">
                <a:solidFill>
                  <a:schemeClr val="bg1">
                    <a:lumMod val="50000"/>
                  </a:schemeClr>
                </a:solidFill>
                <a:latin typeface="+mj-lt"/>
                <a:ea typeface="+mn-ea"/>
                <a:cs typeface="+mn-cs"/>
              </a:defRPr>
            </a:lvl3pPr>
            <a:lvl4pPr marL="1600200" indent="-228600" algn="l" defTabSz="914400" rtl="0" eaLnBrk="1" latinLnBrk="0" hangingPunct="1">
              <a:lnSpc>
                <a:spcPct val="90000"/>
              </a:lnSpc>
              <a:spcBef>
                <a:spcPts val="500"/>
              </a:spcBef>
              <a:buSzPct val="50000"/>
              <a:buFont typeface="Wingdings" panose="05000000000000000000" pitchFamily="2" charset="2"/>
              <a:buChar char="§"/>
              <a:defRPr sz="1200" kern="1200">
                <a:solidFill>
                  <a:schemeClr val="bg1">
                    <a:lumMod val="50000"/>
                  </a:schemeClr>
                </a:solidFill>
                <a:latin typeface="+mj-lt"/>
                <a:ea typeface="+mn-ea"/>
                <a:cs typeface="+mn-cs"/>
              </a:defRPr>
            </a:lvl4pPr>
            <a:lvl5pPr marL="2057400" indent="-228600" algn="l" defTabSz="914400" rtl="0" eaLnBrk="1" latinLnBrk="0" hangingPunct="1">
              <a:lnSpc>
                <a:spcPct val="90000"/>
              </a:lnSpc>
              <a:spcBef>
                <a:spcPts val="500"/>
              </a:spcBef>
              <a:buSzPct val="50000"/>
              <a:buFont typeface="Wingdings" panose="05000000000000000000" pitchFamily="2" charset="2"/>
              <a:buChar char="§"/>
              <a:defRPr sz="1200" kern="1200">
                <a:solidFill>
                  <a:schemeClr val="bg1">
                    <a:lumMod val="50000"/>
                  </a:schemeClr>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r>
              <a:rPr lang="lv-LV" sz="1000" dirty="0">
                <a:solidFill>
                  <a:sysClr val="window" lastClr="FFFFFF">
                    <a:lumMod val="50000"/>
                  </a:sysClr>
                </a:solidFill>
                <a:latin typeface="Calibri"/>
              </a:rPr>
              <a:t>Q0</a:t>
            </a:r>
            <a:r>
              <a:rPr lang="en-US" sz="1000" dirty="0">
                <a:solidFill>
                  <a:sysClr val="window" lastClr="FFFFFF">
                    <a:lumMod val="50000"/>
                  </a:sysClr>
                </a:solidFill>
                <a:latin typeface="Calibri"/>
              </a:rPr>
              <a:t>3</a:t>
            </a:r>
            <a:r>
              <a:rPr lang="lv-LV" sz="1000" dirty="0">
                <a:solidFill>
                  <a:sysClr val="window" lastClr="FFFFFF">
                    <a:lumMod val="50000"/>
                  </a:sysClr>
                </a:solidFill>
                <a:latin typeface="Calibri"/>
              </a:rPr>
              <a:t>. Jūs atzīmējāt, ka pārbaude notika attālināti vai daļēji attālināti. Lūdzu, novērtējiet attālināto pārbaužu īstenošanu. Par katru apgalvojumu atzīmējiet, cik lielā mērā tam piekrītat vai nepiekrītat.</a:t>
            </a:r>
            <a:endParaRPr lang="en-US" sz="1000" dirty="0">
              <a:solidFill>
                <a:sysClr val="window" lastClr="FFFFFF">
                  <a:lumMod val="50000"/>
                </a:sysClr>
              </a:solidFill>
              <a:latin typeface="Calibri"/>
            </a:endParaRPr>
          </a:p>
          <a:p>
            <a:pPr lvl="0"/>
            <a:r>
              <a:rPr lang="lv-LV" sz="1000" dirty="0">
                <a:solidFill>
                  <a:sysClr val="window" lastClr="FFFFFF">
                    <a:lumMod val="50000"/>
                  </a:sysClr>
                </a:solidFill>
                <a:latin typeface="Calibri"/>
              </a:rPr>
              <a:t>Bāze: tie, kuru uzņēmumā ir bijusi attālinātā pārbaude, `n` skatīt grafikā</a:t>
            </a:r>
          </a:p>
        </p:txBody>
      </p:sp>
      <p:cxnSp>
        <p:nvCxnSpPr>
          <p:cNvPr id="16" name="Straight Arrow Connector 15"/>
          <p:cNvCxnSpPr/>
          <p:nvPr/>
        </p:nvCxnSpPr>
        <p:spPr>
          <a:xfrm flipV="1">
            <a:off x="5745172" y="4568211"/>
            <a:ext cx="0" cy="216024"/>
          </a:xfrm>
          <a:prstGeom prst="straightConnector1">
            <a:avLst/>
          </a:prstGeom>
          <a:ln w="19050">
            <a:solidFill>
              <a:srgbClr val="1B7F24"/>
            </a:solidFill>
            <a:headEnd type="none" w="med" len="med"/>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6916034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Chart 2"/>
          <p:cNvGraphicFramePr/>
          <p:nvPr>
            <p:extLst>
              <p:ext uri="{D42A27DB-BD31-4B8C-83A1-F6EECF244321}">
                <p14:modId xmlns:p14="http://schemas.microsoft.com/office/powerpoint/2010/main" val="1521995723"/>
              </p:ext>
            </p:extLst>
          </p:nvPr>
        </p:nvGraphicFramePr>
        <p:xfrm>
          <a:off x="1016578" y="1132609"/>
          <a:ext cx="11421341" cy="4840679"/>
        </p:xfrm>
        <a:graphic>
          <a:graphicData uri="http://schemas.openxmlformats.org/drawingml/2006/chart">
            <c:chart xmlns:c="http://schemas.openxmlformats.org/drawingml/2006/chart" xmlns:r="http://schemas.openxmlformats.org/officeDocument/2006/relationships" r:id="rId2"/>
          </a:graphicData>
        </a:graphic>
      </p:graphicFrame>
      <p:sp>
        <p:nvSpPr>
          <p:cNvPr id="2" name="Title 1"/>
          <p:cNvSpPr>
            <a:spLocks noGrp="1"/>
          </p:cNvSpPr>
          <p:nvPr>
            <p:ph type="title"/>
          </p:nvPr>
        </p:nvSpPr>
        <p:spPr/>
        <p:txBody>
          <a:bodyPr vert="horz" lIns="91440" tIns="45720" rIns="91440" bIns="45720" rtlCol="0" anchor="ctr">
            <a:normAutofit fontScale="90000"/>
          </a:bodyPr>
          <a:lstStyle/>
          <a:p>
            <a:r>
              <a:rPr lang="lv-LV" dirty="0"/>
              <a:t>Klientu tehniskās gatavības attālinātai pārbaudei pašvērtējums</a:t>
            </a:r>
          </a:p>
        </p:txBody>
      </p:sp>
      <p:sp>
        <p:nvSpPr>
          <p:cNvPr id="6" name="Text Placeholder 5"/>
          <p:cNvSpPr txBox="1">
            <a:spLocks/>
          </p:cNvSpPr>
          <p:nvPr/>
        </p:nvSpPr>
        <p:spPr>
          <a:xfrm>
            <a:off x="133350" y="5973288"/>
            <a:ext cx="11925299" cy="485209"/>
          </a:xfrm>
          <a:prstGeom prst="rect">
            <a:avLst/>
          </a:prstGeom>
        </p:spPr>
        <p:txBody>
          <a:bodyPr vert="horz" lIns="91440" tIns="45720" rIns="91440" bIns="45720" rtlCol="0" anchor="b" anchorCtr="0">
            <a:noAutofit/>
          </a:bodyPr>
          <a:lstStyle>
            <a:lvl1pPr marL="0" indent="0" algn="l" defTabSz="914400" rtl="0" eaLnBrk="1" latinLnBrk="0" hangingPunct="1">
              <a:lnSpc>
                <a:spcPct val="100000"/>
              </a:lnSpc>
              <a:spcBef>
                <a:spcPts val="0"/>
              </a:spcBef>
              <a:buSzPct val="50000"/>
              <a:buFont typeface="Wingdings" panose="05000000000000000000" pitchFamily="2" charset="2"/>
              <a:buNone/>
              <a:defRPr sz="1200" i="0" kern="1200" baseline="0">
                <a:solidFill>
                  <a:schemeClr val="bg1">
                    <a:lumMod val="50000"/>
                  </a:schemeClr>
                </a:solidFill>
                <a:latin typeface="+mj-lt"/>
                <a:ea typeface="+mn-ea"/>
                <a:cs typeface="+mn-cs"/>
              </a:defRPr>
            </a:lvl1pPr>
            <a:lvl2pPr marL="685800" indent="-228600" algn="l" defTabSz="914400" rtl="0" eaLnBrk="1" latinLnBrk="0" hangingPunct="1">
              <a:lnSpc>
                <a:spcPct val="90000"/>
              </a:lnSpc>
              <a:spcBef>
                <a:spcPts val="500"/>
              </a:spcBef>
              <a:buSzPct val="50000"/>
              <a:buFont typeface="Wingdings" panose="05000000000000000000" pitchFamily="2" charset="2"/>
              <a:buChar char="§"/>
              <a:defRPr sz="1200" kern="1200">
                <a:solidFill>
                  <a:schemeClr val="bg1">
                    <a:lumMod val="50000"/>
                  </a:schemeClr>
                </a:solidFill>
                <a:latin typeface="+mj-lt"/>
                <a:ea typeface="+mn-ea"/>
                <a:cs typeface="+mn-cs"/>
              </a:defRPr>
            </a:lvl2pPr>
            <a:lvl3pPr marL="1143000" indent="-228600" algn="l" defTabSz="914400" rtl="0" eaLnBrk="1" latinLnBrk="0" hangingPunct="1">
              <a:lnSpc>
                <a:spcPct val="90000"/>
              </a:lnSpc>
              <a:spcBef>
                <a:spcPts val="500"/>
              </a:spcBef>
              <a:buSzPct val="50000"/>
              <a:buFont typeface="Wingdings" panose="05000000000000000000" pitchFamily="2" charset="2"/>
              <a:buChar char="§"/>
              <a:defRPr sz="1200" kern="1200">
                <a:solidFill>
                  <a:schemeClr val="bg1">
                    <a:lumMod val="50000"/>
                  </a:schemeClr>
                </a:solidFill>
                <a:latin typeface="+mj-lt"/>
                <a:ea typeface="+mn-ea"/>
                <a:cs typeface="+mn-cs"/>
              </a:defRPr>
            </a:lvl3pPr>
            <a:lvl4pPr marL="1600200" indent="-228600" algn="l" defTabSz="914400" rtl="0" eaLnBrk="1" latinLnBrk="0" hangingPunct="1">
              <a:lnSpc>
                <a:spcPct val="90000"/>
              </a:lnSpc>
              <a:spcBef>
                <a:spcPts val="500"/>
              </a:spcBef>
              <a:buSzPct val="50000"/>
              <a:buFont typeface="Wingdings" panose="05000000000000000000" pitchFamily="2" charset="2"/>
              <a:buChar char="§"/>
              <a:defRPr sz="1200" kern="1200">
                <a:solidFill>
                  <a:schemeClr val="bg1">
                    <a:lumMod val="50000"/>
                  </a:schemeClr>
                </a:solidFill>
                <a:latin typeface="+mj-lt"/>
                <a:ea typeface="+mn-ea"/>
                <a:cs typeface="+mn-cs"/>
              </a:defRPr>
            </a:lvl4pPr>
            <a:lvl5pPr marL="2057400" indent="-228600" algn="l" defTabSz="914400" rtl="0" eaLnBrk="1" latinLnBrk="0" hangingPunct="1">
              <a:lnSpc>
                <a:spcPct val="90000"/>
              </a:lnSpc>
              <a:spcBef>
                <a:spcPts val="500"/>
              </a:spcBef>
              <a:buSzPct val="50000"/>
              <a:buFont typeface="Wingdings" panose="05000000000000000000" pitchFamily="2" charset="2"/>
              <a:buChar char="§"/>
              <a:defRPr sz="1200" kern="1200">
                <a:solidFill>
                  <a:schemeClr val="bg1">
                    <a:lumMod val="50000"/>
                  </a:schemeClr>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r>
              <a:rPr lang="lv-LV" sz="1000" dirty="0">
                <a:solidFill>
                  <a:sysClr val="window" lastClr="FFFFFF">
                    <a:lumMod val="50000"/>
                  </a:sysClr>
                </a:solidFill>
                <a:latin typeface="Calibri"/>
              </a:rPr>
              <a:t>Q0</a:t>
            </a:r>
            <a:r>
              <a:rPr lang="en-US" sz="1000" dirty="0">
                <a:solidFill>
                  <a:sysClr val="window" lastClr="FFFFFF">
                    <a:lumMod val="50000"/>
                  </a:sysClr>
                </a:solidFill>
                <a:latin typeface="Calibri"/>
              </a:rPr>
              <a:t>3</a:t>
            </a:r>
            <a:r>
              <a:rPr lang="lv-LV" sz="1000" dirty="0">
                <a:solidFill>
                  <a:sysClr val="window" lastClr="FFFFFF">
                    <a:lumMod val="50000"/>
                  </a:sysClr>
                </a:solidFill>
                <a:latin typeface="Calibri"/>
              </a:rPr>
              <a:t>. Jūs atzīmējāt, ka pārbaude notika attālināti vai daļēji attālināti. Lūdzu, novērtējiet attālināto pārbaužu īstenošanu. Par katru apgalvojumu atzīmējiet, cik lielā mērā tam piekrītat vai nepiekrītat.</a:t>
            </a:r>
            <a:endParaRPr lang="en-US" sz="1000" dirty="0">
              <a:solidFill>
                <a:sysClr val="window" lastClr="FFFFFF">
                  <a:lumMod val="50000"/>
                </a:sysClr>
              </a:solidFill>
              <a:latin typeface="Calibri"/>
            </a:endParaRPr>
          </a:p>
          <a:p>
            <a:pPr lvl="0"/>
            <a:r>
              <a:rPr lang="lv-LV" sz="1000" dirty="0">
                <a:solidFill>
                  <a:sysClr val="window" lastClr="FFFFFF">
                    <a:lumMod val="50000"/>
                  </a:sysClr>
                </a:solidFill>
                <a:latin typeface="Calibri"/>
              </a:rPr>
              <a:t>Bāze: tie, kuru uzņēmumā ir bijusi attālinātā pārbaude, `n` skatīt grafikā</a:t>
            </a:r>
          </a:p>
        </p:txBody>
      </p:sp>
    </p:spTree>
    <p:extLst>
      <p:ext uri="{BB962C8B-B14F-4D97-AF65-F5344CB8AC3E}">
        <p14:creationId xmlns:p14="http://schemas.microsoft.com/office/powerpoint/2010/main" val="40974583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ctr">
            <a:normAutofit fontScale="90000"/>
          </a:bodyPr>
          <a:lstStyle/>
          <a:p>
            <a:r>
              <a:rPr lang="lv-LV" dirty="0"/>
              <a:t>Attālināto pārbaužu operatīiitātes un efektivitātes novērtējums</a:t>
            </a:r>
          </a:p>
        </p:txBody>
      </p:sp>
      <p:graphicFrame>
        <p:nvGraphicFramePr>
          <p:cNvPr id="3" name="Chart 2"/>
          <p:cNvGraphicFramePr/>
          <p:nvPr>
            <p:extLst>
              <p:ext uri="{D42A27DB-BD31-4B8C-83A1-F6EECF244321}">
                <p14:modId xmlns:p14="http://schemas.microsoft.com/office/powerpoint/2010/main" val="2101183409"/>
              </p:ext>
            </p:extLst>
          </p:nvPr>
        </p:nvGraphicFramePr>
        <p:xfrm>
          <a:off x="-116031" y="1319645"/>
          <a:ext cx="11358995" cy="4456215"/>
        </p:xfrm>
        <a:graphic>
          <a:graphicData uri="http://schemas.openxmlformats.org/drawingml/2006/chart">
            <c:chart xmlns:c="http://schemas.openxmlformats.org/drawingml/2006/chart" xmlns:r="http://schemas.openxmlformats.org/officeDocument/2006/relationships" r:id="rId2"/>
          </a:graphicData>
        </a:graphic>
      </p:graphicFrame>
      <p:sp>
        <p:nvSpPr>
          <p:cNvPr id="6" name="Text Placeholder 5"/>
          <p:cNvSpPr txBox="1">
            <a:spLocks/>
          </p:cNvSpPr>
          <p:nvPr/>
        </p:nvSpPr>
        <p:spPr>
          <a:xfrm>
            <a:off x="133350" y="5973288"/>
            <a:ext cx="11925299" cy="485209"/>
          </a:xfrm>
          <a:prstGeom prst="rect">
            <a:avLst/>
          </a:prstGeom>
        </p:spPr>
        <p:txBody>
          <a:bodyPr vert="horz" lIns="91440" tIns="45720" rIns="91440" bIns="45720" rtlCol="0" anchor="b" anchorCtr="0">
            <a:noAutofit/>
          </a:bodyPr>
          <a:lstStyle>
            <a:lvl1pPr marL="0" indent="0" algn="l" defTabSz="914400" rtl="0" eaLnBrk="1" latinLnBrk="0" hangingPunct="1">
              <a:lnSpc>
                <a:spcPct val="100000"/>
              </a:lnSpc>
              <a:spcBef>
                <a:spcPts val="0"/>
              </a:spcBef>
              <a:buSzPct val="50000"/>
              <a:buFont typeface="Wingdings" panose="05000000000000000000" pitchFamily="2" charset="2"/>
              <a:buNone/>
              <a:defRPr sz="1200" i="0" kern="1200" baseline="0">
                <a:solidFill>
                  <a:schemeClr val="bg1">
                    <a:lumMod val="50000"/>
                  </a:schemeClr>
                </a:solidFill>
                <a:latin typeface="+mj-lt"/>
                <a:ea typeface="+mn-ea"/>
                <a:cs typeface="+mn-cs"/>
              </a:defRPr>
            </a:lvl1pPr>
            <a:lvl2pPr marL="685800" indent="-228600" algn="l" defTabSz="914400" rtl="0" eaLnBrk="1" latinLnBrk="0" hangingPunct="1">
              <a:lnSpc>
                <a:spcPct val="90000"/>
              </a:lnSpc>
              <a:spcBef>
                <a:spcPts val="500"/>
              </a:spcBef>
              <a:buSzPct val="50000"/>
              <a:buFont typeface="Wingdings" panose="05000000000000000000" pitchFamily="2" charset="2"/>
              <a:buChar char="§"/>
              <a:defRPr sz="1200" kern="1200">
                <a:solidFill>
                  <a:schemeClr val="bg1">
                    <a:lumMod val="50000"/>
                  </a:schemeClr>
                </a:solidFill>
                <a:latin typeface="+mj-lt"/>
                <a:ea typeface="+mn-ea"/>
                <a:cs typeface="+mn-cs"/>
              </a:defRPr>
            </a:lvl2pPr>
            <a:lvl3pPr marL="1143000" indent="-228600" algn="l" defTabSz="914400" rtl="0" eaLnBrk="1" latinLnBrk="0" hangingPunct="1">
              <a:lnSpc>
                <a:spcPct val="90000"/>
              </a:lnSpc>
              <a:spcBef>
                <a:spcPts val="500"/>
              </a:spcBef>
              <a:buSzPct val="50000"/>
              <a:buFont typeface="Wingdings" panose="05000000000000000000" pitchFamily="2" charset="2"/>
              <a:buChar char="§"/>
              <a:defRPr sz="1200" kern="1200">
                <a:solidFill>
                  <a:schemeClr val="bg1">
                    <a:lumMod val="50000"/>
                  </a:schemeClr>
                </a:solidFill>
                <a:latin typeface="+mj-lt"/>
                <a:ea typeface="+mn-ea"/>
                <a:cs typeface="+mn-cs"/>
              </a:defRPr>
            </a:lvl3pPr>
            <a:lvl4pPr marL="1600200" indent="-228600" algn="l" defTabSz="914400" rtl="0" eaLnBrk="1" latinLnBrk="0" hangingPunct="1">
              <a:lnSpc>
                <a:spcPct val="90000"/>
              </a:lnSpc>
              <a:spcBef>
                <a:spcPts val="500"/>
              </a:spcBef>
              <a:buSzPct val="50000"/>
              <a:buFont typeface="Wingdings" panose="05000000000000000000" pitchFamily="2" charset="2"/>
              <a:buChar char="§"/>
              <a:defRPr sz="1200" kern="1200">
                <a:solidFill>
                  <a:schemeClr val="bg1">
                    <a:lumMod val="50000"/>
                  </a:schemeClr>
                </a:solidFill>
                <a:latin typeface="+mj-lt"/>
                <a:ea typeface="+mn-ea"/>
                <a:cs typeface="+mn-cs"/>
              </a:defRPr>
            </a:lvl4pPr>
            <a:lvl5pPr marL="2057400" indent="-228600" algn="l" defTabSz="914400" rtl="0" eaLnBrk="1" latinLnBrk="0" hangingPunct="1">
              <a:lnSpc>
                <a:spcPct val="90000"/>
              </a:lnSpc>
              <a:spcBef>
                <a:spcPts val="500"/>
              </a:spcBef>
              <a:buSzPct val="50000"/>
              <a:buFont typeface="Wingdings" panose="05000000000000000000" pitchFamily="2" charset="2"/>
              <a:buChar char="§"/>
              <a:defRPr sz="1200" kern="1200">
                <a:solidFill>
                  <a:schemeClr val="bg1">
                    <a:lumMod val="50000"/>
                  </a:schemeClr>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r>
              <a:rPr lang="lv-LV" sz="1000" dirty="0">
                <a:solidFill>
                  <a:sysClr val="window" lastClr="FFFFFF">
                    <a:lumMod val="50000"/>
                  </a:sysClr>
                </a:solidFill>
                <a:latin typeface="Calibri"/>
              </a:rPr>
              <a:t>Q0</a:t>
            </a:r>
            <a:r>
              <a:rPr lang="en-US" sz="1000" dirty="0">
                <a:solidFill>
                  <a:sysClr val="window" lastClr="FFFFFF">
                    <a:lumMod val="50000"/>
                  </a:sysClr>
                </a:solidFill>
                <a:latin typeface="Calibri"/>
              </a:rPr>
              <a:t>3</a:t>
            </a:r>
            <a:r>
              <a:rPr lang="lv-LV" sz="1000" dirty="0">
                <a:solidFill>
                  <a:sysClr val="window" lastClr="FFFFFF">
                    <a:lumMod val="50000"/>
                  </a:sysClr>
                </a:solidFill>
                <a:latin typeface="Calibri"/>
              </a:rPr>
              <a:t>. Jūs atzīmējāt, ka pārbaude notika attālināti vai daļēji attālināti. Lūdzu, novērtējiet attālināto pārbaužu īstenošanu. Par katru apgalvojumu atzīmējiet, cik lielā mērā tam piekrītat vai nepiekrītat.</a:t>
            </a:r>
            <a:endParaRPr lang="en-US" sz="1000" dirty="0">
              <a:solidFill>
                <a:sysClr val="window" lastClr="FFFFFF">
                  <a:lumMod val="50000"/>
                </a:sysClr>
              </a:solidFill>
              <a:latin typeface="Calibri"/>
            </a:endParaRPr>
          </a:p>
          <a:p>
            <a:pPr lvl="0"/>
            <a:r>
              <a:rPr lang="lv-LV" sz="1000" dirty="0">
                <a:solidFill>
                  <a:sysClr val="window" lastClr="FFFFFF">
                    <a:lumMod val="50000"/>
                  </a:sysClr>
                </a:solidFill>
                <a:latin typeface="Calibri"/>
              </a:rPr>
              <a:t>Bāze: tie, kuru uzņēmumā ir bijusi attālinātā pārbaude, `n` skatīt grafikā</a:t>
            </a:r>
          </a:p>
        </p:txBody>
      </p:sp>
      <p:cxnSp>
        <p:nvCxnSpPr>
          <p:cNvPr id="5" name="Straight Arrow Connector 4"/>
          <p:cNvCxnSpPr/>
          <p:nvPr/>
        </p:nvCxnSpPr>
        <p:spPr>
          <a:xfrm flipV="1">
            <a:off x="5517617" y="4753107"/>
            <a:ext cx="0" cy="216024"/>
          </a:xfrm>
          <a:prstGeom prst="straightConnector1">
            <a:avLst/>
          </a:prstGeom>
          <a:ln w="19050">
            <a:solidFill>
              <a:srgbClr val="1B7F24"/>
            </a:solidFill>
            <a:headEnd type="none" w="med" len="med"/>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6566261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lv-LV" dirty="0"/>
              <a:t>Informēšanas par pārbaudi savlaicīguma novērtējums</a:t>
            </a:r>
          </a:p>
        </p:txBody>
      </p:sp>
      <p:sp>
        <p:nvSpPr>
          <p:cNvPr id="4" name="Text Placeholder 3"/>
          <p:cNvSpPr>
            <a:spLocks noGrp="1"/>
          </p:cNvSpPr>
          <p:nvPr>
            <p:ph type="body" idx="1"/>
          </p:nvPr>
        </p:nvSpPr>
        <p:spPr/>
        <p:txBody>
          <a:bodyPr/>
          <a:lstStyle/>
          <a:p>
            <a:endParaRPr lang="lv-LV"/>
          </a:p>
        </p:txBody>
      </p:sp>
    </p:spTree>
    <p:extLst>
      <p:ext uri="{BB962C8B-B14F-4D97-AF65-F5344CB8AC3E}">
        <p14:creationId xmlns:p14="http://schemas.microsoft.com/office/powerpoint/2010/main" val="406483612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lv-LV" dirty="0"/>
              <a:t>Informēšanas par pārbaudi savlaicīguma novērtējums</a:t>
            </a:r>
          </a:p>
        </p:txBody>
      </p:sp>
      <p:sp>
        <p:nvSpPr>
          <p:cNvPr id="36" name="Text Placeholder 5"/>
          <p:cNvSpPr txBox="1">
            <a:spLocks/>
          </p:cNvSpPr>
          <p:nvPr/>
        </p:nvSpPr>
        <p:spPr>
          <a:xfrm>
            <a:off x="150283" y="5916037"/>
            <a:ext cx="11925299" cy="485209"/>
          </a:xfrm>
          <a:prstGeom prst="rect">
            <a:avLst/>
          </a:prstGeom>
        </p:spPr>
        <p:txBody>
          <a:bodyPr vert="horz" lIns="91440" tIns="45720" rIns="91440" bIns="45720" rtlCol="0" anchor="b" anchorCtr="0">
            <a:noAutofit/>
          </a:bodyPr>
          <a:lstStyle>
            <a:lvl1pPr marL="0" indent="0" algn="l" defTabSz="914400" rtl="0" eaLnBrk="1" latinLnBrk="0" hangingPunct="1">
              <a:lnSpc>
                <a:spcPct val="100000"/>
              </a:lnSpc>
              <a:spcBef>
                <a:spcPts val="0"/>
              </a:spcBef>
              <a:buSzPct val="50000"/>
              <a:buFont typeface="Wingdings" panose="05000000000000000000" pitchFamily="2" charset="2"/>
              <a:buNone/>
              <a:defRPr sz="1200" i="0" kern="1200" baseline="0">
                <a:solidFill>
                  <a:schemeClr val="bg1">
                    <a:lumMod val="50000"/>
                  </a:schemeClr>
                </a:solidFill>
                <a:latin typeface="+mj-lt"/>
                <a:ea typeface="+mn-ea"/>
                <a:cs typeface="+mn-cs"/>
              </a:defRPr>
            </a:lvl1pPr>
            <a:lvl2pPr marL="685800" indent="-228600" algn="l" defTabSz="914400" rtl="0" eaLnBrk="1" latinLnBrk="0" hangingPunct="1">
              <a:lnSpc>
                <a:spcPct val="90000"/>
              </a:lnSpc>
              <a:spcBef>
                <a:spcPts val="500"/>
              </a:spcBef>
              <a:buSzPct val="50000"/>
              <a:buFont typeface="Wingdings" panose="05000000000000000000" pitchFamily="2" charset="2"/>
              <a:buChar char="§"/>
              <a:defRPr sz="1200" kern="1200">
                <a:solidFill>
                  <a:schemeClr val="bg1">
                    <a:lumMod val="50000"/>
                  </a:schemeClr>
                </a:solidFill>
                <a:latin typeface="+mj-lt"/>
                <a:ea typeface="+mn-ea"/>
                <a:cs typeface="+mn-cs"/>
              </a:defRPr>
            </a:lvl2pPr>
            <a:lvl3pPr marL="1143000" indent="-228600" algn="l" defTabSz="914400" rtl="0" eaLnBrk="1" latinLnBrk="0" hangingPunct="1">
              <a:lnSpc>
                <a:spcPct val="90000"/>
              </a:lnSpc>
              <a:spcBef>
                <a:spcPts val="500"/>
              </a:spcBef>
              <a:buSzPct val="50000"/>
              <a:buFont typeface="Wingdings" panose="05000000000000000000" pitchFamily="2" charset="2"/>
              <a:buChar char="§"/>
              <a:defRPr sz="1200" kern="1200">
                <a:solidFill>
                  <a:schemeClr val="bg1">
                    <a:lumMod val="50000"/>
                  </a:schemeClr>
                </a:solidFill>
                <a:latin typeface="+mj-lt"/>
                <a:ea typeface="+mn-ea"/>
                <a:cs typeface="+mn-cs"/>
              </a:defRPr>
            </a:lvl3pPr>
            <a:lvl4pPr marL="1600200" indent="-228600" algn="l" defTabSz="914400" rtl="0" eaLnBrk="1" latinLnBrk="0" hangingPunct="1">
              <a:lnSpc>
                <a:spcPct val="90000"/>
              </a:lnSpc>
              <a:spcBef>
                <a:spcPts val="500"/>
              </a:spcBef>
              <a:buSzPct val="50000"/>
              <a:buFont typeface="Wingdings" panose="05000000000000000000" pitchFamily="2" charset="2"/>
              <a:buChar char="§"/>
              <a:defRPr sz="1200" kern="1200">
                <a:solidFill>
                  <a:schemeClr val="bg1">
                    <a:lumMod val="50000"/>
                  </a:schemeClr>
                </a:solidFill>
                <a:latin typeface="+mj-lt"/>
                <a:ea typeface="+mn-ea"/>
                <a:cs typeface="+mn-cs"/>
              </a:defRPr>
            </a:lvl4pPr>
            <a:lvl5pPr marL="2057400" indent="-228600" algn="l" defTabSz="914400" rtl="0" eaLnBrk="1" latinLnBrk="0" hangingPunct="1">
              <a:lnSpc>
                <a:spcPct val="90000"/>
              </a:lnSpc>
              <a:spcBef>
                <a:spcPts val="500"/>
              </a:spcBef>
              <a:buSzPct val="50000"/>
              <a:buFont typeface="Wingdings" panose="05000000000000000000" pitchFamily="2" charset="2"/>
              <a:buChar char="§"/>
              <a:defRPr sz="1200" kern="1200">
                <a:solidFill>
                  <a:schemeClr val="bg1">
                    <a:lumMod val="50000"/>
                  </a:schemeClr>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r>
              <a:rPr lang="lv-LV" sz="1000" dirty="0">
                <a:solidFill>
                  <a:sysClr val="window" lastClr="FFFFFF">
                    <a:lumMod val="50000"/>
                  </a:sysClr>
                </a:solidFill>
                <a:latin typeface="Calibri"/>
              </a:rPr>
              <a:t>Q5. Vai Jūs par pārbaudi uzzinājāt pietiekami laicīgi, lai varētu tai sagatavoties? </a:t>
            </a:r>
          </a:p>
          <a:p>
            <a:pPr lvl="0"/>
            <a:r>
              <a:rPr kumimoji="0" lang="lv-LV" sz="1000" b="0" i="0" u="none" strike="noStrike" kern="1200" cap="none" spc="0" normalizeH="0" baseline="0" noProof="0" dirty="0">
                <a:ln>
                  <a:noFill/>
                </a:ln>
                <a:solidFill>
                  <a:sysClr val="window" lastClr="FFFFFF">
                    <a:lumMod val="50000"/>
                  </a:sysClr>
                </a:solidFill>
                <a:effectLst/>
                <a:uLnTx/>
                <a:uFillTx/>
                <a:latin typeface="Calibri"/>
                <a:ea typeface="+mn-ea"/>
                <a:cs typeface="+mn-cs"/>
              </a:rPr>
              <a:t>Bāze: </a:t>
            </a:r>
            <a:r>
              <a:rPr lang="lv-LV" sz="1000" dirty="0">
                <a:solidFill>
                  <a:sysClr val="window" lastClr="FFFFFF">
                    <a:lumMod val="50000"/>
                  </a:sysClr>
                </a:solidFill>
                <a:latin typeface="Calibri"/>
              </a:rPr>
              <a:t>visi respondenti</a:t>
            </a:r>
            <a:r>
              <a:rPr lang="en-US" sz="1000" dirty="0">
                <a:solidFill>
                  <a:sysClr val="window" lastClr="FFFFFF">
                    <a:lumMod val="50000"/>
                  </a:sysClr>
                </a:solidFill>
                <a:latin typeface="Calibri"/>
              </a:rPr>
              <a:t>, `n` </a:t>
            </a:r>
            <a:r>
              <a:rPr lang="en-US" sz="1000" dirty="0" err="1">
                <a:solidFill>
                  <a:sysClr val="window" lastClr="FFFFFF">
                    <a:lumMod val="50000"/>
                  </a:sysClr>
                </a:solidFill>
                <a:latin typeface="Calibri"/>
              </a:rPr>
              <a:t>skat</a:t>
            </a:r>
            <a:r>
              <a:rPr lang="lv-LV" sz="1000" dirty="0" err="1">
                <a:solidFill>
                  <a:sysClr val="window" lastClr="FFFFFF">
                    <a:lumMod val="50000"/>
                  </a:sysClr>
                </a:solidFill>
                <a:latin typeface="Calibri"/>
              </a:rPr>
              <a:t>īt</a:t>
            </a:r>
            <a:r>
              <a:rPr lang="lv-LV" sz="1000" dirty="0">
                <a:solidFill>
                  <a:sysClr val="window" lastClr="FFFFFF">
                    <a:lumMod val="50000"/>
                  </a:sysClr>
                </a:solidFill>
                <a:latin typeface="Calibri"/>
              </a:rPr>
              <a:t> grafikā</a:t>
            </a:r>
          </a:p>
        </p:txBody>
      </p:sp>
      <p:graphicFrame>
        <p:nvGraphicFramePr>
          <p:cNvPr id="5" name="Chart 4"/>
          <p:cNvGraphicFramePr/>
          <p:nvPr>
            <p:extLst>
              <p:ext uri="{D42A27DB-BD31-4B8C-83A1-F6EECF244321}">
                <p14:modId xmlns:p14="http://schemas.microsoft.com/office/powerpoint/2010/main" val="976336136"/>
              </p:ext>
            </p:extLst>
          </p:nvPr>
        </p:nvGraphicFramePr>
        <p:xfrm>
          <a:off x="337352" y="1381281"/>
          <a:ext cx="10304935" cy="4392575"/>
        </p:xfrm>
        <a:graphic>
          <a:graphicData uri="http://schemas.openxmlformats.org/drawingml/2006/chart">
            <c:chart xmlns:c="http://schemas.openxmlformats.org/drawingml/2006/chart" xmlns:r="http://schemas.openxmlformats.org/officeDocument/2006/relationships" r:id="rId2"/>
          </a:graphicData>
        </a:graphic>
      </p:graphicFrame>
      <p:cxnSp>
        <p:nvCxnSpPr>
          <p:cNvPr id="12" name="Straight Arrow Connector 11"/>
          <p:cNvCxnSpPr/>
          <p:nvPr/>
        </p:nvCxnSpPr>
        <p:spPr>
          <a:xfrm rot="10800000" flipV="1">
            <a:off x="8341664" y="5222332"/>
            <a:ext cx="0" cy="216024"/>
          </a:xfrm>
          <a:prstGeom prst="straightConnector1">
            <a:avLst/>
          </a:prstGeom>
          <a:ln w="19050">
            <a:solidFill>
              <a:srgbClr val="B2371A"/>
            </a:solidFill>
            <a:headEnd type="none" w="med" len="med"/>
            <a:tailEnd type="arrow"/>
          </a:ln>
        </p:spPr>
        <p:style>
          <a:lnRef idx="1">
            <a:schemeClr val="accent1"/>
          </a:lnRef>
          <a:fillRef idx="0">
            <a:schemeClr val="accent1"/>
          </a:fillRef>
          <a:effectRef idx="0">
            <a:schemeClr val="accent1"/>
          </a:effectRef>
          <a:fontRef idx="minor">
            <a:schemeClr val="tx1"/>
          </a:fontRef>
        </p:style>
      </p:cxnSp>
      <p:cxnSp>
        <p:nvCxnSpPr>
          <p:cNvPr id="13" name="Straight Arrow Connector 12"/>
          <p:cNvCxnSpPr/>
          <p:nvPr/>
        </p:nvCxnSpPr>
        <p:spPr>
          <a:xfrm flipV="1">
            <a:off x="8341663" y="3250568"/>
            <a:ext cx="0" cy="216024"/>
          </a:xfrm>
          <a:prstGeom prst="straightConnector1">
            <a:avLst/>
          </a:prstGeom>
          <a:ln w="19050">
            <a:solidFill>
              <a:srgbClr val="1B7F24"/>
            </a:solidFill>
            <a:headEnd type="none" w="med" len="med"/>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7024889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Chart 9"/>
          <p:cNvGraphicFramePr/>
          <p:nvPr>
            <p:extLst>
              <p:ext uri="{D42A27DB-BD31-4B8C-83A1-F6EECF244321}">
                <p14:modId xmlns:p14="http://schemas.microsoft.com/office/powerpoint/2010/main" val="2009079407"/>
              </p:ext>
            </p:extLst>
          </p:nvPr>
        </p:nvGraphicFramePr>
        <p:xfrm>
          <a:off x="716982" y="1313942"/>
          <a:ext cx="10395087" cy="4729092"/>
        </p:xfrm>
        <a:graphic>
          <a:graphicData uri="http://schemas.openxmlformats.org/drawingml/2006/chart">
            <c:chart xmlns:c="http://schemas.openxmlformats.org/drawingml/2006/chart" xmlns:r="http://schemas.openxmlformats.org/officeDocument/2006/relationships" r:id="rId2"/>
          </a:graphicData>
        </a:graphic>
      </p:graphicFrame>
      <p:sp>
        <p:nvSpPr>
          <p:cNvPr id="2" name="Title 1"/>
          <p:cNvSpPr>
            <a:spLocks noGrp="1"/>
          </p:cNvSpPr>
          <p:nvPr>
            <p:ph type="title"/>
          </p:nvPr>
        </p:nvSpPr>
        <p:spPr/>
        <p:txBody>
          <a:bodyPr/>
          <a:lstStyle/>
          <a:p>
            <a:r>
              <a:rPr lang="lv-LV" dirty="0"/>
              <a:t>Informēšanas par pārbaudi savlaicīguma novērtējums</a:t>
            </a:r>
          </a:p>
        </p:txBody>
      </p:sp>
      <p:sp>
        <p:nvSpPr>
          <p:cNvPr id="36" name="Text Placeholder 5"/>
          <p:cNvSpPr txBox="1">
            <a:spLocks/>
          </p:cNvSpPr>
          <p:nvPr/>
        </p:nvSpPr>
        <p:spPr>
          <a:xfrm>
            <a:off x="133350" y="5950985"/>
            <a:ext cx="11925299" cy="485209"/>
          </a:xfrm>
          <a:prstGeom prst="rect">
            <a:avLst/>
          </a:prstGeom>
        </p:spPr>
        <p:txBody>
          <a:bodyPr vert="horz" lIns="91440" tIns="45720" rIns="91440" bIns="45720" rtlCol="0" anchor="b" anchorCtr="0">
            <a:noAutofit/>
          </a:bodyPr>
          <a:lstStyle>
            <a:lvl1pPr marL="0" indent="0" algn="l" defTabSz="914400" rtl="0" eaLnBrk="1" latinLnBrk="0" hangingPunct="1">
              <a:lnSpc>
                <a:spcPct val="100000"/>
              </a:lnSpc>
              <a:spcBef>
                <a:spcPts val="0"/>
              </a:spcBef>
              <a:buSzPct val="50000"/>
              <a:buFont typeface="Wingdings" panose="05000000000000000000" pitchFamily="2" charset="2"/>
              <a:buNone/>
              <a:defRPr sz="1200" i="0" kern="1200" baseline="0">
                <a:solidFill>
                  <a:schemeClr val="bg1">
                    <a:lumMod val="50000"/>
                  </a:schemeClr>
                </a:solidFill>
                <a:latin typeface="+mj-lt"/>
                <a:ea typeface="+mn-ea"/>
                <a:cs typeface="+mn-cs"/>
              </a:defRPr>
            </a:lvl1pPr>
            <a:lvl2pPr marL="685800" indent="-228600" algn="l" defTabSz="914400" rtl="0" eaLnBrk="1" latinLnBrk="0" hangingPunct="1">
              <a:lnSpc>
                <a:spcPct val="90000"/>
              </a:lnSpc>
              <a:spcBef>
                <a:spcPts val="500"/>
              </a:spcBef>
              <a:buSzPct val="50000"/>
              <a:buFont typeface="Wingdings" panose="05000000000000000000" pitchFamily="2" charset="2"/>
              <a:buChar char="§"/>
              <a:defRPr sz="1200" kern="1200">
                <a:solidFill>
                  <a:schemeClr val="bg1">
                    <a:lumMod val="50000"/>
                  </a:schemeClr>
                </a:solidFill>
                <a:latin typeface="+mj-lt"/>
                <a:ea typeface="+mn-ea"/>
                <a:cs typeface="+mn-cs"/>
              </a:defRPr>
            </a:lvl2pPr>
            <a:lvl3pPr marL="1143000" indent="-228600" algn="l" defTabSz="914400" rtl="0" eaLnBrk="1" latinLnBrk="0" hangingPunct="1">
              <a:lnSpc>
                <a:spcPct val="90000"/>
              </a:lnSpc>
              <a:spcBef>
                <a:spcPts val="500"/>
              </a:spcBef>
              <a:buSzPct val="50000"/>
              <a:buFont typeface="Wingdings" panose="05000000000000000000" pitchFamily="2" charset="2"/>
              <a:buChar char="§"/>
              <a:defRPr sz="1200" kern="1200">
                <a:solidFill>
                  <a:schemeClr val="bg1">
                    <a:lumMod val="50000"/>
                  </a:schemeClr>
                </a:solidFill>
                <a:latin typeface="+mj-lt"/>
                <a:ea typeface="+mn-ea"/>
                <a:cs typeface="+mn-cs"/>
              </a:defRPr>
            </a:lvl3pPr>
            <a:lvl4pPr marL="1600200" indent="-228600" algn="l" defTabSz="914400" rtl="0" eaLnBrk="1" latinLnBrk="0" hangingPunct="1">
              <a:lnSpc>
                <a:spcPct val="90000"/>
              </a:lnSpc>
              <a:spcBef>
                <a:spcPts val="500"/>
              </a:spcBef>
              <a:buSzPct val="50000"/>
              <a:buFont typeface="Wingdings" panose="05000000000000000000" pitchFamily="2" charset="2"/>
              <a:buChar char="§"/>
              <a:defRPr sz="1200" kern="1200">
                <a:solidFill>
                  <a:schemeClr val="bg1">
                    <a:lumMod val="50000"/>
                  </a:schemeClr>
                </a:solidFill>
                <a:latin typeface="+mj-lt"/>
                <a:ea typeface="+mn-ea"/>
                <a:cs typeface="+mn-cs"/>
              </a:defRPr>
            </a:lvl4pPr>
            <a:lvl5pPr marL="2057400" indent="-228600" algn="l" defTabSz="914400" rtl="0" eaLnBrk="1" latinLnBrk="0" hangingPunct="1">
              <a:lnSpc>
                <a:spcPct val="90000"/>
              </a:lnSpc>
              <a:spcBef>
                <a:spcPts val="500"/>
              </a:spcBef>
              <a:buSzPct val="50000"/>
              <a:buFont typeface="Wingdings" panose="05000000000000000000" pitchFamily="2" charset="2"/>
              <a:buChar char="§"/>
              <a:defRPr sz="1200" kern="1200">
                <a:solidFill>
                  <a:schemeClr val="bg1">
                    <a:lumMod val="50000"/>
                  </a:schemeClr>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r>
              <a:rPr lang="lv-LV" sz="1000" dirty="0">
                <a:solidFill>
                  <a:sysClr val="window" lastClr="FFFFFF">
                    <a:lumMod val="50000"/>
                  </a:sysClr>
                </a:solidFill>
                <a:latin typeface="Calibri"/>
              </a:rPr>
              <a:t>Q5. Vai Jūs par pārbaudi uzzinājāt pietiekami laicīgi, lai varētu tai sagatavoties? </a:t>
            </a:r>
          </a:p>
          <a:p>
            <a:pPr lvl="0"/>
            <a:r>
              <a:rPr kumimoji="0" lang="lv-LV" sz="1000" b="0" i="0" u="none" strike="noStrike" kern="1200" cap="none" spc="0" normalizeH="0" baseline="0" noProof="0" dirty="0">
                <a:ln>
                  <a:noFill/>
                </a:ln>
                <a:solidFill>
                  <a:sysClr val="window" lastClr="FFFFFF">
                    <a:lumMod val="50000"/>
                  </a:sysClr>
                </a:solidFill>
                <a:effectLst/>
                <a:uLnTx/>
                <a:uFillTx/>
                <a:latin typeface="Calibri"/>
                <a:ea typeface="+mn-ea"/>
                <a:cs typeface="+mn-cs"/>
              </a:rPr>
              <a:t>Bāze: </a:t>
            </a:r>
            <a:r>
              <a:rPr lang="lv-LV" sz="1000" dirty="0">
                <a:solidFill>
                  <a:sysClr val="window" lastClr="FFFFFF">
                    <a:lumMod val="50000"/>
                  </a:sysClr>
                </a:solidFill>
                <a:latin typeface="Calibri"/>
              </a:rPr>
              <a:t>visi respondenti</a:t>
            </a:r>
            <a:r>
              <a:rPr lang="en-US" sz="1000" dirty="0">
                <a:solidFill>
                  <a:sysClr val="window" lastClr="FFFFFF">
                    <a:lumMod val="50000"/>
                  </a:sysClr>
                </a:solidFill>
                <a:latin typeface="Calibri"/>
              </a:rPr>
              <a:t>, `n` </a:t>
            </a:r>
            <a:r>
              <a:rPr lang="en-US" sz="1000" dirty="0" err="1">
                <a:solidFill>
                  <a:sysClr val="window" lastClr="FFFFFF">
                    <a:lumMod val="50000"/>
                  </a:sysClr>
                </a:solidFill>
                <a:latin typeface="Calibri"/>
              </a:rPr>
              <a:t>skat</a:t>
            </a:r>
            <a:r>
              <a:rPr lang="lv-LV" sz="1000" dirty="0" err="1">
                <a:solidFill>
                  <a:sysClr val="window" lastClr="FFFFFF">
                    <a:lumMod val="50000"/>
                  </a:sysClr>
                </a:solidFill>
                <a:latin typeface="Calibri"/>
              </a:rPr>
              <a:t>īt</a:t>
            </a:r>
            <a:r>
              <a:rPr lang="lv-LV" sz="1000" dirty="0">
                <a:solidFill>
                  <a:sysClr val="window" lastClr="FFFFFF">
                    <a:lumMod val="50000"/>
                  </a:sysClr>
                </a:solidFill>
                <a:latin typeface="Calibri"/>
              </a:rPr>
              <a:t> grafikā</a:t>
            </a:r>
          </a:p>
        </p:txBody>
      </p:sp>
      <p:cxnSp>
        <p:nvCxnSpPr>
          <p:cNvPr id="5" name="Straight Arrow Connector 4"/>
          <p:cNvCxnSpPr/>
          <p:nvPr/>
        </p:nvCxnSpPr>
        <p:spPr>
          <a:xfrm rot="10800000" flipV="1">
            <a:off x="3362682" y="2521844"/>
            <a:ext cx="0" cy="216024"/>
          </a:xfrm>
          <a:prstGeom prst="straightConnector1">
            <a:avLst/>
          </a:prstGeom>
          <a:ln w="19050">
            <a:solidFill>
              <a:srgbClr val="B2371A"/>
            </a:solidFill>
            <a:headEnd type="none" w="med" len="med"/>
            <a:tailEnd type="arrow"/>
          </a:ln>
        </p:spPr>
        <p:style>
          <a:lnRef idx="1">
            <a:schemeClr val="accent1"/>
          </a:lnRef>
          <a:fillRef idx="0">
            <a:schemeClr val="accent1"/>
          </a:fillRef>
          <a:effectRef idx="0">
            <a:schemeClr val="accent1"/>
          </a:effectRef>
          <a:fontRef idx="minor">
            <a:schemeClr val="tx1"/>
          </a:fontRef>
        </p:style>
      </p:cxnSp>
      <p:cxnSp>
        <p:nvCxnSpPr>
          <p:cNvPr id="6" name="Straight Arrow Connector 5"/>
          <p:cNvCxnSpPr/>
          <p:nvPr/>
        </p:nvCxnSpPr>
        <p:spPr>
          <a:xfrm flipV="1">
            <a:off x="8069181" y="3058174"/>
            <a:ext cx="0" cy="216024"/>
          </a:xfrm>
          <a:prstGeom prst="straightConnector1">
            <a:avLst/>
          </a:prstGeom>
          <a:ln w="19050">
            <a:solidFill>
              <a:srgbClr val="1B7F24"/>
            </a:solidFill>
            <a:headEnd type="none" w="med" len="med"/>
            <a:tailEnd type="arrow"/>
          </a:ln>
        </p:spPr>
        <p:style>
          <a:lnRef idx="1">
            <a:schemeClr val="accent1"/>
          </a:lnRef>
          <a:fillRef idx="0">
            <a:schemeClr val="accent1"/>
          </a:fillRef>
          <a:effectRef idx="0">
            <a:schemeClr val="accent1"/>
          </a:effectRef>
          <a:fontRef idx="minor">
            <a:schemeClr val="tx1"/>
          </a:fontRef>
        </p:style>
      </p:cxnSp>
      <p:cxnSp>
        <p:nvCxnSpPr>
          <p:cNvPr id="7" name="Straight Arrow Connector 6"/>
          <p:cNvCxnSpPr/>
          <p:nvPr/>
        </p:nvCxnSpPr>
        <p:spPr>
          <a:xfrm flipV="1">
            <a:off x="6504442" y="2981335"/>
            <a:ext cx="0" cy="216024"/>
          </a:xfrm>
          <a:prstGeom prst="straightConnector1">
            <a:avLst/>
          </a:prstGeom>
          <a:ln w="19050">
            <a:solidFill>
              <a:srgbClr val="1B7F24"/>
            </a:solidFill>
            <a:headEnd type="none" w="med" len="med"/>
            <a:tailEnd type="arrow"/>
          </a:ln>
        </p:spPr>
        <p:style>
          <a:lnRef idx="1">
            <a:schemeClr val="accent1"/>
          </a:lnRef>
          <a:fillRef idx="0">
            <a:schemeClr val="accent1"/>
          </a:fillRef>
          <a:effectRef idx="0">
            <a:schemeClr val="accent1"/>
          </a:effectRef>
          <a:fontRef idx="minor">
            <a:schemeClr val="tx1"/>
          </a:fontRef>
        </p:style>
      </p:cxnSp>
      <p:cxnSp>
        <p:nvCxnSpPr>
          <p:cNvPr id="8" name="Straight Arrow Connector 7"/>
          <p:cNvCxnSpPr/>
          <p:nvPr/>
        </p:nvCxnSpPr>
        <p:spPr>
          <a:xfrm rot="10800000" flipV="1">
            <a:off x="8017226" y="4916555"/>
            <a:ext cx="0" cy="216024"/>
          </a:xfrm>
          <a:prstGeom prst="straightConnector1">
            <a:avLst/>
          </a:prstGeom>
          <a:ln w="19050">
            <a:solidFill>
              <a:srgbClr val="B2371A"/>
            </a:solidFill>
            <a:headEnd type="none" w="med" len="med"/>
            <a:tailEnd type="arrow"/>
          </a:ln>
        </p:spPr>
        <p:style>
          <a:lnRef idx="1">
            <a:schemeClr val="accent1"/>
          </a:lnRef>
          <a:fillRef idx="0">
            <a:schemeClr val="accent1"/>
          </a:fillRef>
          <a:effectRef idx="0">
            <a:schemeClr val="accent1"/>
          </a:effectRef>
          <a:fontRef idx="minor">
            <a:schemeClr val="tx1"/>
          </a:fontRef>
        </p:style>
      </p:cxnSp>
      <p:cxnSp>
        <p:nvCxnSpPr>
          <p:cNvPr id="9" name="Straight Arrow Connector 8"/>
          <p:cNvCxnSpPr/>
          <p:nvPr/>
        </p:nvCxnSpPr>
        <p:spPr>
          <a:xfrm flipV="1">
            <a:off x="3358709" y="4658967"/>
            <a:ext cx="0" cy="216024"/>
          </a:xfrm>
          <a:prstGeom prst="straightConnector1">
            <a:avLst/>
          </a:prstGeom>
          <a:ln w="19050">
            <a:solidFill>
              <a:srgbClr val="1B7F24"/>
            </a:solidFill>
            <a:headEnd type="none" w="med" len="med"/>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2076676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lv-LV" dirty="0"/>
              <a:t>Koruptīvo risku novērtējums</a:t>
            </a:r>
          </a:p>
        </p:txBody>
      </p:sp>
      <p:sp>
        <p:nvSpPr>
          <p:cNvPr id="4" name="Text Placeholder 3"/>
          <p:cNvSpPr>
            <a:spLocks noGrp="1"/>
          </p:cNvSpPr>
          <p:nvPr>
            <p:ph type="body" idx="1"/>
          </p:nvPr>
        </p:nvSpPr>
        <p:spPr/>
        <p:txBody>
          <a:bodyPr/>
          <a:lstStyle/>
          <a:p>
            <a:endParaRPr lang="lv-LV"/>
          </a:p>
        </p:txBody>
      </p:sp>
    </p:spTree>
    <p:extLst>
      <p:ext uri="{BB962C8B-B14F-4D97-AF65-F5344CB8AC3E}">
        <p14:creationId xmlns:p14="http://schemas.microsoft.com/office/powerpoint/2010/main" val="99124893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3"/>
          </p:nvPr>
        </p:nvSpPr>
        <p:spPr>
          <a:xfrm>
            <a:off x="271680" y="1362270"/>
            <a:ext cx="5093421" cy="5092906"/>
          </a:xfrm>
        </p:spPr>
        <p:txBody>
          <a:bodyPr>
            <a:normAutofit/>
          </a:bodyPr>
          <a:lstStyle/>
          <a:p>
            <a:pPr>
              <a:lnSpc>
                <a:spcPct val="150000"/>
              </a:lnSpc>
            </a:pPr>
            <a:r>
              <a:rPr lang="en-US" sz="2000" dirty="0">
                <a:solidFill>
                  <a:schemeClr val="bg1"/>
                </a:solidFill>
              </a:rPr>
              <a:t>Met</a:t>
            </a:r>
            <a:r>
              <a:rPr lang="lv-LV" sz="2000" dirty="0">
                <a:solidFill>
                  <a:schemeClr val="bg1"/>
                </a:solidFill>
              </a:rPr>
              <a:t>odoloģija</a:t>
            </a:r>
            <a:endParaRPr lang="lv-LV" dirty="0">
              <a:solidFill>
                <a:schemeClr val="bg1"/>
              </a:solidFill>
            </a:endParaRPr>
          </a:p>
          <a:p>
            <a:pPr marL="0" indent="0">
              <a:lnSpc>
                <a:spcPct val="150000"/>
              </a:lnSpc>
              <a:buNone/>
            </a:pPr>
            <a:r>
              <a:rPr lang="en-US" sz="2000" dirty="0">
                <a:solidFill>
                  <a:schemeClr val="bg1"/>
                </a:solidFill>
              </a:rPr>
              <a:t>			</a:t>
            </a:r>
          </a:p>
          <a:p>
            <a:pPr>
              <a:lnSpc>
                <a:spcPct val="150000"/>
              </a:lnSpc>
            </a:pPr>
            <a:r>
              <a:rPr lang="lv-LV" dirty="0">
                <a:solidFill>
                  <a:schemeClr val="bg1"/>
                </a:solidFill>
              </a:rPr>
              <a:t>VVD klientu aptaujas rezultāti</a:t>
            </a:r>
          </a:p>
          <a:p>
            <a:pPr>
              <a:lnSpc>
                <a:spcPct val="150000"/>
              </a:lnSpc>
            </a:pPr>
            <a:endParaRPr lang="lv-LV" dirty="0">
              <a:solidFill>
                <a:schemeClr val="bg1"/>
              </a:solidFill>
            </a:endParaRPr>
          </a:p>
          <a:p>
            <a:pPr>
              <a:lnSpc>
                <a:spcPct val="150000"/>
              </a:lnSpc>
            </a:pPr>
            <a:r>
              <a:rPr lang="lv-LV" dirty="0">
                <a:solidFill>
                  <a:schemeClr val="bg1"/>
                </a:solidFill>
              </a:rPr>
              <a:t>VVD darbinieku sniegto konsultāciju novērtējums</a:t>
            </a:r>
            <a:r>
              <a:rPr lang="lv-LV" b="1" dirty="0"/>
              <a:t> </a:t>
            </a:r>
            <a:r>
              <a:rPr lang="lv-LV" sz="2000" dirty="0">
                <a:solidFill>
                  <a:schemeClr val="bg1"/>
                </a:solidFill>
              </a:rPr>
              <a:t>			</a:t>
            </a:r>
            <a:r>
              <a:rPr lang="lv-LV" sz="2000" i="1" dirty="0">
                <a:solidFill>
                  <a:schemeClr val="bg1"/>
                </a:solidFill>
              </a:rPr>
              <a:t>		</a:t>
            </a:r>
            <a:endParaRPr lang="lv-LV" sz="2000" dirty="0">
              <a:solidFill>
                <a:schemeClr val="bg1"/>
              </a:solidFill>
            </a:endParaRPr>
          </a:p>
          <a:p>
            <a:pPr>
              <a:lnSpc>
                <a:spcPct val="150000"/>
              </a:lnSpc>
            </a:pPr>
            <a:endParaRPr lang="en-US" sz="2000" dirty="0">
              <a:solidFill>
                <a:schemeClr val="bg1"/>
              </a:solidFill>
            </a:endParaRPr>
          </a:p>
        </p:txBody>
      </p:sp>
      <p:sp>
        <p:nvSpPr>
          <p:cNvPr id="3" name="Title 2"/>
          <p:cNvSpPr>
            <a:spLocks noGrp="1"/>
          </p:cNvSpPr>
          <p:nvPr>
            <p:ph type="title"/>
          </p:nvPr>
        </p:nvSpPr>
        <p:spPr/>
        <p:txBody>
          <a:bodyPr/>
          <a:lstStyle/>
          <a:p>
            <a:r>
              <a:rPr lang="lv-LV" sz="3200" b="0" dirty="0"/>
              <a:t>Saturs</a:t>
            </a:r>
            <a:endParaRPr lang="en-US" sz="3200" b="0" dirty="0"/>
          </a:p>
        </p:txBody>
      </p:sp>
    </p:spTree>
    <p:extLst>
      <p:ext uri="{BB962C8B-B14F-4D97-AF65-F5344CB8AC3E}">
        <p14:creationId xmlns:p14="http://schemas.microsoft.com/office/powerpoint/2010/main" val="418464959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ctr">
            <a:normAutofit/>
          </a:bodyPr>
          <a:lstStyle/>
          <a:p>
            <a:r>
              <a:rPr lang="lv-LV" dirty="0" err="1"/>
              <a:t>Koruptīvo</a:t>
            </a:r>
            <a:r>
              <a:rPr lang="lv-LV" dirty="0"/>
              <a:t> risku novērtējums klātienē veiktām pārbaudēm</a:t>
            </a:r>
          </a:p>
        </p:txBody>
      </p:sp>
      <p:sp>
        <p:nvSpPr>
          <p:cNvPr id="6" name="Text Placeholder 5"/>
          <p:cNvSpPr txBox="1">
            <a:spLocks/>
          </p:cNvSpPr>
          <p:nvPr/>
        </p:nvSpPr>
        <p:spPr>
          <a:xfrm>
            <a:off x="133350" y="5973288"/>
            <a:ext cx="11925299" cy="485209"/>
          </a:xfrm>
          <a:prstGeom prst="rect">
            <a:avLst/>
          </a:prstGeom>
        </p:spPr>
        <p:txBody>
          <a:bodyPr vert="horz" lIns="91440" tIns="45720" rIns="91440" bIns="45720" rtlCol="0" anchor="b" anchorCtr="0">
            <a:noAutofit/>
          </a:bodyPr>
          <a:lstStyle>
            <a:lvl1pPr marL="0" indent="0" algn="l" defTabSz="914400" rtl="0" eaLnBrk="1" latinLnBrk="0" hangingPunct="1">
              <a:lnSpc>
                <a:spcPct val="100000"/>
              </a:lnSpc>
              <a:spcBef>
                <a:spcPts val="0"/>
              </a:spcBef>
              <a:buSzPct val="50000"/>
              <a:buFont typeface="Wingdings" panose="05000000000000000000" pitchFamily="2" charset="2"/>
              <a:buNone/>
              <a:defRPr sz="1200" i="0" kern="1200" baseline="0">
                <a:solidFill>
                  <a:schemeClr val="bg1">
                    <a:lumMod val="50000"/>
                  </a:schemeClr>
                </a:solidFill>
                <a:latin typeface="+mj-lt"/>
                <a:ea typeface="+mn-ea"/>
                <a:cs typeface="+mn-cs"/>
              </a:defRPr>
            </a:lvl1pPr>
            <a:lvl2pPr marL="685800" indent="-228600" algn="l" defTabSz="914400" rtl="0" eaLnBrk="1" latinLnBrk="0" hangingPunct="1">
              <a:lnSpc>
                <a:spcPct val="90000"/>
              </a:lnSpc>
              <a:spcBef>
                <a:spcPts val="500"/>
              </a:spcBef>
              <a:buSzPct val="50000"/>
              <a:buFont typeface="Wingdings" panose="05000000000000000000" pitchFamily="2" charset="2"/>
              <a:buChar char="§"/>
              <a:defRPr sz="1200" kern="1200">
                <a:solidFill>
                  <a:schemeClr val="bg1">
                    <a:lumMod val="50000"/>
                  </a:schemeClr>
                </a:solidFill>
                <a:latin typeface="+mj-lt"/>
                <a:ea typeface="+mn-ea"/>
                <a:cs typeface="+mn-cs"/>
              </a:defRPr>
            </a:lvl2pPr>
            <a:lvl3pPr marL="1143000" indent="-228600" algn="l" defTabSz="914400" rtl="0" eaLnBrk="1" latinLnBrk="0" hangingPunct="1">
              <a:lnSpc>
                <a:spcPct val="90000"/>
              </a:lnSpc>
              <a:spcBef>
                <a:spcPts val="500"/>
              </a:spcBef>
              <a:buSzPct val="50000"/>
              <a:buFont typeface="Wingdings" panose="05000000000000000000" pitchFamily="2" charset="2"/>
              <a:buChar char="§"/>
              <a:defRPr sz="1200" kern="1200">
                <a:solidFill>
                  <a:schemeClr val="bg1">
                    <a:lumMod val="50000"/>
                  </a:schemeClr>
                </a:solidFill>
                <a:latin typeface="+mj-lt"/>
                <a:ea typeface="+mn-ea"/>
                <a:cs typeface="+mn-cs"/>
              </a:defRPr>
            </a:lvl3pPr>
            <a:lvl4pPr marL="1600200" indent="-228600" algn="l" defTabSz="914400" rtl="0" eaLnBrk="1" latinLnBrk="0" hangingPunct="1">
              <a:lnSpc>
                <a:spcPct val="90000"/>
              </a:lnSpc>
              <a:spcBef>
                <a:spcPts val="500"/>
              </a:spcBef>
              <a:buSzPct val="50000"/>
              <a:buFont typeface="Wingdings" panose="05000000000000000000" pitchFamily="2" charset="2"/>
              <a:buChar char="§"/>
              <a:defRPr sz="1200" kern="1200">
                <a:solidFill>
                  <a:schemeClr val="bg1">
                    <a:lumMod val="50000"/>
                  </a:schemeClr>
                </a:solidFill>
                <a:latin typeface="+mj-lt"/>
                <a:ea typeface="+mn-ea"/>
                <a:cs typeface="+mn-cs"/>
              </a:defRPr>
            </a:lvl4pPr>
            <a:lvl5pPr marL="2057400" indent="-228600" algn="l" defTabSz="914400" rtl="0" eaLnBrk="1" latinLnBrk="0" hangingPunct="1">
              <a:lnSpc>
                <a:spcPct val="90000"/>
              </a:lnSpc>
              <a:spcBef>
                <a:spcPts val="500"/>
              </a:spcBef>
              <a:buSzPct val="50000"/>
              <a:buFont typeface="Wingdings" panose="05000000000000000000" pitchFamily="2" charset="2"/>
              <a:buChar char="§"/>
              <a:defRPr sz="1200" kern="1200">
                <a:solidFill>
                  <a:schemeClr val="bg1">
                    <a:lumMod val="50000"/>
                  </a:schemeClr>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r>
              <a:rPr lang="lv-LV" sz="1000" dirty="0">
                <a:solidFill>
                  <a:sysClr val="window" lastClr="FFFFFF">
                    <a:lumMod val="50000"/>
                  </a:sysClr>
                </a:solidFill>
                <a:latin typeface="Calibri"/>
              </a:rPr>
              <a:t>Q07. Balstoties uz Jūsu Valsts vides dienesta (vai Radiācijas drošības centra) pārbaužu pieredzi, un to, ko esat dzirdējis par pārbaudēm no citiem, kā Jūs vērtējat </a:t>
            </a:r>
            <a:r>
              <a:rPr lang="lv-LV" sz="1000" dirty="0" err="1">
                <a:solidFill>
                  <a:sysClr val="window" lastClr="FFFFFF">
                    <a:lumMod val="50000"/>
                  </a:sysClr>
                </a:solidFill>
                <a:latin typeface="Calibri"/>
              </a:rPr>
              <a:t>koruptīvos</a:t>
            </a:r>
            <a:r>
              <a:rPr lang="lv-LV" sz="1000" dirty="0">
                <a:solidFill>
                  <a:sysClr val="window" lastClr="FFFFFF">
                    <a:lumMod val="50000"/>
                  </a:sysClr>
                </a:solidFill>
                <a:latin typeface="Calibri"/>
              </a:rPr>
              <a:t> riskus inspekcijas procesā?</a:t>
            </a:r>
          </a:p>
          <a:p>
            <a:pPr lvl="0"/>
            <a:r>
              <a:rPr lang="lv-LV" sz="1000" dirty="0">
                <a:solidFill>
                  <a:sysClr val="window" lastClr="FFFFFF">
                    <a:lumMod val="50000"/>
                  </a:sysClr>
                </a:solidFill>
                <a:latin typeface="Calibri"/>
              </a:rPr>
              <a:t>Bāze: visi respondenti</a:t>
            </a:r>
            <a:r>
              <a:rPr lang="en-US" sz="1000" dirty="0">
                <a:solidFill>
                  <a:sysClr val="window" lastClr="FFFFFF">
                    <a:lumMod val="50000"/>
                  </a:sysClr>
                </a:solidFill>
                <a:latin typeface="Calibri"/>
              </a:rPr>
              <a:t>, `n` </a:t>
            </a:r>
            <a:r>
              <a:rPr lang="en-US" sz="1000" dirty="0" err="1">
                <a:solidFill>
                  <a:sysClr val="window" lastClr="FFFFFF">
                    <a:lumMod val="50000"/>
                  </a:sysClr>
                </a:solidFill>
                <a:latin typeface="Calibri"/>
              </a:rPr>
              <a:t>skat</a:t>
            </a:r>
            <a:r>
              <a:rPr lang="lv-LV" sz="1000" dirty="0" err="1">
                <a:solidFill>
                  <a:sysClr val="window" lastClr="FFFFFF">
                    <a:lumMod val="50000"/>
                  </a:sysClr>
                </a:solidFill>
                <a:latin typeface="Calibri"/>
              </a:rPr>
              <a:t>īt</a:t>
            </a:r>
            <a:r>
              <a:rPr lang="lv-LV" sz="1000" dirty="0">
                <a:solidFill>
                  <a:sysClr val="window" lastClr="FFFFFF">
                    <a:lumMod val="50000"/>
                  </a:sysClr>
                </a:solidFill>
                <a:latin typeface="Calibri"/>
              </a:rPr>
              <a:t> grafikā</a:t>
            </a:r>
          </a:p>
        </p:txBody>
      </p:sp>
      <p:graphicFrame>
        <p:nvGraphicFramePr>
          <p:cNvPr id="9" name="Chart 8"/>
          <p:cNvGraphicFramePr/>
          <p:nvPr>
            <p:extLst>
              <p:ext uri="{D42A27DB-BD31-4B8C-83A1-F6EECF244321}">
                <p14:modId xmlns:p14="http://schemas.microsoft.com/office/powerpoint/2010/main" val="3615816265"/>
              </p:ext>
            </p:extLst>
          </p:nvPr>
        </p:nvGraphicFramePr>
        <p:xfrm>
          <a:off x="1383409" y="1423555"/>
          <a:ext cx="9571975" cy="4476349"/>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417014633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ctr">
            <a:normAutofit/>
          </a:bodyPr>
          <a:lstStyle/>
          <a:p>
            <a:r>
              <a:rPr lang="lv-LV" dirty="0" err="1"/>
              <a:t>Koruptīvo</a:t>
            </a:r>
            <a:r>
              <a:rPr lang="lv-LV" dirty="0"/>
              <a:t> risku novērtējums attālināti veiktām pārbaudēm</a:t>
            </a:r>
          </a:p>
        </p:txBody>
      </p:sp>
      <p:sp>
        <p:nvSpPr>
          <p:cNvPr id="6" name="Text Placeholder 5"/>
          <p:cNvSpPr txBox="1">
            <a:spLocks/>
          </p:cNvSpPr>
          <p:nvPr/>
        </p:nvSpPr>
        <p:spPr>
          <a:xfrm>
            <a:off x="133350" y="5973288"/>
            <a:ext cx="11925299" cy="485209"/>
          </a:xfrm>
          <a:prstGeom prst="rect">
            <a:avLst/>
          </a:prstGeom>
        </p:spPr>
        <p:txBody>
          <a:bodyPr vert="horz" lIns="91440" tIns="45720" rIns="91440" bIns="45720" rtlCol="0" anchor="b" anchorCtr="0">
            <a:noAutofit/>
          </a:bodyPr>
          <a:lstStyle>
            <a:lvl1pPr marL="0" indent="0" algn="l" defTabSz="914400" rtl="0" eaLnBrk="1" latinLnBrk="0" hangingPunct="1">
              <a:lnSpc>
                <a:spcPct val="100000"/>
              </a:lnSpc>
              <a:spcBef>
                <a:spcPts val="0"/>
              </a:spcBef>
              <a:buSzPct val="50000"/>
              <a:buFont typeface="Wingdings" panose="05000000000000000000" pitchFamily="2" charset="2"/>
              <a:buNone/>
              <a:defRPr sz="1200" i="0" kern="1200" baseline="0">
                <a:solidFill>
                  <a:schemeClr val="bg1">
                    <a:lumMod val="50000"/>
                  </a:schemeClr>
                </a:solidFill>
                <a:latin typeface="+mj-lt"/>
                <a:ea typeface="+mn-ea"/>
                <a:cs typeface="+mn-cs"/>
              </a:defRPr>
            </a:lvl1pPr>
            <a:lvl2pPr marL="685800" indent="-228600" algn="l" defTabSz="914400" rtl="0" eaLnBrk="1" latinLnBrk="0" hangingPunct="1">
              <a:lnSpc>
                <a:spcPct val="90000"/>
              </a:lnSpc>
              <a:spcBef>
                <a:spcPts val="500"/>
              </a:spcBef>
              <a:buSzPct val="50000"/>
              <a:buFont typeface="Wingdings" panose="05000000000000000000" pitchFamily="2" charset="2"/>
              <a:buChar char="§"/>
              <a:defRPr sz="1200" kern="1200">
                <a:solidFill>
                  <a:schemeClr val="bg1">
                    <a:lumMod val="50000"/>
                  </a:schemeClr>
                </a:solidFill>
                <a:latin typeface="+mj-lt"/>
                <a:ea typeface="+mn-ea"/>
                <a:cs typeface="+mn-cs"/>
              </a:defRPr>
            </a:lvl2pPr>
            <a:lvl3pPr marL="1143000" indent="-228600" algn="l" defTabSz="914400" rtl="0" eaLnBrk="1" latinLnBrk="0" hangingPunct="1">
              <a:lnSpc>
                <a:spcPct val="90000"/>
              </a:lnSpc>
              <a:spcBef>
                <a:spcPts val="500"/>
              </a:spcBef>
              <a:buSzPct val="50000"/>
              <a:buFont typeface="Wingdings" panose="05000000000000000000" pitchFamily="2" charset="2"/>
              <a:buChar char="§"/>
              <a:defRPr sz="1200" kern="1200">
                <a:solidFill>
                  <a:schemeClr val="bg1">
                    <a:lumMod val="50000"/>
                  </a:schemeClr>
                </a:solidFill>
                <a:latin typeface="+mj-lt"/>
                <a:ea typeface="+mn-ea"/>
                <a:cs typeface="+mn-cs"/>
              </a:defRPr>
            </a:lvl3pPr>
            <a:lvl4pPr marL="1600200" indent="-228600" algn="l" defTabSz="914400" rtl="0" eaLnBrk="1" latinLnBrk="0" hangingPunct="1">
              <a:lnSpc>
                <a:spcPct val="90000"/>
              </a:lnSpc>
              <a:spcBef>
                <a:spcPts val="500"/>
              </a:spcBef>
              <a:buSzPct val="50000"/>
              <a:buFont typeface="Wingdings" panose="05000000000000000000" pitchFamily="2" charset="2"/>
              <a:buChar char="§"/>
              <a:defRPr sz="1200" kern="1200">
                <a:solidFill>
                  <a:schemeClr val="bg1">
                    <a:lumMod val="50000"/>
                  </a:schemeClr>
                </a:solidFill>
                <a:latin typeface="+mj-lt"/>
                <a:ea typeface="+mn-ea"/>
                <a:cs typeface="+mn-cs"/>
              </a:defRPr>
            </a:lvl4pPr>
            <a:lvl5pPr marL="2057400" indent="-228600" algn="l" defTabSz="914400" rtl="0" eaLnBrk="1" latinLnBrk="0" hangingPunct="1">
              <a:lnSpc>
                <a:spcPct val="90000"/>
              </a:lnSpc>
              <a:spcBef>
                <a:spcPts val="500"/>
              </a:spcBef>
              <a:buSzPct val="50000"/>
              <a:buFont typeface="Wingdings" panose="05000000000000000000" pitchFamily="2" charset="2"/>
              <a:buChar char="§"/>
              <a:defRPr sz="1200" kern="1200">
                <a:solidFill>
                  <a:schemeClr val="bg1">
                    <a:lumMod val="50000"/>
                  </a:schemeClr>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r>
              <a:rPr lang="lv-LV" sz="1000" dirty="0">
                <a:solidFill>
                  <a:sysClr val="window" lastClr="FFFFFF">
                    <a:lumMod val="50000"/>
                  </a:sysClr>
                </a:solidFill>
                <a:latin typeface="Calibri"/>
              </a:rPr>
              <a:t>Q07. Balstoties uz Jūsu Valsts vides dienesta (vai Radiācijas drošības centra) pārbaužu pieredzi, un to, ko esat dzirdējis par pārbaudēm no citiem, kā Jūs vērtējat </a:t>
            </a:r>
            <a:r>
              <a:rPr lang="lv-LV" sz="1000" dirty="0" err="1">
                <a:solidFill>
                  <a:sysClr val="window" lastClr="FFFFFF">
                    <a:lumMod val="50000"/>
                  </a:sysClr>
                </a:solidFill>
                <a:latin typeface="Calibri"/>
              </a:rPr>
              <a:t>koruptīvos</a:t>
            </a:r>
            <a:r>
              <a:rPr lang="lv-LV" sz="1000" dirty="0">
                <a:solidFill>
                  <a:sysClr val="window" lastClr="FFFFFF">
                    <a:lumMod val="50000"/>
                  </a:sysClr>
                </a:solidFill>
                <a:latin typeface="Calibri"/>
              </a:rPr>
              <a:t> riskus inspekcijas procesā?</a:t>
            </a:r>
          </a:p>
          <a:p>
            <a:pPr lvl="0"/>
            <a:r>
              <a:rPr lang="lv-LV" sz="1000" dirty="0">
                <a:solidFill>
                  <a:sysClr val="window" lastClr="FFFFFF">
                    <a:lumMod val="50000"/>
                  </a:sysClr>
                </a:solidFill>
                <a:latin typeface="Calibri"/>
              </a:rPr>
              <a:t>Bāze: visi respondenti</a:t>
            </a:r>
            <a:r>
              <a:rPr lang="en-US" sz="1000" dirty="0">
                <a:solidFill>
                  <a:sysClr val="window" lastClr="FFFFFF">
                    <a:lumMod val="50000"/>
                  </a:sysClr>
                </a:solidFill>
                <a:latin typeface="Calibri"/>
              </a:rPr>
              <a:t>, `n` </a:t>
            </a:r>
            <a:r>
              <a:rPr lang="en-US" sz="1000" dirty="0" err="1">
                <a:solidFill>
                  <a:sysClr val="window" lastClr="FFFFFF">
                    <a:lumMod val="50000"/>
                  </a:sysClr>
                </a:solidFill>
                <a:latin typeface="Calibri"/>
              </a:rPr>
              <a:t>skat</a:t>
            </a:r>
            <a:r>
              <a:rPr lang="lv-LV" sz="1000" dirty="0" err="1">
                <a:solidFill>
                  <a:sysClr val="window" lastClr="FFFFFF">
                    <a:lumMod val="50000"/>
                  </a:sysClr>
                </a:solidFill>
                <a:latin typeface="Calibri"/>
              </a:rPr>
              <a:t>īt</a:t>
            </a:r>
            <a:r>
              <a:rPr lang="lv-LV" sz="1000" dirty="0">
                <a:solidFill>
                  <a:sysClr val="window" lastClr="FFFFFF">
                    <a:lumMod val="50000"/>
                  </a:sysClr>
                </a:solidFill>
                <a:latin typeface="Calibri"/>
              </a:rPr>
              <a:t> grafikā</a:t>
            </a:r>
          </a:p>
        </p:txBody>
      </p:sp>
      <p:graphicFrame>
        <p:nvGraphicFramePr>
          <p:cNvPr id="8" name="Chart 7"/>
          <p:cNvGraphicFramePr/>
          <p:nvPr>
            <p:extLst>
              <p:ext uri="{D42A27DB-BD31-4B8C-83A1-F6EECF244321}">
                <p14:modId xmlns:p14="http://schemas.microsoft.com/office/powerpoint/2010/main" val="1743924765"/>
              </p:ext>
            </p:extLst>
          </p:nvPr>
        </p:nvGraphicFramePr>
        <p:xfrm>
          <a:off x="898461" y="1309254"/>
          <a:ext cx="9554793" cy="4833901"/>
        </p:xfrm>
        <a:graphic>
          <a:graphicData uri="http://schemas.openxmlformats.org/drawingml/2006/chart">
            <c:chart xmlns:c="http://schemas.openxmlformats.org/drawingml/2006/chart" xmlns:r="http://schemas.openxmlformats.org/officeDocument/2006/relationships" r:id="rId2"/>
          </a:graphicData>
        </a:graphic>
      </p:graphicFrame>
      <p:cxnSp>
        <p:nvCxnSpPr>
          <p:cNvPr id="5" name="Straight Arrow Connector 4"/>
          <p:cNvCxnSpPr/>
          <p:nvPr/>
        </p:nvCxnSpPr>
        <p:spPr>
          <a:xfrm flipV="1">
            <a:off x="5738535" y="4075695"/>
            <a:ext cx="0" cy="216024"/>
          </a:xfrm>
          <a:prstGeom prst="straightConnector1">
            <a:avLst/>
          </a:prstGeom>
          <a:ln w="19050">
            <a:solidFill>
              <a:srgbClr val="1B7F24"/>
            </a:solidFill>
            <a:headEnd type="none" w="med" len="med"/>
            <a:tailEnd type="arrow"/>
          </a:ln>
        </p:spPr>
        <p:style>
          <a:lnRef idx="1">
            <a:schemeClr val="accent1"/>
          </a:lnRef>
          <a:fillRef idx="0">
            <a:schemeClr val="accent1"/>
          </a:fillRef>
          <a:effectRef idx="0">
            <a:schemeClr val="accent1"/>
          </a:effectRef>
          <a:fontRef idx="minor">
            <a:schemeClr val="tx1"/>
          </a:fontRef>
        </p:style>
      </p:cxnSp>
      <p:cxnSp>
        <p:nvCxnSpPr>
          <p:cNvPr id="7" name="Straight Arrow Connector 6"/>
          <p:cNvCxnSpPr/>
          <p:nvPr/>
        </p:nvCxnSpPr>
        <p:spPr>
          <a:xfrm rot="10800000" flipV="1">
            <a:off x="7541990" y="4764720"/>
            <a:ext cx="0" cy="216024"/>
          </a:xfrm>
          <a:prstGeom prst="straightConnector1">
            <a:avLst/>
          </a:prstGeom>
          <a:ln w="19050">
            <a:solidFill>
              <a:srgbClr val="C00000"/>
            </a:solidFill>
            <a:headEnd type="none" w="med" len="med"/>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2635542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lv-LV" dirty="0"/>
              <a:t>Inspektoru snieguma novērtējums</a:t>
            </a:r>
          </a:p>
        </p:txBody>
      </p:sp>
      <p:sp>
        <p:nvSpPr>
          <p:cNvPr id="3" name="Text Placeholder 2"/>
          <p:cNvSpPr>
            <a:spLocks noGrp="1"/>
          </p:cNvSpPr>
          <p:nvPr>
            <p:ph type="body" idx="1"/>
          </p:nvPr>
        </p:nvSpPr>
        <p:spPr/>
        <p:txBody>
          <a:bodyPr/>
          <a:lstStyle/>
          <a:p>
            <a:endParaRPr lang="lv-LV"/>
          </a:p>
        </p:txBody>
      </p:sp>
    </p:spTree>
    <p:extLst>
      <p:ext uri="{BB962C8B-B14F-4D97-AF65-F5344CB8AC3E}">
        <p14:creationId xmlns:p14="http://schemas.microsoft.com/office/powerpoint/2010/main" val="231815556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ctr">
            <a:normAutofit/>
          </a:bodyPr>
          <a:lstStyle/>
          <a:p>
            <a:r>
              <a:rPr lang="lv-LV" dirty="0"/>
              <a:t>Inspektoru rīcības ētiskuma novērtējums</a:t>
            </a:r>
          </a:p>
        </p:txBody>
      </p:sp>
      <p:graphicFrame>
        <p:nvGraphicFramePr>
          <p:cNvPr id="3" name="Chart 2"/>
          <p:cNvGraphicFramePr/>
          <p:nvPr>
            <p:extLst>
              <p:ext uri="{D42A27DB-BD31-4B8C-83A1-F6EECF244321}">
                <p14:modId xmlns:p14="http://schemas.microsoft.com/office/powerpoint/2010/main" val="2456621570"/>
              </p:ext>
            </p:extLst>
          </p:nvPr>
        </p:nvGraphicFramePr>
        <p:xfrm>
          <a:off x="226868" y="1371600"/>
          <a:ext cx="10319905" cy="4601688"/>
        </p:xfrm>
        <a:graphic>
          <a:graphicData uri="http://schemas.openxmlformats.org/drawingml/2006/chart">
            <c:chart xmlns:c="http://schemas.openxmlformats.org/drawingml/2006/chart" xmlns:r="http://schemas.openxmlformats.org/officeDocument/2006/relationships" r:id="rId2"/>
          </a:graphicData>
        </a:graphic>
      </p:graphicFrame>
      <p:sp>
        <p:nvSpPr>
          <p:cNvPr id="6" name="Text Placeholder 5"/>
          <p:cNvSpPr txBox="1">
            <a:spLocks/>
          </p:cNvSpPr>
          <p:nvPr/>
        </p:nvSpPr>
        <p:spPr>
          <a:xfrm>
            <a:off x="133350" y="5973288"/>
            <a:ext cx="11925299" cy="485209"/>
          </a:xfrm>
          <a:prstGeom prst="rect">
            <a:avLst/>
          </a:prstGeom>
        </p:spPr>
        <p:txBody>
          <a:bodyPr vert="horz" lIns="91440" tIns="45720" rIns="91440" bIns="45720" rtlCol="0" anchor="b" anchorCtr="0">
            <a:noAutofit/>
          </a:bodyPr>
          <a:lstStyle>
            <a:lvl1pPr marL="0" indent="0" algn="l" defTabSz="914400" rtl="0" eaLnBrk="1" latinLnBrk="0" hangingPunct="1">
              <a:lnSpc>
                <a:spcPct val="100000"/>
              </a:lnSpc>
              <a:spcBef>
                <a:spcPts val="0"/>
              </a:spcBef>
              <a:buSzPct val="50000"/>
              <a:buFont typeface="Wingdings" panose="05000000000000000000" pitchFamily="2" charset="2"/>
              <a:buNone/>
              <a:defRPr sz="1200" i="0" kern="1200" baseline="0">
                <a:solidFill>
                  <a:schemeClr val="bg1">
                    <a:lumMod val="50000"/>
                  </a:schemeClr>
                </a:solidFill>
                <a:latin typeface="+mj-lt"/>
                <a:ea typeface="+mn-ea"/>
                <a:cs typeface="+mn-cs"/>
              </a:defRPr>
            </a:lvl1pPr>
            <a:lvl2pPr marL="685800" indent="-228600" algn="l" defTabSz="914400" rtl="0" eaLnBrk="1" latinLnBrk="0" hangingPunct="1">
              <a:lnSpc>
                <a:spcPct val="90000"/>
              </a:lnSpc>
              <a:spcBef>
                <a:spcPts val="500"/>
              </a:spcBef>
              <a:buSzPct val="50000"/>
              <a:buFont typeface="Wingdings" panose="05000000000000000000" pitchFamily="2" charset="2"/>
              <a:buChar char="§"/>
              <a:defRPr sz="1200" kern="1200">
                <a:solidFill>
                  <a:schemeClr val="bg1">
                    <a:lumMod val="50000"/>
                  </a:schemeClr>
                </a:solidFill>
                <a:latin typeface="+mj-lt"/>
                <a:ea typeface="+mn-ea"/>
                <a:cs typeface="+mn-cs"/>
              </a:defRPr>
            </a:lvl2pPr>
            <a:lvl3pPr marL="1143000" indent="-228600" algn="l" defTabSz="914400" rtl="0" eaLnBrk="1" latinLnBrk="0" hangingPunct="1">
              <a:lnSpc>
                <a:spcPct val="90000"/>
              </a:lnSpc>
              <a:spcBef>
                <a:spcPts val="500"/>
              </a:spcBef>
              <a:buSzPct val="50000"/>
              <a:buFont typeface="Wingdings" panose="05000000000000000000" pitchFamily="2" charset="2"/>
              <a:buChar char="§"/>
              <a:defRPr sz="1200" kern="1200">
                <a:solidFill>
                  <a:schemeClr val="bg1">
                    <a:lumMod val="50000"/>
                  </a:schemeClr>
                </a:solidFill>
                <a:latin typeface="+mj-lt"/>
                <a:ea typeface="+mn-ea"/>
                <a:cs typeface="+mn-cs"/>
              </a:defRPr>
            </a:lvl3pPr>
            <a:lvl4pPr marL="1600200" indent="-228600" algn="l" defTabSz="914400" rtl="0" eaLnBrk="1" latinLnBrk="0" hangingPunct="1">
              <a:lnSpc>
                <a:spcPct val="90000"/>
              </a:lnSpc>
              <a:spcBef>
                <a:spcPts val="500"/>
              </a:spcBef>
              <a:buSzPct val="50000"/>
              <a:buFont typeface="Wingdings" panose="05000000000000000000" pitchFamily="2" charset="2"/>
              <a:buChar char="§"/>
              <a:defRPr sz="1200" kern="1200">
                <a:solidFill>
                  <a:schemeClr val="bg1">
                    <a:lumMod val="50000"/>
                  </a:schemeClr>
                </a:solidFill>
                <a:latin typeface="+mj-lt"/>
                <a:ea typeface="+mn-ea"/>
                <a:cs typeface="+mn-cs"/>
              </a:defRPr>
            </a:lvl4pPr>
            <a:lvl5pPr marL="2057400" indent="-228600" algn="l" defTabSz="914400" rtl="0" eaLnBrk="1" latinLnBrk="0" hangingPunct="1">
              <a:lnSpc>
                <a:spcPct val="90000"/>
              </a:lnSpc>
              <a:spcBef>
                <a:spcPts val="500"/>
              </a:spcBef>
              <a:buSzPct val="50000"/>
              <a:buFont typeface="Wingdings" panose="05000000000000000000" pitchFamily="2" charset="2"/>
              <a:buChar char="§"/>
              <a:defRPr sz="1200" kern="1200">
                <a:solidFill>
                  <a:schemeClr val="bg1">
                    <a:lumMod val="50000"/>
                  </a:schemeClr>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r>
              <a:rPr lang="lv-LV" sz="1000" dirty="0">
                <a:solidFill>
                  <a:sysClr val="window" lastClr="FFFFFF">
                    <a:lumMod val="50000"/>
                  </a:sysClr>
                </a:solidFill>
                <a:latin typeface="Calibri"/>
              </a:rPr>
              <a:t>Q08. Tagad, lūdzu, novērtējiet Valsts vides dienesta inspektoru darbu, kas 2020. gadā veica pārbaudi pie Jums. Cik apmierināts esat ar ...?</a:t>
            </a:r>
          </a:p>
          <a:p>
            <a:pPr lvl="0"/>
            <a:r>
              <a:rPr lang="lv-LV" sz="1000" dirty="0">
                <a:solidFill>
                  <a:sysClr val="window" lastClr="FFFFFF">
                    <a:lumMod val="50000"/>
                  </a:sysClr>
                </a:solidFill>
                <a:latin typeface="Calibri"/>
              </a:rPr>
              <a:t>Bāze: visi respondenti</a:t>
            </a:r>
            <a:r>
              <a:rPr lang="en-US" sz="1000" dirty="0">
                <a:solidFill>
                  <a:sysClr val="window" lastClr="FFFFFF">
                    <a:lumMod val="50000"/>
                  </a:sysClr>
                </a:solidFill>
                <a:latin typeface="Calibri"/>
              </a:rPr>
              <a:t>, `n` </a:t>
            </a:r>
            <a:r>
              <a:rPr lang="en-US" sz="1000" dirty="0" err="1">
                <a:solidFill>
                  <a:sysClr val="window" lastClr="FFFFFF">
                    <a:lumMod val="50000"/>
                  </a:sysClr>
                </a:solidFill>
                <a:latin typeface="Calibri"/>
              </a:rPr>
              <a:t>skat</a:t>
            </a:r>
            <a:r>
              <a:rPr lang="lv-LV" sz="1000" dirty="0" err="1">
                <a:solidFill>
                  <a:sysClr val="window" lastClr="FFFFFF">
                    <a:lumMod val="50000"/>
                  </a:sysClr>
                </a:solidFill>
                <a:latin typeface="Calibri"/>
              </a:rPr>
              <a:t>īt</a:t>
            </a:r>
            <a:r>
              <a:rPr lang="lv-LV" sz="1000" dirty="0">
                <a:solidFill>
                  <a:sysClr val="window" lastClr="FFFFFF">
                    <a:lumMod val="50000"/>
                  </a:sysClr>
                </a:solidFill>
                <a:latin typeface="Calibri"/>
              </a:rPr>
              <a:t> grafikā</a:t>
            </a:r>
          </a:p>
        </p:txBody>
      </p:sp>
      <p:cxnSp>
        <p:nvCxnSpPr>
          <p:cNvPr id="5" name="Straight Arrow Connector 4"/>
          <p:cNvCxnSpPr/>
          <p:nvPr/>
        </p:nvCxnSpPr>
        <p:spPr>
          <a:xfrm flipV="1">
            <a:off x="8924233" y="4012840"/>
            <a:ext cx="0" cy="216024"/>
          </a:xfrm>
          <a:prstGeom prst="straightConnector1">
            <a:avLst/>
          </a:prstGeom>
          <a:ln w="19050">
            <a:solidFill>
              <a:srgbClr val="1B7F24"/>
            </a:solidFill>
            <a:headEnd type="none" w="med" len="med"/>
            <a:tailEnd type="arrow"/>
          </a:ln>
        </p:spPr>
        <p:style>
          <a:lnRef idx="1">
            <a:schemeClr val="accent1"/>
          </a:lnRef>
          <a:fillRef idx="0">
            <a:schemeClr val="accent1"/>
          </a:fillRef>
          <a:effectRef idx="0">
            <a:schemeClr val="accent1"/>
          </a:effectRef>
          <a:fontRef idx="minor">
            <a:schemeClr val="tx1"/>
          </a:fontRef>
        </p:style>
      </p:cxnSp>
      <p:cxnSp>
        <p:nvCxnSpPr>
          <p:cNvPr id="7" name="Straight Arrow Connector 6"/>
          <p:cNvCxnSpPr/>
          <p:nvPr/>
        </p:nvCxnSpPr>
        <p:spPr>
          <a:xfrm rot="10800000" flipV="1">
            <a:off x="5623828" y="4012840"/>
            <a:ext cx="0" cy="216024"/>
          </a:xfrm>
          <a:prstGeom prst="straightConnector1">
            <a:avLst/>
          </a:prstGeom>
          <a:ln w="19050">
            <a:solidFill>
              <a:srgbClr val="C00000"/>
            </a:solidFill>
            <a:headEnd type="none" w="med" len="med"/>
            <a:tailEnd type="arrow"/>
          </a:ln>
        </p:spPr>
        <p:style>
          <a:lnRef idx="1">
            <a:schemeClr val="accent1"/>
          </a:lnRef>
          <a:fillRef idx="0">
            <a:schemeClr val="accent1"/>
          </a:fillRef>
          <a:effectRef idx="0">
            <a:schemeClr val="accent1"/>
          </a:effectRef>
          <a:fontRef idx="minor">
            <a:schemeClr val="tx1"/>
          </a:fontRef>
        </p:style>
      </p:cxnSp>
      <p:cxnSp>
        <p:nvCxnSpPr>
          <p:cNvPr id="8" name="Straight Arrow Connector 7"/>
          <p:cNvCxnSpPr/>
          <p:nvPr/>
        </p:nvCxnSpPr>
        <p:spPr>
          <a:xfrm rot="10800000" flipV="1">
            <a:off x="9667384" y="3087026"/>
            <a:ext cx="0" cy="216024"/>
          </a:xfrm>
          <a:prstGeom prst="straightConnector1">
            <a:avLst/>
          </a:prstGeom>
          <a:ln w="19050">
            <a:solidFill>
              <a:srgbClr val="FF0000"/>
            </a:solidFill>
            <a:headEnd type="none" w="med" len="med"/>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4758035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ctr">
            <a:normAutofit/>
          </a:bodyPr>
          <a:lstStyle/>
          <a:p>
            <a:r>
              <a:rPr lang="lv-LV" dirty="0"/>
              <a:t>Inspektoru sniegto konsultāciju, ieteikumu novērtējums</a:t>
            </a:r>
          </a:p>
        </p:txBody>
      </p:sp>
      <p:graphicFrame>
        <p:nvGraphicFramePr>
          <p:cNvPr id="3" name="Chart 2"/>
          <p:cNvGraphicFramePr/>
          <p:nvPr>
            <p:extLst>
              <p:ext uri="{D42A27DB-BD31-4B8C-83A1-F6EECF244321}">
                <p14:modId xmlns:p14="http://schemas.microsoft.com/office/powerpoint/2010/main" val="807329992"/>
              </p:ext>
            </p:extLst>
          </p:nvPr>
        </p:nvGraphicFramePr>
        <p:xfrm>
          <a:off x="-116032" y="1340427"/>
          <a:ext cx="10475768" cy="4632861"/>
        </p:xfrm>
        <a:graphic>
          <a:graphicData uri="http://schemas.openxmlformats.org/drawingml/2006/chart">
            <c:chart xmlns:c="http://schemas.openxmlformats.org/drawingml/2006/chart" xmlns:r="http://schemas.openxmlformats.org/officeDocument/2006/relationships" r:id="rId2"/>
          </a:graphicData>
        </a:graphic>
      </p:graphicFrame>
      <p:sp>
        <p:nvSpPr>
          <p:cNvPr id="6" name="Text Placeholder 5"/>
          <p:cNvSpPr txBox="1">
            <a:spLocks/>
          </p:cNvSpPr>
          <p:nvPr/>
        </p:nvSpPr>
        <p:spPr>
          <a:xfrm>
            <a:off x="133350" y="5973288"/>
            <a:ext cx="11925299" cy="485209"/>
          </a:xfrm>
          <a:prstGeom prst="rect">
            <a:avLst/>
          </a:prstGeom>
        </p:spPr>
        <p:txBody>
          <a:bodyPr vert="horz" lIns="91440" tIns="45720" rIns="91440" bIns="45720" rtlCol="0" anchor="b" anchorCtr="0">
            <a:noAutofit/>
          </a:bodyPr>
          <a:lstStyle>
            <a:lvl1pPr marL="0" indent="0" algn="l" defTabSz="914400" rtl="0" eaLnBrk="1" latinLnBrk="0" hangingPunct="1">
              <a:lnSpc>
                <a:spcPct val="100000"/>
              </a:lnSpc>
              <a:spcBef>
                <a:spcPts val="0"/>
              </a:spcBef>
              <a:buSzPct val="50000"/>
              <a:buFont typeface="Wingdings" panose="05000000000000000000" pitchFamily="2" charset="2"/>
              <a:buNone/>
              <a:defRPr sz="1200" i="0" kern="1200" baseline="0">
                <a:solidFill>
                  <a:schemeClr val="bg1">
                    <a:lumMod val="50000"/>
                  </a:schemeClr>
                </a:solidFill>
                <a:latin typeface="+mj-lt"/>
                <a:ea typeface="+mn-ea"/>
                <a:cs typeface="+mn-cs"/>
              </a:defRPr>
            </a:lvl1pPr>
            <a:lvl2pPr marL="685800" indent="-228600" algn="l" defTabSz="914400" rtl="0" eaLnBrk="1" latinLnBrk="0" hangingPunct="1">
              <a:lnSpc>
                <a:spcPct val="90000"/>
              </a:lnSpc>
              <a:spcBef>
                <a:spcPts val="500"/>
              </a:spcBef>
              <a:buSzPct val="50000"/>
              <a:buFont typeface="Wingdings" panose="05000000000000000000" pitchFamily="2" charset="2"/>
              <a:buChar char="§"/>
              <a:defRPr sz="1200" kern="1200">
                <a:solidFill>
                  <a:schemeClr val="bg1">
                    <a:lumMod val="50000"/>
                  </a:schemeClr>
                </a:solidFill>
                <a:latin typeface="+mj-lt"/>
                <a:ea typeface="+mn-ea"/>
                <a:cs typeface="+mn-cs"/>
              </a:defRPr>
            </a:lvl2pPr>
            <a:lvl3pPr marL="1143000" indent="-228600" algn="l" defTabSz="914400" rtl="0" eaLnBrk="1" latinLnBrk="0" hangingPunct="1">
              <a:lnSpc>
                <a:spcPct val="90000"/>
              </a:lnSpc>
              <a:spcBef>
                <a:spcPts val="500"/>
              </a:spcBef>
              <a:buSzPct val="50000"/>
              <a:buFont typeface="Wingdings" panose="05000000000000000000" pitchFamily="2" charset="2"/>
              <a:buChar char="§"/>
              <a:defRPr sz="1200" kern="1200">
                <a:solidFill>
                  <a:schemeClr val="bg1">
                    <a:lumMod val="50000"/>
                  </a:schemeClr>
                </a:solidFill>
                <a:latin typeface="+mj-lt"/>
                <a:ea typeface="+mn-ea"/>
                <a:cs typeface="+mn-cs"/>
              </a:defRPr>
            </a:lvl3pPr>
            <a:lvl4pPr marL="1600200" indent="-228600" algn="l" defTabSz="914400" rtl="0" eaLnBrk="1" latinLnBrk="0" hangingPunct="1">
              <a:lnSpc>
                <a:spcPct val="90000"/>
              </a:lnSpc>
              <a:spcBef>
                <a:spcPts val="500"/>
              </a:spcBef>
              <a:buSzPct val="50000"/>
              <a:buFont typeface="Wingdings" panose="05000000000000000000" pitchFamily="2" charset="2"/>
              <a:buChar char="§"/>
              <a:defRPr sz="1200" kern="1200">
                <a:solidFill>
                  <a:schemeClr val="bg1">
                    <a:lumMod val="50000"/>
                  </a:schemeClr>
                </a:solidFill>
                <a:latin typeface="+mj-lt"/>
                <a:ea typeface="+mn-ea"/>
                <a:cs typeface="+mn-cs"/>
              </a:defRPr>
            </a:lvl4pPr>
            <a:lvl5pPr marL="2057400" indent="-228600" algn="l" defTabSz="914400" rtl="0" eaLnBrk="1" latinLnBrk="0" hangingPunct="1">
              <a:lnSpc>
                <a:spcPct val="90000"/>
              </a:lnSpc>
              <a:spcBef>
                <a:spcPts val="500"/>
              </a:spcBef>
              <a:buSzPct val="50000"/>
              <a:buFont typeface="Wingdings" panose="05000000000000000000" pitchFamily="2" charset="2"/>
              <a:buChar char="§"/>
              <a:defRPr sz="1200" kern="1200">
                <a:solidFill>
                  <a:schemeClr val="bg1">
                    <a:lumMod val="50000"/>
                  </a:schemeClr>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r>
              <a:rPr lang="lv-LV" sz="1000" dirty="0">
                <a:solidFill>
                  <a:sysClr val="window" lastClr="FFFFFF">
                    <a:lumMod val="50000"/>
                  </a:sysClr>
                </a:solidFill>
                <a:latin typeface="Calibri"/>
              </a:rPr>
              <a:t>Q08. Tagad, lūdzu, novērtējiet Valsts vides dienesta inspektoru darbu, kas 2020. gadā veica pārbaudi pie Jums. Cik apmierināts esat ar ...?</a:t>
            </a:r>
          </a:p>
          <a:p>
            <a:pPr lvl="0"/>
            <a:r>
              <a:rPr lang="lv-LV" sz="1000" dirty="0">
                <a:solidFill>
                  <a:sysClr val="window" lastClr="FFFFFF">
                    <a:lumMod val="50000"/>
                  </a:sysClr>
                </a:solidFill>
                <a:latin typeface="Calibri"/>
              </a:rPr>
              <a:t>Bāze: visi respondenti</a:t>
            </a:r>
            <a:r>
              <a:rPr lang="en-US" sz="1000" dirty="0">
                <a:solidFill>
                  <a:sysClr val="window" lastClr="FFFFFF">
                    <a:lumMod val="50000"/>
                  </a:sysClr>
                </a:solidFill>
                <a:latin typeface="Calibri"/>
              </a:rPr>
              <a:t>, `n` </a:t>
            </a:r>
            <a:r>
              <a:rPr lang="en-US" sz="1000" dirty="0" err="1">
                <a:solidFill>
                  <a:sysClr val="window" lastClr="FFFFFF">
                    <a:lumMod val="50000"/>
                  </a:sysClr>
                </a:solidFill>
                <a:latin typeface="Calibri"/>
              </a:rPr>
              <a:t>skat</a:t>
            </a:r>
            <a:r>
              <a:rPr lang="lv-LV" sz="1000" dirty="0" err="1">
                <a:solidFill>
                  <a:sysClr val="window" lastClr="FFFFFF">
                    <a:lumMod val="50000"/>
                  </a:sysClr>
                </a:solidFill>
                <a:latin typeface="Calibri"/>
              </a:rPr>
              <a:t>īt</a:t>
            </a:r>
            <a:r>
              <a:rPr lang="lv-LV" sz="1000" dirty="0">
                <a:solidFill>
                  <a:sysClr val="window" lastClr="FFFFFF">
                    <a:lumMod val="50000"/>
                  </a:sysClr>
                </a:solidFill>
                <a:latin typeface="Calibri"/>
              </a:rPr>
              <a:t> grafikā</a:t>
            </a:r>
          </a:p>
        </p:txBody>
      </p:sp>
      <p:cxnSp>
        <p:nvCxnSpPr>
          <p:cNvPr id="5" name="Straight Arrow Connector 4"/>
          <p:cNvCxnSpPr/>
          <p:nvPr/>
        </p:nvCxnSpPr>
        <p:spPr>
          <a:xfrm flipV="1">
            <a:off x="8470096" y="4110464"/>
            <a:ext cx="0" cy="216024"/>
          </a:xfrm>
          <a:prstGeom prst="straightConnector1">
            <a:avLst/>
          </a:prstGeom>
          <a:ln w="19050">
            <a:solidFill>
              <a:srgbClr val="1B7F24"/>
            </a:solidFill>
            <a:headEnd type="none" w="med" len="med"/>
            <a:tailEnd type="arrow"/>
          </a:ln>
        </p:spPr>
        <p:style>
          <a:lnRef idx="1">
            <a:schemeClr val="accent1"/>
          </a:lnRef>
          <a:fillRef idx="0">
            <a:schemeClr val="accent1"/>
          </a:fillRef>
          <a:effectRef idx="0">
            <a:schemeClr val="accent1"/>
          </a:effectRef>
          <a:fontRef idx="minor">
            <a:schemeClr val="tx1"/>
          </a:fontRef>
        </p:style>
      </p:cxnSp>
      <p:cxnSp>
        <p:nvCxnSpPr>
          <p:cNvPr id="7" name="Straight Arrow Connector 6"/>
          <p:cNvCxnSpPr/>
          <p:nvPr/>
        </p:nvCxnSpPr>
        <p:spPr>
          <a:xfrm rot="10800000" flipV="1">
            <a:off x="9292683" y="3156685"/>
            <a:ext cx="0" cy="216024"/>
          </a:xfrm>
          <a:prstGeom prst="straightConnector1">
            <a:avLst/>
          </a:prstGeom>
          <a:ln w="19050">
            <a:solidFill>
              <a:srgbClr val="C00000"/>
            </a:solidFill>
            <a:headEnd type="none" w="med" len="med"/>
            <a:tailEnd type="arrow"/>
          </a:ln>
        </p:spPr>
        <p:style>
          <a:lnRef idx="1">
            <a:schemeClr val="accent1"/>
          </a:lnRef>
          <a:fillRef idx="0">
            <a:schemeClr val="accent1"/>
          </a:fillRef>
          <a:effectRef idx="0">
            <a:schemeClr val="accent1"/>
          </a:effectRef>
          <a:fontRef idx="minor">
            <a:schemeClr val="tx1"/>
          </a:fontRef>
        </p:style>
      </p:cxnSp>
      <p:cxnSp>
        <p:nvCxnSpPr>
          <p:cNvPr id="8" name="Straight Arrow Connector 7"/>
          <p:cNvCxnSpPr/>
          <p:nvPr/>
        </p:nvCxnSpPr>
        <p:spPr>
          <a:xfrm rot="10800000" flipV="1">
            <a:off x="4985669" y="4110464"/>
            <a:ext cx="0" cy="216024"/>
          </a:xfrm>
          <a:prstGeom prst="straightConnector1">
            <a:avLst/>
          </a:prstGeom>
          <a:ln w="19050">
            <a:solidFill>
              <a:srgbClr val="FF0000"/>
            </a:solidFill>
            <a:headEnd type="none" w="med" len="med"/>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563262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ctr">
            <a:normAutofit/>
          </a:bodyPr>
          <a:lstStyle/>
          <a:p>
            <a:r>
              <a:rPr lang="lv-LV" dirty="0"/>
              <a:t>Inspektoru profesionalitātes novērtējums</a:t>
            </a:r>
          </a:p>
        </p:txBody>
      </p:sp>
      <p:graphicFrame>
        <p:nvGraphicFramePr>
          <p:cNvPr id="3" name="Chart 2"/>
          <p:cNvGraphicFramePr/>
          <p:nvPr>
            <p:extLst>
              <p:ext uri="{D42A27DB-BD31-4B8C-83A1-F6EECF244321}">
                <p14:modId xmlns:p14="http://schemas.microsoft.com/office/powerpoint/2010/main" val="3450724289"/>
              </p:ext>
            </p:extLst>
          </p:nvPr>
        </p:nvGraphicFramePr>
        <p:xfrm>
          <a:off x="0" y="1413164"/>
          <a:ext cx="10590068" cy="4560124"/>
        </p:xfrm>
        <a:graphic>
          <a:graphicData uri="http://schemas.openxmlformats.org/drawingml/2006/chart">
            <c:chart xmlns:c="http://schemas.openxmlformats.org/drawingml/2006/chart" xmlns:r="http://schemas.openxmlformats.org/officeDocument/2006/relationships" r:id="rId2"/>
          </a:graphicData>
        </a:graphic>
      </p:graphicFrame>
      <p:sp>
        <p:nvSpPr>
          <p:cNvPr id="6" name="Text Placeholder 5"/>
          <p:cNvSpPr txBox="1">
            <a:spLocks/>
          </p:cNvSpPr>
          <p:nvPr/>
        </p:nvSpPr>
        <p:spPr>
          <a:xfrm>
            <a:off x="133350" y="5973288"/>
            <a:ext cx="11925299" cy="485209"/>
          </a:xfrm>
          <a:prstGeom prst="rect">
            <a:avLst/>
          </a:prstGeom>
        </p:spPr>
        <p:txBody>
          <a:bodyPr vert="horz" lIns="91440" tIns="45720" rIns="91440" bIns="45720" rtlCol="0" anchor="b" anchorCtr="0">
            <a:noAutofit/>
          </a:bodyPr>
          <a:lstStyle>
            <a:lvl1pPr marL="0" indent="0" algn="l" defTabSz="914400" rtl="0" eaLnBrk="1" latinLnBrk="0" hangingPunct="1">
              <a:lnSpc>
                <a:spcPct val="100000"/>
              </a:lnSpc>
              <a:spcBef>
                <a:spcPts val="0"/>
              </a:spcBef>
              <a:buSzPct val="50000"/>
              <a:buFont typeface="Wingdings" panose="05000000000000000000" pitchFamily="2" charset="2"/>
              <a:buNone/>
              <a:defRPr sz="1200" i="0" kern="1200" baseline="0">
                <a:solidFill>
                  <a:schemeClr val="bg1">
                    <a:lumMod val="50000"/>
                  </a:schemeClr>
                </a:solidFill>
                <a:latin typeface="+mj-lt"/>
                <a:ea typeface="+mn-ea"/>
                <a:cs typeface="+mn-cs"/>
              </a:defRPr>
            </a:lvl1pPr>
            <a:lvl2pPr marL="685800" indent="-228600" algn="l" defTabSz="914400" rtl="0" eaLnBrk="1" latinLnBrk="0" hangingPunct="1">
              <a:lnSpc>
                <a:spcPct val="90000"/>
              </a:lnSpc>
              <a:spcBef>
                <a:spcPts val="500"/>
              </a:spcBef>
              <a:buSzPct val="50000"/>
              <a:buFont typeface="Wingdings" panose="05000000000000000000" pitchFamily="2" charset="2"/>
              <a:buChar char="§"/>
              <a:defRPr sz="1200" kern="1200">
                <a:solidFill>
                  <a:schemeClr val="bg1">
                    <a:lumMod val="50000"/>
                  </a:schemeClr>
                </a:solidFill>
                <a:latin typeface="+mj-lt"/>
                <a:ea typeface="+mn-ea"/>
                <a:cs typeface="+mn-cs"/>
              </a:defRPr>
            </a:lvl2pPr>
            <a:lvl3pPr marL="1143000" indent="-228600" algn="l" defTabSz="914400" rtl="0" eaLnBrk="1" latinLnBrk="0" hangingPunct="1">
              <a:lnSpc>
                <a:spcPct val="90000"/>
              </a:lnSpc>
              <a:spcBef>
                <a:spcPts val="500"/>
              </a:spcBef>
              <a:buSzPct val="50000"/>
              <a:buFont typeface="Wingdings" panose="05000000000000000000" pitchFamily="2" charset="2"/>
              <a:buChar char="§"/>
              <a:defRPr sz="1200" kern="1200">
                <a:solidFill>
                  <a:schemeClr val="bg1">
                    <a:lumMod val="50000"/>
                  </a:schemeClr>
                </a:solidFill>
                <a:latin typeface="+mj-lt"/>
                <a:ea typeface="+mn-ea"/>
                <a:cs typeface="+mn-cs"/>
              </a:defRPr>
            </a:lvl3pPr>
            <a:lvl4pPr marL="1600200" indent="-228600" algn="l" defTabSz="914400" rtl="0" eaLnBrk="1" latinLnBrk="0" hangingPunct="1">
              <a:lnSpc>
                <a:spcPct val="90000"/>
              </a:lnSpc>
              <a:spcBef>
                <a:spcPts val="500"/>
              </a:spcBef>
              <a:buSzPct val="50000"/>
              <a:buFont typeface="Wingdings" panose="05000000000000000000" pitchFamily="2" charset="2"/>
              <a:buChar char="§"/>
              <a:defRPr sz="1200" kern="1200">
                <a:solidFill>
                  <a:schemeClr val="bg1">
                    <a:lumMod val="50000"/>
                  </a:schemeClr>
                </a:solidFill>
                <a:latin typeface="+mj-lt"/>
                <a:ea typeface="+mn-ea"/>
                <a:cs typeface="+mn-cs"/>
              </a:defRPr>
            </a:lvl4pPr>
            <a:lvl5pPr marL="2057400" indent="-228600" algn="l" defTabSz="914400" rtl="0" eaLnBrk="1" latinLnBrk="0" hangingPunct="1">
              <a:lnSpc>
                <a:spcPct val="90000"/>
              </a:lnSpc>
              <a:spcBef>
                <a:spcPts val="500"/>
              </a:spcBef>
              <a:buSzPct val="50000"/>
              <a:buFont typeface="Wingdings" panose="05000000000000000000" pitchFamily="2" charset="2"/>
              <a:buChar char="§"/>
              <a:defRPr sz="1200" kern="1200">
                <a:solidFill>
                  <a:schemeClr val="bg1">
                    <a:lumMod val="50000"/>
                  </a:schemeClr>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r>
              <a:rPr lang="lv-LV" sz="1000" dirty="0">
                <a:solidFill>
                  <a:sysClr val="window" lastClr="FFFFFF">
                    <a:lumMod val="50000"/>
                  </a:sysClr>
                </a:solidFill>
                <a:latin typeface="Calibri"/>
              </a:rPr>
              <a:t>Q08. Tagad, lūdzu, novērtējiet Valsts vides dienesta inspektoru darbu, kas 2020. gadā veica pārbaudi pie Jums. Cik apmierināts esat ar ...?</a:t>
            </a:r>
          </a:p>
          <a:p>
            <a:pPr lvl="0"/>
            <a:r>
              <a:rPr lang="lv-LV" sz="1000" dirty="0">
                <a:solidFill>
                  <a:sysClr val="window" lastClr="FFFFFF">
                    <a:lumMod val="50000"/>
                  </a:sysClr>
                </a:solidFill>
                <a:latin typeface="Calibri"/>
              </a:rPr>
              <a:t>Bāze: visi respondenti</a:t>
            </a:r>
            <a:r>
              <a:rPr lang="en-US" sz="1000" dirty="0">
                <a:solidFill>
                  <a:sysClr val="window" lastClr="FFFFFF">
                    <a:lumMod val="50000"/>
                  </a:sysClr>
                </a:solidFill>
                <a:latin typeface="Calibri"/>
              </a:rPr>
              <a:t>, `n` </a:t>
            </a:r>
            <a:r>
              <a:rPr lang="en-US" sz="1000" dirty="0" err="1">
                <a:solidFill>
                  <a:sysClr val="window" lastClr="FFFFFF">
                    <a:lumMod val="50000"/>
                  </a:sysClr>
                </a:solidFill>
                <a:latin typeface="Calibri"/>
              </a:rPr>
              <a:t>skat</a:t>
            </a:r>
            <a:r>
              <a:rPr lang="lv-LV" sz="1000" dirty="0" err="1">
                <a:solidFill>
                  <a:sysClr val="window" lastClr="FFFFFF">
                    <a:lumMod val="50000"/>
                  </a:sysClr>
                </a:solidFill>
                <a:latin typeface="Calibri"/>
              </a:rPr>
              <a:t>īt</a:t>
            </a:r>
            <a:r>
              <a:rPr lang="lv-LV" sz="1000" dirty="0">
                <a:solidFill>
                  <a:sysClr val="window" lastClr="FFFFFF">
                    <a:lumMod val="50000"/>
                  </a:sysClr>
                </a:solidFill>
                <a:latin typeface="Calibri"/>
              </a:rPr>
              <a:t> grafikā</a:t>
            </a:r>
          </a:p>
        </p:txBody>
      </p:sp>
      <p:cxnSp>
        <p:nvCxnSpPr>
          <p:cNvPr id="5" name="Straight Arrow Connector 4"/>
          <p:cNvCxnSpPr/>
          <p:nvPr/>
        </p:nvCxnSpPr>
        <p:spPr>
          <a:xfrm flipV="1">
            <a:off x="8667285" y="4132207"/>
            <a:ext cx="0" cy="216024"/>
          </a:xfrm>
          <a:prstGeom prst="straightConnector1">
            <a:avLst/>
          </a:prstGeom>
          <a:ln w="19050">
            <a:solidFill>
              <a:srgbClr val="1B7F24"/>
            </a:solidFill>
            <a:headEnd type="none" w="med" len="med"/>
            <a:tailEnd type="arrow"/>
          </a:ln>
        </p:spPr>
        <p:style>
          <a:lnRef idx="1">
            <a:schemeClr val="accent1"/>
          </a:lnRef>
          <a:fillRef idx="0">
            <a:schemeClr val="accent1"/>
          </a:fillRef>
          <a:effectRef idx="0">
            <a:schemeClr val="accent1"/>
          </a:effectRef>
          <a:fontRef idx="minor">
            <a:schemeClr val="tx1"/>
          </a:fontRef>
        </p:style>
      </p:cxnSp>
      <p:cxnSp>
        <p:nvCxnSpPr>
          <p:cNvPr id="7" name="Straight Arrow Connector 6"/>
          <p:cNvCxnSpPr/>
          <p:nvPr/>
        </p:nvCxnSpPr>
        <p:spPr>
          <a:xfrm rot="10800000" flipV="1">
            <a:off x="9521839" y="3178428"/>
            <a:ext cx="0" cy="216024"/>
          </a:xfrm>
          <a:prstGeom prst="straightConnector1">
            <a:avLst/>
          </a:prstGeom>
          <a:ln w="19050">
            <a:solidFill>
              <a:srgbClr val="C00000"/>
            </a:solidFill>
            <a:headEnd type="none" w="med" len="med"/>
            <a:tailEnd type="arrow"/>
          </a:ln>
        </p:spPr>
        <p:style>
          <a:lnRef idx="1">
            <a:schemeClr val="accent1"/>
          </a:lnRef>
          <a:fillRef idx="0">
            <a:schemeClr val="accent1"/>
          </a:fillRef>
          <a:effectRef idx="0">
            <a:schemeClr val="accent1"/>
          </a:effectRef>
          <a:fontRef idx="minor">
            <a:schemeClr val="tx1"/>
          </a:fontRef>
        </p:style>
      </p:cxnSp>
      <p:cxnSp>
        <p:nvCxnSpPr>
          <p:cNvPr id="8" name="Straight Arrow Connector 7"/>
          <p:cNvCxnSpPr/>
          <p:nvPr/>
        </p:nvCxnSpPr>
        <p:spPr>
          <a:xfrm rot="10800000" flipV="1">
            <a:off x="5098414" y="4132207"/>
            <a:ext cx="0" cy="216024"/>
          </a:xfrm>
          <a:prstGeom prst="straightConnector1">
            <a:avLst/>
          </a:prstGeom>
          <a:ln w="19050">
            <a:solidFill>
              <a:srgbClr val="FF0000"/>
            </a:solidFill>
            <a:headEnd type="none" w="med" len="med"/>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6602477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ctr">
            <a:normAutofit/>
          </a:bodyPr>
          <a:lstStyle/>
          <a:p>
            <a:r>
              <a:rPr lang="lv-LV" dirty="0"/>
              <a:t>Inspektoru darba kvalitātes novērtējums</a:t>
            </a:r>
          </a:p>
        </p:txBody>
      </p:sp>
      <p:graphicFrame>
        <p:nvGraphicFramePr>
          <p:cNvPr id="3" name="Chart 2"/>
          <p:cNvGraphicFramePr/>
          <p:nvPr>
            <p:extLst>
              <p:ext uri="{D42A27DB-BD31-4B8C-83A1-F6EECF244321}">
                <p14:modId xmlns:p14="http://schemas.microsoft.com/office/powerpoint/2010/main" val="643337255"/>
              </p:ext>
            </p:extLst>
          </p:nvPr>
        </p:nvGraphicFramePr>
        <p:xfrm>
          <a:off x="0" y="1433945"/>
          <a:ext cx="10631632" cy="4539343"/>
        </p:xfrm>
        <a:graphic>
          <a:graphicData uri="http://schemas.openxmlformats.org/drawingml/2006/chart">
            <c:chart xmlns:c="http://schemas.openxmlformats.org/drawingml/2006/chart" xmlns:r="http://schemas.openxmlformats.org/officeDocument/2006/relationships" r:id="rId2"/>
          </a:graphicData>
        </a:graphic>
      </p:graphicFrame>
      <p:sp>
        <p:nvSpPr>
          <p:cNvPr id="6" name="Text Placeholder 5"/>
          <p:cNvSpPr txBox="1">
            <a:spLocks/>
          </p:cNvSpPr>
          <p:nvPr/>
        </p:nvSpPr>
        <p:spPr>
          <a:xfrm>
            <a:off x="133350" y="5973288"/>
            <a:ext cx="11925299" cy="485209"/>
          </a:xfrm>
          <a:prstGeom prst="rect">
            <a:avLst/>
          </a:prstGeom>
        </p:spPr>
        <p:txBody>
          <a:bodyPr vert="horz" lIns="91440" tIns="45720" rIns="91440" bIns="45720" rtlCol="0" anchor="b" anchorCtr="0">
            <a:noAutofit/>
          </a:bodyPr>
          <a:lstStyle>
            <a:lvl1pPr marL="0" indent="0" algn="l" defTabSz="914400" rtl="0" eaLnBrk="1" latinLnBrk="0" hangingPunct="1">
              <a:lnSpc>
                <a:spcPct val="100000"/>
              </a:lnSpc>
              <a:spcBef>
                <a:spcPts val="0"/>
              </a:spcBef>
              <a:buSzPct val="50000"/>
              <a:buFont typeface="Wingdings" panose="05000000000000000000" pitchFamily="2" charset="2"/>
              <a:buNone/>
              <a:defRPr sz="1200" i="0" kern="1200" baseline="0">
                <a:solidFill>
                  <a:schemeClr val="bg1">
                    <a:lumMod val="50000"/>
                  </a:schemeClr>
                </a:solidFill>
                <a:latin typeface="+mj-lt"/>
                <a:ea typeface="+mn-ea"/>
                <a:cs typeface="+mn-cs"/>
              </a:defRPr>
            </a:lvl1pPr>
            <a:lvl2pPr marL="685800" indent="-228600" algn="l" defTabSz="914400" rtl="0" eaLnBrk="1" latinLnBrk="0" hangingPunct="1">
              <a:lnSpc>
                <a:spcPct val="90000"/>
              </a:lnSpc>
              <a:spcBef>
                <a:spcPts val="500"/>
              </a:spcBef>
              <a:buSzPct val="50000"/>
              <a:buFont typeface="Wingdings" panose="05000000000000000000" pitchFamily="2" charset="2"/>
              <a:buChar char="§"/>
              <a:defRPr sz="1200" kern="1200">
                <a:solidFill>
                  <a:schemeClr val="bg1">
                    <a:lumMod val="50000"/>
                  </a:schemeClr>
                </a:solidFill>
                <a:latin typeface="+mj-lt"/>
                <a:ea typeface="+mn-ea"/>
                <a:cs typeface="+mn-cs"/>
              </a:defRPr>
            </a:lvl2pPr>
            <a:lvl3pPr marL="1143000" indent="-228600" algn="l" defTabSz="914400" rtl="0" eaLnBrk="1" latinLnBrk="0" hangingPunct="1">
              <a:lnSpc>
                <a:spcPct val="90000"/>
              </a:lnSpc>
              <a:spcBef>
                <a:spcPts val="500"/>
              </a:spcBef>
              <a:buSzPct val="50000"/>
              <a:buFont typeface="Wingdings" panose="05000000000000000000" pitchFamily="2" charset="2"/>
              <a:buChar char="§"/>
              <a:defRPr sz="1200" kern="1200">
                <a:solidFill>
                  <a:schemeClr val="bg1">
                    <a:lumMod val="50000"/>
                  </a:schemeClr>
                </a:solidFill>
                <a:latin typeface="+mj-lt"/>
                <a:ea typeface="+mn-ea"/>
                <a:cs typeface="+mn-cs"/>
              </a:defRPr>
            </a:lvl3pPr>
            <a:lvl4pPr marL="1600200" indent="-228600" algn="l" defTabSz="914400" rtl="0" eaLnBrk="1" latinLnBrk="0" hangingPunct="1">
              <a:lnSpc>
                <a:spcPct val="90000"/>
              </a:lnSpc>
              <a:spcBef>
                <a:spcPts val="500"/>
              </a:spcBef>
              <a:buSzPct val="50000"/>
              <a:buFont typeface="Wingdings" panose="05000000000000000000" pitchFamily="2" charset="2"/>
              <a:buChar char="§"/>
              <a:defRPr sz="1200" kern="1200">
                <a:solidFill>
                  <a:schemeClr val="bg1">
                    <a:lumMod val="50000"/>
                  </a:schemeClr>
                </a:solidFill>
                <a:latin typeface="+mj-lt"/>
                <a:ea typeface="+mn-ea"/>
                <a:cs typeface="+mn-cs"/>
              </a:defRPr>
            </a:lvl4pPr>
            <a:lvl5pPr marL="2057400" indent="-228600" algn="l" defTabSz="914400" rtl="0" eaLnBrk="1" latinLnBrk="0" hangingPunct="1">
              <a:lnSpc>
                <a:spcPct val="90000"/>
              </a:lnSpc>
              <a:spcBef>
                <a:spcPts val="500"/>
              </a:spcBef>
              <a:buSzPct val="50000"/>
              <a:buFont typeface="Wingdings" panose="05000000000000000000" pitchFamily="2" charset="2"/>
              <a:buChar char="§"/>
              <a:defRPr sz="1200" kern="1200">
                <a:solidFill>
                  <a:schemeClr val="bg1">
                    <a:lumMod val="50000"/>
                  </a:schemeClr>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r>
              <a:rPr lang="lv-LV" sz="1000" dirty="0">
                <a:solidFill>
                  <a:sysClr val="window" lastClr="FFFFFF">
                    <a:lumMod val="50000"/>
                  </a:sysClr>
                </a:solidFill>
                <a:latin typeface="Calibri"/>
              </a:rPr>
              <a:t>Q08. Tagad, lūdzu, novērtējiet Valsts vides dienesta inspektoru darbu, kas 2020. gadā veica pārbaudi pie Jums. Cik apmierināts esat ar ...?</a:t>
            </a:r>
          </a:p>
          <a:p>
            <a:pPr lvl="0"/>
            <a:r>
              <a:rPr lang="lv-LV" sz="1000" dirty="0">
                <a:solidFill>
                  <a:sysClr val="window" lastClr="FFFFFF">
                    <a:lumMod val="50000"/>
                  </a:sysClr>
                </a:solidFill>
                <a:latin typeface="Calibri"/>
              </a:rPr>
              <a:t>Bāze: visi respondenti</a:t>
            </a:r>
            <a:r>
              <a:rPr lang="en-US" sz="1000" dirty="0">
                <a:solidFill>
                  <a:sysClr val="window" lastClr="FFFFFF">
                    <a:lumMod val="50000"/>
                  </a:sysClr>
                </a:solidFill>
                <a:latin typeface="Calibri"/>
              </a:rPr>
              <a:t>, `n` </a:t>
            </a:r>
            <a:r>
              <a:rPr lang="en-US" sz="1000" dirty="0" err="1">
                <a:solidFill>
                  <a:sysClr val="window" lastClr="FFFFFF">
                    <a:lumMod val="50000"/>
                  </a:sysClr>
                </a:solidFill>
                <a:latin typeface="Calibri"/>
              </a:rPr>
              <a:t>skat</a:t>
            </a:r>
            <a:r>
              <a:rPr lang="lv-LV" sz="1000" dirty="0" err="1">
                <a:solidFill>
                  <a:sysClr val="window" lastClr="FFFFFF">
                    <a:lumMod val="50000"/>
                  </a:sysClr>
                </a:solidFill>
                <a:latin typeface="Calibri"/>
              </a:rPr>
              <a:t>īt</a:t>
            </a:r>
            <a:r>
              <a:rPr lang="lv-LV" sz="1000" dirty="0">
                <a:solidFill>
                  <a:sysClr val="window" lastClr="FFFFFF">
                    <a:lumMod val="50000"/>
                  </a:sysClr>
                </a:solidFill>
                <a:latin typeface="Calibri"/>
              </a:rPr>
              <a:t> grafikā</a:t>
            </a:r>
          </a:p>
        </p:txBody>
      </p:sp>
      <p:cxnSp>
        <p:nvCxnSpPr>
          <p:cNvPr id="5" name="Straight Arrow Connector 4"/>
          <p:cNvCxnSpPr/>
          <p:nvPr/>
        </p:nvCxnSpPr>
        <p:spPr>
          <a:xfrm flipV="1">
            <a:off x="8568193" y="4128542"/>
            <a:ext cx="0" cy="216024"/>
          </a:xfrm>
          <a:prstGeom prst="straightConnector1">
            <a:avLst/>
          </a:prstGeom>
          <a:ln w="19050">
            <a:solidFill>
              <a:srgbClr val="1B7F24"/>
            </a:solidFill>
            <a:headEnd type="none" w="med" len="med"/>
            <a:tailEnd type="arrow"/>
          </a:ln>
        </p:spPr>
        <p:style>
          <a:lnRef idx="1">
            <a:schemeClr val="accent1"/>
          </a:lnRef>
          <a:fillRef idx="0">
            <a:schemeClr val="accent1"/>
          </a:fillRef>
          <a:effectRef idx="0">
            <a:schemeClr val="accent1"/>
          </a:effectRef>
          <a:fontRef idx="minor">
            <a:schemeClr val="tx1"/>
          </a:fontRef>
        </p:style>
      </p:cxnSp>
      <p:cxnSp>
        <p:nvCxnSpPr>
          <p:cNvPr id="7" name="Straight Arrow Connector 6"/>
          <p:cNvCxnSpPr/>
          <p:nvPr/>
        </p:nvCxnSpPr>
        <p:spPr>
          <a:xfrm rot="10800000" flipV="1">
            <a:off x="9524171" y="3206713"/>
            <a:ext cx="0" cy="216024"/>
          </a:xfrm>
          <a:prstGeom prst="straightConnector1">
            <a:avLst/>
          </a:prstGeom>
          <a:ln w="19050">
            <a:solidFill>
              <a:srgbClr val="C00000"/>
            </a:solidFill>
            <a:headEnd type="none" w="med" len="med"/>
            <a:tailEnd type="arrow"/>
          </a:ln>
        </p:spPr>
        <p:style>
          <a:lnRef idx="1">
            <a:schemeClr val="accent1"/>
          </a:lnRef>
          <a:fillRef idx="0">
            <a:schemeClr val="accent1"/>
          </a:fillRef>
          <a:effectRef idx="0">
            <a:schemeClr val="accent1"/>
          </a:effectRef>
          <a:fontRef idx="minor">
            <a:schemeClr val="tx1"/>
          </a:fontRef>
        </p:style>
      </p:cxnSp>
      <p:cxnSp>
        <p:nvCxnSpPr>
          <p:cNvPr id="8" name="Straight Arrow Connector 7"/>
          <p:cNvCxnSpPr/>
          <p:nvPr/>
        </p:nvCxnSpPr>
        <p:spPr>
          <a:xfrm rot="10800000" flipV="1">
            <a:off x="5183270" y="4139710"/>
            <a:ext cx="0" cy="216024"/>
          </a:xfrm>
          <a:prstGeom prst="straightConnector1">
            <a:avLst/>
          </a:prstGeom>
          <a:ln w="19050">
            <a:solidFill>
              <a:srgbClr val="FF0000"/>
            </a:solidFill>
            <a:headEnd type="none" w="med" len="med"/>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5257521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ctr">
            <a:normAutofit fontScale="90000"/>
          </a:bodyPr>
          <a:lstStyle/>
          <a:p>
            <a:r>
              <a:rPr lang="lv-LV" dirty="0"/>
              <a:t>Inspektoru sniegtās informācijas par pārbaudes mērķiem un norisi novērtējums</a:t>
            </a:r>
          </a:p>
        </p:txBody>
      </p:sp>
      <p:graphicFrame>
        <p:nvGraphicFramePr>
          <p:cNvPr id="3" name="Chart 2"/>
          <p:cNvGraphicFramePr/>
          <p:nvPr>
            <p:extLst>
              <p:ext uri="{D42A27DB-BD31-4B8C-83A1-F6EECF244321}">
                <p14:modId xmlns:p14="http://schemas.microsoft.com/office/powerpoint/2010/main" val="1325276772"/>
              </p:ext>
            </p:extLst>
          </p:nvPr>
        </p:nvGraphicFramePr>
        <p:xfrm>
          <a:off x="-178377" y="1309255"/>
          <a:ext cx="10822034" cy="4570515"/>
        </p:xfrm>
        <a:graphic>
          <a:graphicData uri="http://schemas.openxmlformats.org/drawingml/2006/chart">
            <c:chart xmlns:c="http://schemas.openxmlformats.org/drawingml/2006/chart" xmlns:r="http://schemas.openxmlformats.org/officeDocument/2006/relationships" r:id="rId2"/>
          </a:graphicData>
        </a:graphic>
      </p:graphicFrame>
      <p:sp>
        <p:nvSpPr>
          <p:cNvPr id="6" name="Text Placeholder 5"/>
          <p:cNvSpPr txBox="1">
            <a:spLocks/>
          </p:cNvSpPr>
          <p:nvPr/>
        </p:nvSpPr>
        <p:spPr>
          <a:xfrm>
            <a:off x="133350" y="5973288"/>
            <a:ext cx="11925299" cy="485209"/>
          </a:xfrm>
          <a:prstGeom prst="rect">
            <a:avLst/>
          </a:prstGeom>
        </p:spPr>
        <p:txBody>
          <a:bodyPr vert="horz" lIns="91440" tIns="45720" rIns="91440" bIns="45720" rtlCol="0" anchor="b" anchorCtr="0">
            <a:noAutofit/>
          </a:bodyPr>
          <a:lstStyle>
            <a:lvl1pPr marL="0" indent="0" algn="l" defTabSz="914400" rtl="0" eaLnBrk="1" latinLnBrk="0" hangingPunct="1">
              <a:lnSpc>
                <a:spcPct val="100000"/>
              </a:lnSpc>
              <a:spcBef>
                <a:spcPts val="0"/>
              </a:spcBef>
              <a:buSzPct val="50000"/>
              <a:buFont typeface="Wingdings" panose="05000000000000000000" pitchFamily="2" charset="2"/>
              <a:buNone/>
              <a:defRPr sz="1200" i="0" kern="1200" baseline="0">
                <a:solidFill>
                  <a:schemeClr val="bg1">
                    <a:lumMod val="50000"/>
                  </a:schemeClr>
                </a:solidFill>
                <a:latin typeface="+mj-lt"/>
                <a:ea typeface="+mn-ea"/>
                <a:cs typeface="+mn-cs"/>
              </a:defRPr>
            </a:lvl1pPr>
            <a:lvl2pPr marL="685800" indent="-228600" algn="l" defTabSz="914400" rtl="0" eaLnBrk="1" latinLnBrk="0" hangingPunct="1">
              <a:lnSpc>
                <a:spcPct val="90000"/>
              </a:lnSpc>
              <a:spcBef>
                <a:spcPts val="500"/>
              </a:spcBef>
              <a:buSzPct val="50000"/>
              <a:buFont typeface="Wingdings" panose="05000000000000000000" pitchFamily="2" charset="2"/>
              <a:buChar char="§"/>
              <a:defRPr sz="1200" kern="1200">
                <a:solidFill>
                  <a:schemeClr val="bg1">
                    <a:lumMod val="50000"/>
                  </a:schemeClr>
                </a:solidFill>
                <a:latin typeface="+mj-lt"/>
                <a:ea typeface="+mn-ea"/>
                <a:cs typeface="+mn-cs"/>
              </a:defRPr>
            </a:lvl2pPr>
            <a:lvl3pPr marL="1143000" indent="-228600" algn="l" defTabSz="914400" rtl="0" eaLnBrk="1" latinLnBrk="0" hangingPunct="1">
              <a:lnSpc>
                <a:spcPct val="90000"/>
              </a:lnSpc>
              <a:spcBef>
                <a:spcPts val="500"/>
              </a:spcBef>
              <a:buSzPct val="50000"/>
              <a:buFont typeface="Wingdings" panose="05000000000000000000" pitchFamily="2" charset="2"/>
              <a:buChar char="§"/>
              <a:defRPr sz="1200" kern="1200">
                <a:solidFill>
                  <a:schemeClr val="bg1">
                    <a:lumMod val="50000"/>
                  </a:schemeClr>
                </a:solidFill>
                <a:latin typeface="+mj-lt"/>
                <a:ea typeface="+mn-ea"/>
                <a:cs typeface="+mn-cs"/>
              </a:defRPr>
            </a:lvl3pPr>
            <a:lvl4pPr marL="1600200" indent="-228600" algn="l" defTabSz="914400" rtl="0" eaLnBrk="1" latinLnBrk="0" hangingPunct="1">
              <a:lnSpc>
                <a:spcPct val="90000"/>
              </a:lnSpc>
              <a:spcBef>
                <a:spcPts val="500"/>
              </a:spcBef>
              <a:buSzPct val="50000"/>
              <a:buFont typeface="Wingdings" panose="05000000000000000000" pitchFamily="2" charset="2"/>
              <a:buChar char="§"/>
              <a:defRPr sz="1200" kern="1200">
                <a:solidFill>
                  <a:schemeClr val="bg1">
                    <a:lumMod val="50000"/>
                  </a:schemeClr>
                </a:solidFill>
                <a:latin typeface="+mj-lt"/>
                <a:ea typeface="+mn-ea"/>
                <a:cs typeface="+mn-cs"/>
              </a:defRPr>
            </a:lvl4pPr>
            <a:lvl5pPr marL="2057400" indent="-228600" algn="l" defTabSz="914400" rtl="0" eaLnBrk="1" latinLnBrk="0" hangingPunct="1">
              <a:lnSpc>
                <a:spcPct val="90000"/>
              </a:lnSpc>
              <a:spcBef>
                <a:spcPts val="500"/>
              </a:spcBef>
              <a:buSzPct val="50000"/>
              <a:buFont typeface="Wingdings" panose="05000000000000000000" pitchFamily="2" charset="2"/>
              <a:buChar char="§"/>
              <a:defRPr sz="1200" kern="1200">
                <a:solidFill>
                  <a:schemeClr val="bg1">
                    <a:lumMod val="50000"/>
                  </a:schemeClr>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r>
              <a:rPr lang="lv-LV" sz="1000" dirty="0">
                <a:solidFill>
                  <a:sysClr val="window" lastClr="FFFFFF">
                    <a:lumMod val="50000"/>
                  </a:sysClr>
                </a:solidFill>
                <a:latin typeface="Calibri"/>
              </a:rPr>
              <a:t>Q08. Tagad, lūdzu, novērtējiet Valsts vides dienesta inspektoru darbu, kas 2020. gadā veica pārbaudi pie Jums. Cik apmierināts esat ar ...?</a:t>
            </a:r>
          </a:p>
          <a:p>
            <a:pPr lvl="0"/>
            <a:r>
              <a:rPr lang="lv-LV" sz="1000" dirty="0">
                <a:solidFill>
                  <a:sysClr val="window" lastClr="FFFFFF">
                    <a:lumMod val="50000"/>
                  </a:sysClr>
                </a:solidFill>
                <a:latin typeface="Calibri"/>
              </a:rPr>
              <a:t>Bāze: visi respondenti</a:t>
            </a:r>
            <a:r>
              <a:rPr lang="en-US" sz="1000" dirty="0">
                <a:solidFill>
                  <a:sysClr val="window" lastClr="FFFFFF">
                    <a:lumMod val="50000"/>
                  </a:sysClr>
                </a:solidFill>
                <a:latin typeface="Calibri"/>
              </a:rPr>
              <a:t>, `n` </a:t>
            </a:r>
            <a:r>
              <a:rPr lang="en-US" sz="1000" dirty="0" err="1">
                <a:solidFill>
                  <a:sysClr val="window" lastClr="FFFFFF">
                    <a:lumMod val="50000"/>
                  </a:sysClr>
                </a:solidFill>
                <a:latin typeface="Calibri"/>
              </a:rPr>
              <a:t>skat</a:t>
            </a:r>
            <a:r>
              <a:rPr lang="lv-LV" sz="1000" dirty="0" err="1">
                <a:solidFill>
                  <a:sysClr val="window" lastClr="FFFFFF">
                    <a:lumMod val="50000"/>
                  </a:sysClr>
                </a:solidFill>
                <a:latin typeface="Calibri"/>
              </a:rPr>
              <a:t>īt</a:t>
            </a:r>
            <a:r>
              <a:rPr lang="lv-LV" sz="1000" dirty="0">
                <a:solidFill>
                  <a:sysClr val="window" lastClr="FFFFFF">
                    <a:lumMod val="50000"/>
                  </a:sysClr>
                </a:solidFill>
                <a:latin typeface="Calibri"/>
              </a:rPr>
              <a:t> grafikā</a:t>
            </a:r>
          </a:p>
        </p:txBody>
      </p:sp>
      <p:cxnSp>
        <p:nvCxnSpPr>
          <p:cNvPr id="5" name="Straight Arrow Connector 4"/>
          <p:cNvCxnSpPr/>
          <p:nvPr/>
        </p:nvCxnSpPr>
        <p:spPr>
          <a:xfrm flipV="1">
            <a:off x="5965252" y="4984757"/>
            <a:ext cx="0" cy="216024"/>
          </a:xfrm>
          <a:prstGeom prst="straightConnector1">
            <a:avLst/>
          </a:prstGeom>
          <a:ln w="19050">
            <a:solidFill>
              <a:srgbClr val="1B7F24"/>
            </a:solidFill>
            <a:headEnd type="none" w="med" len="med"/>
            <a:tailEnd type="arrow"/>
          </a:ln>
        </p:spPr>
        <p:style>
          <a:lnRef idx="1">
            <a:schemeClr val="accent1"/>
          </a:lnRef>
          <a:fillRef idx="0">
            <a:schemeClr val="accent1"/>
          </a:fillRef>
          <a:effectRef idx="0">
            <a:schemeClr val="accent1"/>
          </a:effectRef>
          <a:fontRef idx="minor">
            <a:schemeClr val="tx1"/>
          </a:fontRef>
        </p:style>
      </p:cxnSp>
      <p:cxnSp>
        <p:nvCxnSpPr>
          <p:cNvPr id="7" name="Straight Arrow Connector 6"/>
          <p:cNvCxnSpPr/>
          <p:nvPr/>
        </p:nvCxnSpPr>
        <p:spPr>
          <a:xfrm rot="10800000" flipV="1">
            <a:off x="9448932" y="3064132"/>
            <a:ext cx="0" cy="216024"/>
          </a:xfrm>
          <a:prstGeom prst="straightConnector1">
            <a:avLst/>
          </a:prstGeom>
          <a:ln w="19050">
            <a:solidFill>
              <a:srgbClr val="C00000"/>
            </a:solidFill>
            <a:headEnd type="none" w="med" len="med"/>
            <a:tailEnd type="arrow"/>
          </a:ln>
        </p:spPr>
        <p:style>
          <a:lnRef idx="1">
            <a:schemeClr val="accent1"/>
          </a:lnRef>
          <a:fillRef idx="0">
            <a:schemeClr val="accent1"/>
          </a:fillRef>
          <a:effectRef idx="0">
            <a:schemeClr val="accent1"/>
          </a:effectRef>
          <a:fontRef idx="minor">
            <a:schemeClr val="tx1"/>
          </a:fontRef>
        </p:style>
      </p:cxnSp>
      <p:cxnSp>
        <p:nvCxnSpPr>
          <p:cNvPr id="8" name="Straight Arrow Connector 7"/>
          <p:cNvCxnSpPr/>
          <p:nvPr/>
        </p:nvCxnSpPr>
        <p:spPr>
          <a:xfrm rot="10800000" flipV="1">
            <a:off x="5067046" y="4043724"/>
            <a:ext cx="0" cy="216024"/>
          </a:xfrm>
          <a:prstGeom prst="straightConnector1">
            <a:avLst/>
          </a:prstGeom>
          <a:ln w="19050">
            <a:solidFill>
              <a:srgbClr val="FF0000"/>
            </a:solidFill>
            <a:headEnd type="none" w="med" len="med"/>
            <a:tailEnd type="arrow"/>
          </a:ln>
        </p:spPr>
        <p:style>
          <a:lnRef idx="1">
            <a:schemeClr val="accent1"/>
          </a:lnRef>
          <a:fillRef idx="0">
            <a:schemeClr val="accent1"/>
          </a:fillRef>
          <a:effectRef idx="0">
            <a:schemeClr val="accent1"/>
          </a:effectRef>
          <a:fontRef idx="minor">
            <a:schemeClr val="tx1"/>
          </a:fontRef>
        </p:style>
      </p:cxnSp>
      <p:cxnSp>
        <p:nvCxnSpPr>
          <p:cNvPr id="9" name="Straight Arrow Connector 8"/>
          <p:cNvCxnSpPr/>
          <p:nvPr/>
        </p:nvCxnSpPr>
        <p:spPr>
          <a:xfrm flipV="1">
            <a:off x="8379290" y="4043724"/>
            <a:ext cx="0" cy="216024"/>
          </a:xfrm>
          <a:prstGeom prst="straightConnector1">
            <a:avLst/>
          </a:prstGeom>
          <a:ln w="19050">
            <a:solidFill>
              <a:srgbClr val="1B7F24"/>
            </a:solidFill>
            <a:headEnd type="none" w="med" len="med"/>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6566396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lv-LV" dirty="0"/>
              <a:t>Pārbaudes akta novērtējums</a:t>
            </a:r>
          </a:p>
        </p:txBody>
      </p:sp>
      <p:sp>
        <p:nvSpPr>
          <p:cNvPr id="3" name="Text Placeholder 2"/>
          <p:cNvSpPr>
            <a:spLocks noGrp="1"/>
          </p:cNvSpPr>
          <p:nvPr>
            <p:ph type="body" idx="1"/>
          </p:nvPr>
        </p:nvSpPr>
        <p:spPr/>
        <p:txBody>
          <a:bodyPr/>
          <a:lstStyle/>
          <a:p>
            <a:endParaRPr lang="lv-LV"/>
          </a:p>
        </p:txBody>
      </p:sp>
    </p:spTree>
    <p:extLst>
      <p:ext uri="{BB962C8B-B14F-4D97-AF65-F5344CB8AC3E}">
        <p14:creationId xmlns:p14="http://schemas.microsoft.com/office/powerpoint/2010/main" val="410324499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ctr">
            <a:normAutofit/>
          </a:bodyPr>
          <a:lstStyle/>
          <a:p>
            <a:r>
              <a:rPr lang="lv-LV" dirty="0"/>
              <a:t>Pārbaudes akta saņemšanas savlaicīguma novērtējums</a:t>
            </a:r>
          </a:p>
        </p:txBody>
      </p:sp>
      <p:graphicFrame>
        <p:nvGraphicFramePr>
          <p:cNvPr id="3" name="Chart 2"/>
          <p:cNvGraphicFramePr/>
          <p:nvPr>
            <p:extLst>
              <p:ext uri="{D42A27DB-BD31-4B8C-83A1-F6EECF244321}">
                <p14:modId xmlns:p14="http://schemas.microsoft.com/office/powerpoint/2010/main" val="3524652918"/>
              </p:ext>
            </p:extLst>
          </p:nvPr>
        </p:nvGraphicFramePr>
        <p:xfrm>
          <a:off x="133350" y="1527464"/>
          <a:ext cx="10642023" cy="4445824"/>
        </p:xfrm>
        <a:graphic>
          <a:graphicData uri="http://schemas.openxmlformats.org/drawingml/2006/chart">
            <c:chart xmlns:c="http://schemas.openxmlformats.org/drawingml/2006/chart" xmlns:r="http://schemas.openxmlformats.org/officeDocument/2006/relationships" r:id="rId2"/>
          </a:graphicData>
        </a:graphic>
      </p:graphicFrame>
      <p:sp>
        <p:nvSpPr>
          <p:cNvPr id="6" name="Text Placeholder 5"/>
          <p:cNvSpPr txBox="1">
            <a:spLocks/>
          </p:cNvSpPr>
          <p:nvPr/>
        </p:nvSpPr>
        <p:spPr>
          <a:xfrm>
            <a:off x="133350" y="5973288"/>
            <a:ext cx="11925299" cy="485209"/>
          </a:xfrm>
          <a:prstGeom prst="rect">
            <a:avLst/>
          </a:prstGeom>
        </p:spPr>
        <p:txBody>
          <a:bodyPr vert="horz" lIns="91440" tIns="45720" rIns="91440" bIns="45720" rtlCol="0" anchor="b" anchorCtr="0">
            <a:noAutofit/>
          </a:bodyPr>
          <a:lstStyle>
            <a:lvl1pPr marL="0" indent="0" algn="l" defTabSz="914400" rtl="0" eaLnBrk="1" latinLnBrk="0" hangingPunct="1">
              <a:lnSpc>
                <a:spcPct val="100000"/>
              </a:lnSpc>
              <a:spcBef>
                <a:spcPts val="0"/>
              </a:spcBef>
              <a:buSzPct val="50000"/>
              <a:buFont typeface="Wingdings" panose="05000000000000000000" pitchFamily="2" charset="2"/>
              <a:buNone/>
              <a:defRPr sz="1200" i="0" kern="1200" baseline="0">
                <a:solidFill>
                  <a:schemeClr val="bg1">
                    <a:lumMod val="50000"/>
                  </a:schemeClr>
                </a:solidFill>
                <a:latin typeface="+mj-lt"/>
                <a:ea typeface="+mn-ea"/>
                <a:cs typeface="+mn-cs"/>
              </a:defRPr>
            </a:lvl1pPr>
            <a:lvl2pPr marL="685800" indent="-228600" algn="l" defTabSz="914400" rtl="0" eaLnBrk="1" latinLnBrk="0" hangingPunct="1">
              <a:lnSpc>
                <a:spcPct val="90000"/>
              </a:lnSpc>
              <a:spcBef>
                <a:spcPts val="500"/>
              </a:spcBef>
              <a:buSzPct val="50000"/>
              <a:buFont typeface="Wingdings" panose="05000000000000000000" pitchFamily="2" charset="2"/>
              <a:buChar char="§"/>
              <a:defRPr sz="1200" kern="1200">
                <a:solidFill>
                  <a:schemeClr val="bg1">
                    <a:lumMod val="50000"/>
                  </a:schemeClr>
                </a:solidFill>
                <a:latin typeface="+mj-lt"/>
                <a:ea typeface="+mn-ea"/>
                <a:cs typeface="+mn-cs"/>
              </a:defRPr>
            </a:lvl2pPr>
            <a:lvl3pPr marL="1143000" indent="-228600" algn="l" defTabSz="914400" rtl="0" eaLnBrk="1" latinLnBrk="0" hangingPunct="1">
              <a:lnSpc>
                <a:spcPct val="90000"/>
              </a:lnSpc>
              <a:spcBef>
                <a:spcPts val="500"/>
              </a:spcBef>
              <a:buSzPct val="50000"/>
              <a:buFont typeface="Wingdings" panose="05000000000000000000" pitchFamily="2" charset="2"/>
              <a:buChar char="§"/>
              <a:defRPr sz="1200" kern="1200">
                <a:solidFill>
                  <a:schemeClr val="bg1">
                    <a:lumMod val="50000"/>
                  </a:schemeClr>
                </a:solidFill>
                <a:latin typeface="+mj-lt"/>
                <a:ea typeface="+mn-ea"/>
                <a:cs typeface="+mn-cs"/>
              </a:defRPr>
            </a:lvl3pPr>
            <a:lvl4pPr marL="1600200" indent="-228600" algn="l" defTabSz="914400" rtl="0" eaLnBrk="1" latinLnBrk="0" hangingPunct="1">
              <a:lnSpc>
                <a:spcPct val="90000"/>
              </a:lnSpc>
              <a:spcBef>
                <a:spcPts val="500"/>
              </a:spcBef>
              <a:buSzPct val="50000"/>
              <a:buFont typeface="Wingdings" panose="05000000000000000000" pitchFamily="2" charset="2"/>
              <a:buChar char="§"/>
              <a:defRPr sz="1200" kern="1200">
                <a:solidFill>
                  <a:schemeClr val="bg1">
                    <a:lumMod val="50000"/>
                  </a:schemeClr>
                </a:solidFill>
                <a:latin typeface="+mj-lt"/>
                <a:ea typeface="+mn-ea"/>
                <a:cs typeface="+mn-cs"/>
              </a:defRPr>
            </a:lvl4pPr>
            <a:lvl5pPr marL="2057400" indent="-228600" algn="l" defTabSz="914400" rtl="0" eaLnBrk="1" latinLnBrk="0" hangingPunct="1">
              <a:lnSpc>
                <a:spcPct val="90000"/>
              </a:lnSpc>
              <a:spcBef>
                <a:spcPts val="500"/>
              </a:spcBef>
              <a:buSzPct val="50000"/>
              <a:buFont typeface="Wingdings" panose="05000000000000000000" pitchFamily="2" charset="2"/>
              <a:buChar char="§"/>
              <a:defRPr sz="1200" kern="1200">
                <a:solidFill>
                  <a:schemeClr val="bg1">
                    <a:lumMod val="50000"/>
                  </a:schemeClr>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r>
              <a:rPr lang="lv-LV" sz="1000" dirty="0">
                <a:solidFill>
                  <a:sysClr val="window" lastClr="FFFFFF">
                    <a:lumMod val="50000"/>
                  </a:sysClr>
                </a:solidFill>
                <a:latin typeface="Calibri"/>
              </a:rPr>
              <a:t>Q09. Kā Jūs novērtētu inspekcijas rezultātā sagatavoto Pārbaudes aktu kvalitāti?</a:t>
            </a:r>
          </a:p>
          <a:p>
            <a:pPr lvl="0"/>
            <a:r>
              <a:rPr lang="lv-LV" sz="1000" dirty="0">
                <a:solidFill>
                  <a:sysClr val="window" lastClr="FFFFFF">
                    <a:lumMod val="50000"/>
                  </a:sysClr>
                </a:solidFill>
                <a:latin typeface="Calibri"/>
              </a:rPr>
              <a:t>Bāze: visi respondenti</a:t>
            </a:r>
            <a:r>
              <a:rPr lang="en-US" sz="1000" dirty="0">
                <a:solidFill>
                  <a:sysClr val="window" lastClr="FFFFFF">
                    <a:lumMod val="50000"/>
                  </a:sysClr>
                </a:solidFill>
                <a:latin typeface="Calibri"/>
              </a:rPr>
              <a:t>, `n` </a:t>
            </a:r>
            <a:r>
              <a:rPr lang="en-US" sz="1000" dirty="0" err="1">
                <a:solidFill>
                  <a:sysClr val="window" lastClr="FFFFFF">
                    <a:lumMod val="50000"/>
                  </a:sysClr>
                </a:solidFill>
                <a:latin typeface="Calibri"/>
              </a:rPr>
              <a:t>skat</a:t>
            </a:r>
            <a:r>
              <a:rPr lang="lv-LV" sz="1000" dirty="0" err="1">
                <a:solidFill>
                  <a:sysClr val="window" lastClr="FFFFFF">
                    <a:lumMod val="50000"/>
                  </a:sysClr>
                </a:solidFill>
                <a:latin typeface="Calibri"/>
              </a:rPr>
              <a:t>īt</a:t>
            </a:r>
            <a:r>
              <a:rPr lang="lv-LV" sz="1000" dirty="0">
                <a:solidFill>
                  <a:sysClr val="window" lastClr="FFFFFF">
                    <a:lumMod val="50000"/>
                  </a:sysClr>
                </a:solidFill>
                <a:latin typeface="Calibri"/>
              </a:rPr>
              <a:t> grafikā</a:t>
            </a:r>
          </a:p>
        </p:txBody>
      </p:sp>
      <p:cxnSp>
        <p:nvCxnSpPr>
          <p:cNvPr id="7" name="Straight Arrow Connector 6"/>
          <p:cNvCxnSpPr/>
          <p:nvPr/>
        </p:nvCxnSpPr>
        <p:spPr>
          <a:xfrm flipV="1">
            <a:off x="6432496" y="3232189"/>
            <a:ext cx="0" cy="216024"/>
          </a:xfrm>
          <a:prstGeom prst="straightConnector1">
            <a:avLst/>
          </a:prstGeom>
          <a:ln w="19050">
            <a:solidFill>
              <a:srgbClr val="00B050"/>
            </a:solidFill>
            <a:headEnd type="none" w="med" len="med"/>
            <a:tailEnd type="arrow"/>
          </a:ln>
        </p:spPr>
        <p:style>
          <a:lnRef idx="1">
            <a:schemeClr val="accent1"/>
          </a:lnRef>
          <a:fillRef idx="0">
            <a:schemeClr val="accent1"/>
          </a:fillRef>
          <a:effectRef idx="0">
            <a:schemeClr val="accent1"/>
          </a:effectRef>
          <a:fontRef idx="minor">
            <a:schemeClr val="tx1"/>
          </a:fontRef>
        </p:style>
      </p:cxnSp>
      <p:cxnSp>
        <p:nvCxnSpPr>
          <p:cNvPr id="8" name="Straight Arrow Connector 7"/>
          <p:cNvCxnSpPr/>
          <p:nvPr/>
        </p:nvCxnSpPr>
        <p:spPr>
          <a:xfrm rot="10800000" flipV="1">
            <a:off x="10652768" y="3273754"/>
            <a:ext cx="0" cy="216024"/>
          </a:xfrm>
          <a:prstGeom prst="straightConnector1">
            <a:avLst/>
          </a:prstGeom>
          <a:ln w="19050">
            <a:solidFill>
              <a:srgbClr val="FF0000"/>
            </a:solidFill>
            <a:headEnd type="none" w="med" len="med"/>
            <a:tailEnd type="arrow"/>
          </a:ln>
        </p:spPr>
        <p:style>
          <a:lnRef idx="1">
            <a:schemeClr val="accent1"/>
          </a:lnRef>
          <a:fillRef idx="0">
            <a:schemeClr val="accent1"/>
          </a:fillRef>
          <a:effectRef idx="0">
            <a:schemeClr val="accent1"/>
          </a:effectRef>
          <a:fontRef idx="minor">
            <a:schemeClr val="tx1"/>
          </a:fontRef>
        </p:style>
      </p:cxnSp>
      <p:cxnSp>
        <p:nvCxnSpPr>
          <p:cNvPr id="10" name="Straight Arrow Connector 9"/>
          <p:cNvCxnSpPr/>
          <p:nvPr/>
        </p:nvCxnSpPr>
        <p:spPr>
          <a:xfrm flipV="1">
            <a:off x="9549189" y="4165188"/>
            <a:ext cx="0" cy="216024"/>
          </a:xfrm>
          <a:prstGeom prst="straightConnector1">
            <a:avLst/>
          </a:prstGeom>
          <a:ln w="19050">
            <a:solidFill>
              <a:srgbClr val="1B7F24"/>
            </a:solidFill>
            <a:headEnd type="none" w="med" len="med"/>
            <a:tailEnd type="arrow"/>
          </a:ln>
        </p:spPr>
        <p:style>
          <a:lnRef idx="1">
            <a:schemeClr val="accent1"/>
          </a:lnRef>
          <a:fillRef idx="0">
            <a:schemeClr val="accent1"/>
          </a:fillRef>
          <a:effectRef idx="0">
            <a:schemeClr val="accent1"/>
          </a:effectRef>
          <a:fontRef idx="minor">
            <a:schemeClr val="tx1"/>
          </a:fontRef>
        </p:style>
      </p:cxnSp>
      <p:cxnSp>
        <p:nvCxnSpPr>
          <p:cNvPr id="12" name="Straight Arrow Connector 11"/>
          <p:cNvCxnSpPr/>
          <p:nvPr/>
        </p:nvCxnSpPr>
        <p:spPr>
          <a:xfrm rot="10800000" flipV="1">
            <a:off x="5446932" y="4165188"/>
            <a:ext cx="0" cy="216024"/>
          </a:xfrm>
          <a:prstGeom prst="straightConnector1">
            <a:avLst/>
          </a:prstGeom>
          <a:ln w="19050">
            <a:solidFill>
              <a:srgbClr val="FF0000"/>
            </a:solidFill>
            <a:headEnd type="none" w="med" len="med"/>
            <a:tailEnd type="arrow"/>
          </a:ln>
        </p:spPr>
        <p:style>
          <a:lnRef idx="1">
            <a:schemeClr val="accent1"/>
          </a:lnRef>
          <a:fillRef idx="0">
            <a:schemeClr val="accent1"/>
          </a:fillRef>
          <a:effectRef idx="0">
            <a:schemeClr val="accent1"/>
          </a:effectRef>
          <a:fontRef idx="minor">
            <a:schemeClr val="tx1"/>
          </a:fontRef>
        </p:style>
      </p:cxnSp>
      <p:cxnSp>
        <p:nvCxnSpPr>
          <p:cNvPr id="9" name="Straight Arrow Connector 8"/>
          <p:cNvCxnSpPr/>
          <p:nvPr/>
        </p:nvCxnSpPr>
        <p:spPr>
          <a:xfrm flipV="1">
            <a:off x="6860644" y="5109611"/>
            <a:ext cx="0" cy="216024"/>
          </a:xfrm>
          <a:prstGeom prst="straightConnector1">
            <a:avLst/>
          </a:prstGeom>
          <a:ln w="19050">
            <a:solidFill>
              <a:srgbClr val="00B050"/>
            </a:solidFill>
            <a:headEnd type="none" w="med" len="med"/>
            <a:tailEnd type="arrow"/>
          </a:ln>
        </p:spPr>
        <p:style>
          <a:lnRef idx="1">
            <a:schemeClr val="accent1"/>
          </a:lnRef>
          <a:fillRef idx="0">
            <a:schemeClr val="accent1"/>
          </a:fillRef>
          <a:effectRef idx="0">
            <a:schemeClr val="accent1"/>
          </a:effectRef>
          <a:fontRef idx="minor">
            <a:schemeClr val="tx1"/>
          </a:fontRef>
        </p:style>
      </p:cxnSp>
      <p:cxnSp>
        <p:nvCxnSpPr>
          <p:cNvPr id="11" name="Straight Arrow Connector 10"/>
          <p:cNvCxnSpPr/>
          <p:nvPr/>
        </p:nvCxnSpPr>
        <p:spPr>
          <a:xfrm rot="10800000" flipV="1">
            <a:off x="10621595" y="5109611"/>
            <a:ext cx="0" cy="216024"/>
          </a:xfrm>
          <a:prstGeom prst="straightConnector1">
            <a:avLst/>
          </a:prstGeom>
          <a:ln w="19050">
            <a:solidFill>
              <a:srgbClr val="FF0000"/>
            </a:solidFill>
            <a:headEnd type="none" w="med" len="med"/>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6423386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et</a:t>
            </a:r>
            <a:r>
              <a:rPr lang="lv-LV" dirty="0" err="1"/>
              <a:t>odoloģija</a:t>
            </a:r>
            <a:endParaRPr lang="en-US" dirty="0"/>
          </a:p>
        </p:txBody>
      </p:sp>
    </p:spTree>
    <p:extLst>
      <p:ext uri="{BB962C8B-B14F-4D97-AF65-F5344CB8AC3E}">
        <p14:creationId xmlns:p14="http://schemas.microsoft.com/office/powerpoint/2010/main" val="25956098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ctr">
            <a:normAutofit/>
          </a:bodyPr>
          <a:lstStyle/>
          <a:p>
            <a:r>
              <a:rPr lang="lv-LV" dirty="0"/>
              <a:t>Pārbaudes aktā iekļautās informācijas apjoma novērtējums</a:t>
            </a:r>
          </a:p>
        </p:txBody>
      </p:sp>
      <p:graphicFrame>
        <p:nvGraphicFramePr>
          <p:cNvPr id="3" name="Chart 2"/>
          <p:cNvGraphicFramePr/>
          <p:nvPr>
            <p:extLst>
              <p:ext uri="{D42A27DB-BD31-4B8C-83A1-F6EECF244321}">
                <p14:modId xmlns:p14="http://schemas.microsoft.com/office/powerpoint/2010/main" val="722692452"/>
              </p:ext>
            </p:extLst>
          </p:nvPr>
        </p:nvGraphicFramePr>
        <p:xfrm>
          <a:off x="-386196" y="1257300"/>
          <a:ext cx="10725150" cy="4715988"/>
        </p:xfrm>
        <a:graphic>
          <a:graphicData uri="http://schemas.openxmlformats.org/drawingml/2006/chart">
            <c:chart xmlns:c="http://schemas.openxmlformats.org/drawingml/2006/chart" xmlns:r="http://schemas.openxmlformats.org/officeDocument/2006/relationships" r:id="rId2"/>
          </a:graphicData>
        </a:graphic>
      </p:graphicFrame>
      <p:sp>
        <p:nvSpPr>
          <p:cNvPr id="6" name="Text Placeholder 5"/>
          <p:cNvSpPr txBox="1">
            <a:spLocks/>
          </p:cNvSpPr>
          <p:nvPr/>
        </p:nvSpPr>
        <p:spPr>
          <a:xfrm>
            <a:off x="133350" y="5973288"/>
            <a:ext cx="11925299" cy="485209"/>
          </a:xfrm>
          <a:prstGeom prst="rect">
            <a:avLst/>
          </a:prstGeom>
        </p:spPr>
        <p:txBody>
          <a:bodyPr vert="horz" lIns="91440" tIns="45720" rIns="91440" bIns="45720" rtlCol="0" anchor="b" anchorCtr="0">
            <a:noAutofit/>
          </a:bodyPr>
          <a:lstStyle>
            <a:lvl1pPr marL="0" indent="0" algn="l" defTabSz="914400" rtl="0" eaLnBrk="1" latinLnBrk="0" hangingPunct="1">
              <a:lnSpc>
                <a:spcPct val="100000"/>
              </a:lnSpc>
              <a:spcBef>
                <a:spcPts val="0"/>
              </a:spcBef>
              <a:buSzPct val="50000"/>
              <a:buFont typeface="Wingdings" panose="05000000000000000000" pitchFamily="2" charset="2"/>
              <a:buNone/>
              <a:defRPr sz="1200" i="0" kern="1200" baseline="0">
                <a:solidFill>
                  <a:schemeClr val="bg1">
                    <a:lumMod val="50000"/>
                  </a:schemeClr>
                </a:solidFill>
                <a:latin typeface="+mj-lt"/>
                <a:ea typeface="+mn-ea"/>
                <a:cs typeface="+mn-cs"/>
              </a:defRPr>
            </a:lvl1pPr>
            <a:lvl2pPr marL="685800" indent="-228600" algn="l" defTabSz="914400" rtl="0" eaLnBrk="1" latinLnBrk="0" hangingPunct="1">
              <a:lnSpc>
                <a:spcPct val="90000"/>
              </a:lnSpc>
              <a:spcBef>
                <a:spcPts val="500"/>
              </a:spcBef>
              <a:buSzPct val="50000"/>
              <a:buFont typeface="Wingdings" panose="05000000000000000000" pitchFamily="2" charset="2"/>
              <a:buChar char="§"/>
              <a:defRPr sz="1200" kern="1200">
                <a:solidFill>
                  <a:schemeClr val="bg1">
                    <a:lumMod val="50000"/>
                  </a:schemeClr>
                </a:solidFill>
                <a:latin typeface="+mj-lt"/>
                <a:ea typeface="+mn-ea"/>
                <a:cs typeface="+mn-cs"/>
              </a:defRPr>
            </a:lvl2pPr>
            <a:lvl3pPr marL="1143000" indent="-228600" algn="l" defTabSz="914400" rtl="0" eaLnBrk="1" latinLnBrk="0" hangingPunct="1">
              <a:lnSpc>
                <a:spcPct val="90000"/>
              </a:lnSpc>
              <a:spcBef>
                <a:spcPts val="500"/>
              </a:spcBef>
              <a:buSzPct val="50000"/>
              <a:buFont typeface="Wingdings" panose="05000000000000000000" pitchFamily="2" charset="2"/>
              <a:buChar char="§"/>
              <a:defRPr sz="1200" kern="1200">
                <a:solidFill>
                  <a:schemeClr val="bg1">
                    <a:lumMod val="50000"/>
                  </a:schemeClr>
                </a:solidFill>
                <a:latin typeface="+mj-lt"/>
                <a:ea typeface="+mn-ea"/>
                <a:cs typeface="+mn-cs"/>
              </a:defRPr>
            </a:lvl3pPr>
            <a:lvl4pPr marL="1600200" indent="-228600" algn="l" defTabSz="914400" rtl="0" eaLnBrk="1" latinLnBrk="0" hangingPunct="1">
              <a:lnSpc>
                <a:spcPct val="90000"/>
              </a:lnSpc>
              <a:spcBef>
                <a:spcPts val="500"/>
              </a:spcBef>
              <a:buSzPct val="50000"/>
              <a:buFont typeface="Wingdings" panose="05000000000000000000" pitchFamily="2" charset="2"/>
              <a:buChar char="§"/>
              <a:defRPr sz="1200" kern="1200">
                <a:solidFill>
                  <a:schemeClr val="bg1">
                    <a:lumMod val="50000"/>
                  </a:schemeClr>
                </a:solidFill>
                <a:latin typeface="+mj-lt"/>
                <a:ea typeface="+mn-ea"/>
                <a:cs typeface="+mn-cs"/>
              </a:defRPr>
            </a:lvl4pPr>
            <a:lvl5pPr marL="2057400" indent="-228600" algn="l" defTabSz="914400" rtl="0" eaLnBrk="1" latinLnBrk="0" hangingPunct="1">
              <a:lnSpc>
                <a:spcPct val="90000"/>
              </a:lnSpc>
              <a:spcBef>
                <a:spcPts val="500"/>
              </a:spcBef>
              <a:buSzPct val="50000"/>
              <a:buFont typeface="Wingdings" panose="05000000000000000000" pitchFamily="2" charset="2"/>
              <a:buChar char="§"/>
              <a:defRPr sz="1200" kern="1200">
                <a:solidFill>
                  <a:schemeClr val="bg1">
                    <a:lumMod val="50000"/>
                  </a:schemeClr>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r>
              <a:rPr lang="lv-LV" sz="1000" dirty="0">
                <a:solidFill>
                  <a:sysClr val="window" lastClr="FFFFFF">
                    <a:lumMod val="50000"/>
                  </a:sysClr>
                </a:solidFill>
                <a:latin typeface="Calibri"/>
              </a:rPr>
              <a:t>Q09. Kā Jūs novērtētu inspekcijas rezultātā sagatavoto Pārbaudes aktu kvalitāti?</a:t>
            </a:r>
          </a:p>
          <a:p>
            <a:pPr lvl="0"/>
            <a:r>
              <a:rPr lang="lv-LV" sz="1000" dirty="0">
                <a:solidFill>
                  <a:sysClr val="window" lastClr="FFFFFF">
                    <a:lumMod val="50000"/>
                  </a:sysClr>
                </a:solidFill>
                <a:latin typeface="Calibri"/>
              </a:rPr>
              <a:t>Bāze: visi respondenti</a:t>
            </a:r>
            <a:r>
              <a:rPr lang="en-US" sz="1000" dirty="0">
                <a:solidFill>
                  <a:sysClr val="window" lastClr="FFFFFF">
                    <a:lumMod val="50000"/>
                  </a:sysClr>
                </a:solidFill>
                <a:latin typeface="Calibri"/>
              </a:rPr>
              <a:t>, `n` </a:t>
            </a:r>
            <a:r>
              <a:rPr lang="en-US" sz="1000" dirty="0" err="1">
                <a:solidFill>
                  <a:sysClr val="window" lastClr="FFFFFF">
                    <a:lumMod val="50000"/>
                  </a:sysClr>
                </a:solidFill>
                <a:latin typeface="Calibri"/>
              </a:rPr>
              <a:t>skat</a:t>
            </a:r>
            <a:r>
              <a:rPr lang="lv-LV" sz="1000" dirty="0" err="1">
                <a:solidFill>
                  <a:sysClr val="window" lastClr="FFFFFF">
                    <a:lumMod val="50000"/>
                  </a:sysClr>
                </a:solidFill>
                <a:latin typeface="Calibri"/>
              </a:rPr>
              <a:t>īt</a:t>
            </a:r>
            <a:r>
              <a:rPr lang="lv-LV" sz="1000" dirty="0">
                <a:solidFill>
                  <a:sysClr val="window" lastClr="FFFFFF">
                    <a:lumMod val="50000"/>
                  </a:sysClr>
                </a:solidFill>
                <a:latin typeface="Calibri"/>
              </a:rPr>
              <a:t> grafikā</a:t>
            </a:r>
          </a:p>
        </p:txBody>
      </p:sp>
      <p:cxnSp>
        <p:nvCxnSpPr>
          <p:cNvPr id="7" name="Straight Arrow Connector 6"/>
          <p:cNvCxnSpPr/>
          <p:nvPr/>
        </p:nvCxnSpPr>
        <p:spPr>
          <a:xfrm flipV="1">
            <a:off x="5884858" y="3063056"/>
            <a:ext cx="0" cy="216024"/>
          </a:xfrm>
          <a:prstGeom prst="straightConnector1">
            <a:avLst/>
          </a:prstGeom>
          <a:ln w="19050">
            <a:solidFill>
              <a:srgbClr val="00B050"/>
            </a:solidFill>
            <a:headEnd type="none" w="med" len="med"/>
            <a:tailEnd type="arrow"/>
          </a:ln>
        </p:spPr>
        <p:style>
          <a:lnRef idx="1">
            <a:schemeClr val="accent1"/>
          </a:lnRef>
          <a:fillRef idx="0">
            <a:schemeClr val="accent1"/>
          </a:fillRef>
          <a:effectRef idx="0">
            <a:schemeClr val="accent1"/>
          </a:effectRef>
          <a:fontRef idx="minor">
            <a:schemeClr val="tx1"/>
          </a:fontRef>
        </p:style>
      </p:cxnSp>
      <p:cxnSp>
        <p:nvCxnSpPr>
          <p:cNvPr id="8" name="Straight Arrow Connector 7"/>
          <p:cNvCxnSpPr/>
          <p:nvPr/>
        </p:nvCxnSpPr>
        <p:spPr>
          <a:xfrm rot="10800000" flipV="1">
            <a:off x="10260595" y="3083838"/>
            <a:ext cx="0" cy="216024"/>
          </a:xfrm>
          <a:prstGeom prst="straightConnector1">
            <a:avLst/>
          </a:prstGeom>
          <a:ln w="19050">
            <a:solidFill>
              <a:srgbClr val="FF0000"/>
            </a:solidFill>
            <a:headEnd type="none" w="med" len="med"/>
            <a:tailEnd type="arrow"/>
          </a:ln>
        </p:spPr>
        <p:style>
          <a:lnRef idx="1">
            <a:schemeClr val="accent1"/>
          </a:lnRef>
          <a:fillRef idx="0">
            <a:schemeClr val="accent1"/>
          </a:fillRef>
          <a:effectRef idx="0">
            <a:schemeClr val="accent1"/>
          </a:effectRef>
          <a:fontRef idx="minor">
            <a:schemeClr val="tx1"/>
          </a:fontRef>
        </p:style>
      </p:cxnSp>
      <p:cxnSp>
        <p:nvCxnSpPr>
          <p:cNvPr id="9" name="Straight Arrow Connector 8"/>
          <p:cNvCxnSpPr/>
          <p:nvPr/>
        </p:nvCxnSpPr>
        <p:spPr>
          <a:xfrm flipV="1">
            <a:off x="5976067" y="5072413"/>
            <a:ext cx="0" cy="216024"/>
          </a:xfrm>
          <a:prstGeom prst="straightConnector1">
            <a:avLst/>
          </a:prstGeom>
          <a:ln w="19050">
            <a:solidFill>
              <a:srgbClr val="00B050"/>
            </a:solidFill>
            <a:headEnd type="none" w="med" len="med"/>
            <a:tailEnd type="arrow"/>
          </a:ln>
        </p:spPr>
        <p:style>
          <a:lnRef idx="1">
            <a:schemeClr val="accent1"/>
          </a:lnRef>
          <a:fillRef idx="0">
            <a:schemeClr val="accent1"/>
          </a:fillRef>
          <a:effectRef idx="0">
            <a:schemeClr val="accent1"/>
          </a:effectRef>
          <a:fontRef idx="minor">
            <a:schemeClr val="tx1"/>
          </a:fontRef>
        </p:style>
      </p:cxnSp>
      <p:cxnSp>
        <p:nvCxnSpPr>
          <p:cNvPr id="10" name="Straight Arrow Connector 9"/>
          <p:cNvCxnSpPr/>
          <p:nvPr/>
        </p:nvCxnSpPr>
        <p:spPr>
          <a:xfrm flipV="1">
            <a:off x="9058125" y="4079180"/>
            <a:ext cx="0" cy="216024"/>
          </a:xfrm>
          <a:prstGeom prst="straightConnector1">
            <a:avLst/>
          </a:prstGeom>
          <a:ln w="19050">
            <a:solidFill>
              <a:srgbClr val="1B7F24"/>
            </a:solidFill>
            <a:headEnd type="none" w="med" len="med"/>
            <a:tailEnd type="arrow"/>
          </a:ln>
        </p:spPr>
        <p:style>
          <a:lnRef idx="1">
            <a:schemeClr val="accent1"/>
          </a:lnRef>
          <a:fillRef idx="0">
            <a:schemeClr val="accent1"/>
          </a:fillRef>
          <a:effectRef idx="0">
            <a:schemeClr val="accent1"/>
          </a:effectRef>
          <a:fontRef idx="minor">
            <a:schemeClr val="tx1"/>
          </a:fontRef>
        </p:style>
      </p:cxnSp>
      <p:cxnSp>
        <p:nvCxnSpPr>
          <p:cNvPr id="11" name="Straight Arrow Connector 10"/>
          <p:cNvCxnSpPr/>
          <p:nvPr/>
        </p:nvCxnSpPr>
        <p:spPr>
          <a:xfrm rot="10800000" flipV="1">
            <a:off x="10149379" y="5072413"/>
            <a:ext cx="0" cy="216024"/>
          </a:xfrm>
          <a:prstGeom prst="straightConnector1">
            <a:avLst/>
          </a:prstGeom>
          <a:ln w="19050">
            <a:solidFill>
              <a:srgbClr val="FF0000"/>
            </a:solidFill>
            <a:headEnd type="none" w="med" len="med"/>
            <a:tailEnd type="arrow"/>
          </a:ln>
        </p:spPr>
        <p:style>
          <a:lnRef idx="1">
            <a:schemeClr val="accent1"/>
          </a:lnRef>
          <a:fillRef idx="0">
            <a:schemeClr val="accent1"/>
          </a:fillRef>
          <a:effectRef idx="0">
            <a:schemeClr val="accent1"/>
          </a:effectRef>
          <a:fontRef idx="minor">
            <a:schemeClr val="tx1"/>
          </a:fontRef>
        </p:style>
      </p:cxnSp>
      <p:cxnSp>
        <p:nvCxnSpPr>
          <p:cNvPr id="12" name="Straight Arrow Connector 11"/>
          <p:cNvCxnSpPr/>
          <p:nvPr/>
        </p:nvCxnSpPr>
        <p:spPr>
          <a:xfrm rot="10800000" flipV="1">
            <a:off x="4679932" y="4079180"/>
            <a:ext cx="0" cy="216024"/>
          </a:xfrm>
          <a:prstGeom prst="straightConnector1">
            <a:avLst/>
          </a:prstGeom>
          <a:ln w="19050">
            <a:solidFill>
              <a:srgbClr val="FF0000"/>
            </a:solidFill>
            <a:headEnd type="none" w="med" len="med"/>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3647988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ctr">
            <a:normAutofit/>
          </a:bodyPr>
          <a:lstStyle/>
          <a:p>
            <a:r>
              <a:rPr lang="lv-LV" dirty="0"/>
              <a:t>Pārbaudes akta saprotamība</a:t>
            </a:r>
          </a:p>
        </p:txBody>
      </p:sp>
      <p:graphicFrame>
        <p:nvGraphicFramePr>
          <p:cNvPr id="3" name="Chart 2"/>
          <p:cNvGraphicFramePr/>
          <p:nvPr>
            <p:extLst>
              <p:ext uri="{D42A27DB-BD31-4B8C-83A1-F6EECF244321}">
                <p14:modId xmlns:p14="http://schemas.microsoft.com/office/powerpoint/2010/main" val="2476092170"/>
              </p:ext>
            </p:extLst>
          </p:nvPr>
        </p:nvGraphicFramePr>
        <p:xfrm>
          <a:off x="133350" y="1330036"/>
          <a:ext cx="10517332" cy="4643252"/>
        </p:xfrm>
        <a:graphic>
          <a:graphicData uri="http://schemas.openxmlformats.org/drawingml/2006/chart">
            <c:chart xmlns:c="http://schemas.openxmlformats.org/drawingml/2006/chart" xmlns:r="http://schemas.openxmlformats.org/officeDocument/2006/relationships" r:id="rId2"/>
          </a:graphicData>
        </a:graphic>
      </p:graphicFrame>
      <p:sp>
        <p:nvSpPr>
          <p:cNvPr id="6" name="Text Placeholder 5"/>
          <p:cNvSpPr txBox="1">
            <a:spLocks/>
          </p:cNvSpPr>
          <p:nvPr/>
        </p:nvSpPr>
        <p:spPr>
          <a:xfrm>
            <a:off x="133350" y="5973288"/>
            <a:ext cx="11925299" cy="485209"/>
          </a:xfrm>
          <a:prstGeom prst="rect">
            <a:avLst/>
          </a:prstGeom>
        </p:spPr>
        <p:txBody>
          <a:bodyPr vert="horz" lIns="91440" tIns="45720" rIns="91440" bIns="45720" rtlCol="0" anchor="b" anchorCtr="0">
            <a:noAutofit/>
          </a:bodyPr>
          <a:lstStyle>
            <a:lvl1pPr marL="0" indent="0" algn="l" defTabSz="914400" rtl="0" eaLnBrk="1" latinLnBrk="0" hangingPunct="1">
              <a:lnSpc>
                <a:spcPct val="100000"/>
              </a:lnSpc>
              <a:spcBef>
                <a:spcPts val="0"/>
              </a:spcBef>
              <a:buSzPct val="50000"/>
              <a:buFont typeface="Wingdings" panose="05000000000000000000" pitchFamily="2" charset="2"/>
              <a:buNone/>
              <a:defRPr sz="1200" i="0" kern="1200" baseline="0">
                <a:solidFill>
                  <a:schemeClr val="bg1">
                    <a:lumMod val="50000"/>
                  </a:schemeClr>
                </a:solidFill>
                <a:latin typeface="+mj-lt"/>
                <a:ea typeface="+mn-ea"/>
                <a:cs typeface="+mn-cs"/>
              </a:defRPr>
            </a:lvl1pPr>
            <a:lvl2pPr marL="685800" indent="-228600" algn="l" defTabSz="914400" rtl="0" eaLnBrk="1" latinLnBrk="0" hangingPunct="1">
              <a:lnSpc>
                <a:spcPct val="90000"/>
              </a:lnSpc>
              <a:spcBef>
                <a:spcPts val="500"/>
              </a:spcBef>
              <a:buSzPct val="50000"/>
              <a:buFont typeface="Wingdings" panose="05000000000000000000" pitchFamily="2" charset="2"/>
              <a:buChar char="§"/>
              <a:defRPr sz="1200" kern="1200">
                <a:solidFill>
                  <a:schemeClr val="bg1">
                    <a:lumMod val="50000"/>
                  </a:schemeClr>
                </a:solidFill>
                <a:latin typeface="+mj-lt"/>
                <a:ea typeface="+mn-ea"/>
                <a:cs typeface="+mn-cs"/>
              </a:defRPr>
            </a:lvl2pPr>
            <a:lvl3pPr marL="1143000" indent="-228600" algn="l" defTabSz="914400" rtl="0" eaLnBrk="1" latinLnBrk="0" hangingPunct="1">
              <a:lnSpc>
                <a:spcPct val="90000"/>
              </a:lnSpc>
              <a:spcBef>
                <a:spcPts val="500"/>
              </a:spcBef>
              <a:buSzPct val="50000"/>
              <a:buFont typeface="Wingdings" panose="05000000000000000000" pitchFamily="2" charset="2"/>
              <a:buChar char="§"/>
              <a:defRPr sz="1200" kern="1200">
                <a:solidFill>
                  <a:schemeClr val="bg1">
                    <a:lumMod val="50000"/>
                  </a:schemeClr>
                </a:solidFill>
                <a:latin typeface="+mj-lt"/>
                <a:ea typeface="+mn-ea"/>
                <a:cs typeface="+mn-cs"/>
              </a:defRPr>
            </a:lvl3pPr>
            <a:lvl4pPr marL="1600200" indent="-228600" algn="l" defTabSz="914400" rtl="0" eaLnBrk="1" latinLnBrk="0" hangingPunct="1">
              <a:lnSpc>
                <a:spcPct val="90000"/>
              </a:lnSpc>
              <a:spcBef>
                <a:spcPts val="500"/>
              </a:spcBef>
              <a:buSzPct val="50000"/>
              <a:buFont typeface="Wingdings" panose="05000000000000000000" pitchFamily="2" charset="2"/>
              <a:buChar char="§"/>
              <a:defRPr sz="1200" kern="1200">
                <a:solidFill>
                  <a:schemeClr val="bg1">
                    <a:lumMod val="50000"/>
                  </a:schemeClr>
                </a:solidFill>
                <a:latin typeface="+mj-lt"/>
                <a:ea typeface="+mn-ea"/>
                <a:cs typeface="+mn-cs"/>
              </a:defRPr>
            </a:lvl4pPr>
            <a:lvl5pPr marL="2057400" indent="-228600" algn="l" defTabSz="914400" rtl="0" eaLnBrk="1" latinLnBrk="0" hangingPunct="1">
              <a:lnSpc>
                <a:spcPct val="90000"/>
              </a:lnSpc>
              <a:spcBef>
                <a:spcPts val="500"/>
              </a:spcBef>
              <a:buSzPct val="50000"/>
              <a:buFont typeface="Wingdings" panose="05000000000000000000" pitchFamily="2" charset="2"/>
              <a:buChar char="§"/>
              <a:defRPr sz="1200" kern="1200">
                <a:solidFill>
                  <a:schemeClr val="bg1">
                    <a:lumMod val="50000"/>
                  </a:schemeClr>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r>
              <a:rPr lang="lv-LV" sz="1000" dirty="0">
                <a:solidFill>
                  <a:sysClr val="window" lastClr="FFFFFF">
                    <a:lumMod val="50000"/>
                  </a:sysClr>
                </a:solidFill>
                <a:latin typeface="Calibri"/>
              </a:rPr>
              <a:t>Q09. Kā Jūs novērtētu inspekcijas rezultātā sagatavoto Pārbaudes aktu kvalitāti?</a:t>
            </a:r>
          </a:p>
          <a:p>
            <a:pPr lvl="0"/>
            <a:r>
              <a:rPr lang="lv-LV" sz="1000" dirty="0">
                <a:solidFill>
                  <a:sysClr val="window" lastClr="FFFFFF">
                    <a:lumMod val="50000"/>
                  </a:sysClr>
                </a:solidFill>
                <a:latin typeface="Calibri"/>
              </a:rPr>
              <a:t>Bāze: visi respondenti</a:t>
            </a:r>
            <a:r>
              <a:rPr lang="en-US" sz="1000" dirty="0">
                <a:solidFill>
                  <a:sysClr val="window" lastClr="FFFFFF">
                    <a:lumMod val="50000"/>
                  </a:sysClr>
                </a:solidFill>
                <a:latin typeface="Calibri"/>
              </a:rPr>
              <a:t>, `n` </a:t>
            </a:r>
            <a:r>
              <a:rPr lang="en-US" sz="1000" dirty="0" err="1">
                <a:solidFill>
                  <a:sysClr val="window" lastClr="FFFFFF">
                    <a:lumMod val="50000"/>
                  </a:sysClr>
                </a:solidFill>
                <a:latin typeface="Calibri"/>
              </a:rPr>
              <a:t>skat</a:t>
            </a:r>
            <a:r>
              <a:rPr lang="lv-LV" sz="1000" dirty="0" err="1">
                <a:solidFill>
                  <a:sysClr val="window" lastClr="FFFFFF">
                    <a:lumMod val="50000"/>
                  </a:sysClr>
                </a:solidFill>
                <a:latin typeface="Calibri"/>
              </a:rPr>
              <a:t>īt</a:t>
            </a:r>
            <a:r>
              <a:rPr lang="lv-LV" sz="1000" dirty="0">
                <a:solidFill>
                  <a:sysClr val="window" lastClr="FFFFFF">
                    <a:lumMod val="50000"/>
                  </a:sysClr>
                </a:solidFill>
                <a:latin typeface="Calibri"/>
              </a:rPr>
              <a:t> grafikā</a:t>
            </a:r>
          </a:p>
        </p:txBody>
      </p:sp>
      <p:cxnSp>
        <p:nvCxnSpPr>
          <p:cNvPr id="7" name="Straight Arrow Connector 6"/>
          <p:cNvCxnSpPr/>
          <p:nvPr/>
        </p:nvCxnSpPr>
        <p:spPr>
          <a:xfrm flipV="1">
            <a:off x="6378802" y="3115011"/>
            <a:ext cx="0" cy="216024"/>
          </a:xfrm>
          <a:prstGeom prst="straightConnector1">
            <a:avLst/>
          </a:prstGeom>
          <a:ln w="19050">
            <a:solidFill>
              <a:srgbClr val="00B050"/>
            </a:solidFill>
            <a:headEnd type="none" w="med" len="med"/>
            <a:tailEnd type="arrow"/>
          </a:ln>
        </p:spPr>
        <p:style>
          <a:lnRef idx="1">
            <a:schemeClr val="accent1"/>
          </a:lnRef>
          <a:fillRef idx="0">
            <a:schemeClr val="accent1"/>
          </a:fillRef>
          <a:effectRef idx="0">
            <a:schemeClr val="accent1"/>
          </a:effectRef>
          <a:fontRef idx="minor">
            <a:schemeClr val="tx1"/>
          </a:fontRef>
        </p:style>
      </p:cxnSp>
      <p:cxnSp>
        <p:nvCxnSpPr>
          <p:cNvPr id="8" name="Straight Arrow Connector 7"/>
          <p:cNvCxnSpPr/>
          <p:nvPr/>
        </p:nvCxnSpPr>
        <p:spPr>
          <a:xfrm rot="10800000" flipV="1">
            <a:off x="10633511" y="3115011"/>
            <a:ext cx="0" cy="216024"/>
          </a:xfrm>
          <a:prstGeom prst="straightConnector1">
            <a:avLst/>
          </a:prstGeom>
          <a:ln w="19050">
            <a:solidFill>
              <a:srgbClr val="FF0000"/>
            </a:solidFill>
            <a:headEnd type="none" w="med" len="med"/>
            <a:tailEnd type="arrow"/>
          </a:ln>
        </p:spPr>
        <p:style>
          <a:lnRef idx="1">
            <a:schemeClr val="accent1"/>
          </a:lnRef>
          <a:fillRef idx="0">
            <a:schemeClr val="accent1"/>
          </a:fillRef>
          <a:effectRef idx="0">
            <a:schemeClr val="accent1"/>
          </a:effectRef>
          <a:fontRef idx="minor">
            <a:schemeClr val="tx1"/>
          </a:fontRef>
        </p:style>
      </p:cxnSp>
      <p:cxnSp>
        <p:nvCxnSpPr>
          <p:cNvPr id="10" name="Straight Arrow Connector 9"/>
          <p:cNvCxnSpPr/>
          <p:nvPr/>
        </p:nvCxnSpPr>
        <p:spPr>
          <a:xfrm flipV="1">
            <a:off x="9433924" y="4089571"/>
            <a:ext cx="0" cy="216024"/>
          </a:xfrm>
          <a:prstGeom prst="straightConnector1">
            <a:avLst/>
          </a:prstGeom>
          <a:ln w="19050">
            <a:solidFill>
              <a:srgbClr val="1B7F24"/>
            </a:solidFill>
            <a:headEnd type="none" w="med" len="med"/>
            <a:tailEnd type="arrow"/>
          </a:ln>
        </p:spPr>
        <p:style>
          <a:lnRef idx="1">
            <a:schemeClr val="accent1"/>
          </a:lnRef>
          <a:fillRef idx="0">
            <a:schemeClr val="accent1"/>
          </a:fillRef>
          <a:effectRef idx="0">
            <a:schemeClr val="accent1"/>
          </a:effectRef>
          <a:fontRef idx="minor">
            <a:schemeClr val="tx1"/>
          </a:fontRef>
        </p:style>
      </p:cxnSp>
      <p:cxnSp>
        <p:nvCxnSpPr>
          <p:cNvPr id="12" name="Straight Arrow Connector 11"/>
          <p:cNvCxnSpPr/>
          <p:nvPr/>
        </p:nvCxnSpPr>
        <p:spPr>
          <a:xfrm rot="10800000" flipV="1">
            <a:off x="5095569" y="4110353"/>
            <a:ext cx="0" cy="216024"/>
          </a:xfrm>
          <a:prstGeom prst="straightConnector1">
            <a:avLst/>
          </a:prstGeom>
          <a:ln w="19050">
            <a:solidFill>
              <a:srgbClr val="FF0000"/>
            </a:solidFill>
            <a:headEnd type="none" w="med" len="med"/>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175995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lv-LV" dirty="0"/>
              <a:t>VVD pārbaužu ietekme uz atbilstību vides prasībām un ieteikumi</a:t>
            </a:r>
          </a:p>
        </p:txBody>
      </p:sp>
      <p:sp>
        <p:nvSpPr>
          <p:cNvPr id="3" name="Text Placeholder 2"/>
          <p:cNvSpPr>
            <a:spLocks noGrp="1"/>
          </p:cNvSpPr>
          <p:nvPr>
            <p:ph type="body" idx="1"/>
          </p:nvPr>
        </p:nvSpPr>
        <p:spPr/>
        <p:txBody>
          <a:bodyPr/>
          <a:lstStyle/>
          <a:p>
            <a:endParaRPr lang="lv-LV"/>
          </a:p>
        </p:txBody>
      </p:sp>
    </p:spTree>
    <p:extLst>
      <p:ext uri="{BB962C8B-B14F-4D97-AF65-F5344CB8AC3E}">
        <p14:creationId xmlns:p14="http://schemas.microsoft.com/office/powerpoint/2010/main" val="293610664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ctr">
            <a:normAutofit fontScale="90000"/>
          </a:bodyPr>
          <a:lstStyle/>
          <a:p>
            <a:r>
              <a:rPr lang="lv-LV" dirty="0"/>
              <a:t>Pārbaužu veicinošā ietekme uz darbības atbilstību normatīvo aktu prasībām</a:t>
            </a:r>
          </a:p>
        </p:txBody>
      </p:sp>
      <p:graphicFrame>
        <p:nvGraphicFramePr>
          <p:cNvPr id="3" name="Chart 2"/>
          <p:cNvGraphicFramePr/>
          <p:nvPr>
            <p:extLst>
              <p:ext uri="{D42A27DB-BD31-4B8C-83A1-F6EECF244321}">
                <p14:modId xmlns:p14="http://schemas.microsoft.com/office/powerpoint/2010/main" val="2737116497"/>
              </p:ext>
            </p:extLst>
          </p:nvPr>
        </p:nvGraphicFramePr>
        <p:xfrm>
          <a:off x="-219941" y="1246909"/>
          <a:ext cx="10652414" cy="4726379"/>
        </p:xfrm>
        <a:graphic>
          <a:graphicData uri="http://schemas.openxmlformats.org/drawingml/2006/chart">
            <c:chart xmlns:c="http://schemas.openxmlformats.org/drawingml/2006/chart" xmlns:r="http://schemas.openxmlformats.org/officeDocument/2006/relationships" r:id="rId2"/>
          </a:graphicData>
        </a:graphic>
      </p:graphicFrame>
      <p:sp>
        <p:nvSpPr>
          <p:cNvPr id="6" name="Text Placeholder 5"/>
          <p:cNvSpPr txBox="1">
            <a:spLocks/>
          </p:cNvSpPr>
          <p:nvPr/>
        </p:nvSpPr>
        <p:spPr>
          <a:xfrm>
            <a:off x="133350" y="5973288"/>
            <a:ext cx="11925299" cy="485209"/>
          </a:xfrm>
          <a:prstGeom prst="rect">
            <a:avLst/>
          </a:prstGeom>
        </p:spPr>
        <p:txBody>
          <a:bodyPr vert="horz" lIns="91440" tIns="45720" rIns="91440" bIns="45720" rtlCol="0" anchor="b" anchorCtr="0">
            <a:noAutofit/>
          </a:bodyPr>
          <a:lstStyle>
            <a:lvl1pPr marL="0" indent="0" algn="l" defTabSz="914400" rtl="0" eaLnBrk="1" latinLnBrk="0" hangingPunct="1">
              <a:lnSpc>
                <a:spcPct val="100000"/>
              </a:lnSpc>
              <a:spcBef>
                <a:spcPts val="0"/>
              </a:spcBef>
              <a:buSzPct val="50000"/>
              <a:buFont typeface="Wingdings" panose="05000000000000000000" pitchFamily="2" charset="2"/>
              <a:buNone/>
              <a:defRPr sz="1200" i="0" kern="1200" baseline="0">
                <a:solidFill>
                  <a:schemeClr val="bg1">
                    <a:lumMod val="50000"/>
                  </a:schemeClr>
                </a:solidFill>
                <a:latin typeface="+mj-lt"/>
                <a:ea typeface="+mn-ea"/>
                <a:cs typeface="+mn-cs"/>
              </a:defRPr>
            </a:lvl1pPr>
            <a:lvl2pPr marL="685800" indent="-228600" algn="l" defTabSz="914400" rtl="0" eaLnBrk="1" latinLnBrk="0" hangingPunct="1">
              <a:lnSpc>
                <a:spcPct val="90000"/>
              </a:lnSpc>
              <a:spcBef>
                <a:spcPts val="500"/>
              </a:spcBef>
              <a:buSzPct val="50000"/>
              <a:buFont typeface="Wingdings" panose="05000000000000000000" pitchFamily="2" charset="2"/>
              <a:buChar char="§"/>
              <a:defRPr sz="1200" kern="1200">
                <a:solidFill>
                  <a:schemeClr val="bg1">
                    <a:lumMod val="50000"/>
                  </a:schemeClr>
                </a:solidFill>
                <a:latin typeface="+mj-lt"/>
                <a:ea typeface="+mn-ea"/>
                <a:cs typeface="+mn-cs"/>
              </a:defRPr>
            </a:lvl2pPr>
            <a:lvl3pPr marL="1143000" indent="-228600" algn="l" defTabSz="914400" rtl="0" eaLnBrk="1" latinLnBrk="0" hangingPunct="1">
              <a:lnSpc>
                <a:spcPct val="90000"/>
              </a:lnSpc>
              <a:spcBef>
                <a:spcPts val="500"/>
              </a:spcBef>
              <a:buSzPct val="50000"/>
              <a:buFont typeface="Wingdings" panose="05000000000000000000" pitchFamily="2" charset="2"/>
              <a:buChar char="§"/>
              <a:defRPr sz="1200" kern="1200">
                <a:solidFill>
                  <a:schemeClr val="bg1">
                    <a:lumMod val="50000"/>
                  </a:schemeClr>
                </a:solidFill>
                <a:latin typeface="+mj-lt"/>
                <a:ea typeface="+mn-ea"/>
                <a:cs typeface="+mn-cs"/>
              </a:defRPr>
            </a:lvl3pPr>
            <a:lvl4pPr marL="1600200" indent="-228600" algn="l" defTabSz="914400" rtl="0" eaLnBrk="1" latinLnBrk="0" hangingPunct="1">
              <a:lnSpc>
                <a:spcPct val="90000"/>
              </a:lnSpc>
              <a:spcBef>
                <a:spcPts val="500"/>
              </a:spcBef>
              <a:buSzPct val="50000"/>
              <a:buFont typeface="Wingdings" panose="05000000000000000000" pitchFamily="2" charset="2"/>
              <a:buChar char="§"/>
              <a:defRPr sz="1200" kern="1200">
                <a:solidFill>
                  <a:schemeClr val="bg1">
                    <a:lumMod val="50000"/>
                  </a:schemeClr>
                </a:solidFill>
                <a:latin typeface="+mj-lt"/>
                <a:ea typeface="+mn-ea"/>
                <a:cs typeface="+mn-cs"/>
              </a:defRPr>
            </a:lvl4pPr>
            <a:lvl5pPr marL="2057400" indent="-228600" algn="l" defTabSz="914400" rtl="0" eaLnBrk="1" latinLnBrk="0" hangingPunct="1">
              <a:lnSpc>
                <a:spcPct val="90000"/>
              </a:lnSpc>
              <a:spcBef>
                <a:spcPts val="500"/>
              </a:spcBef>
              <a:buSzPct val="50000"/>
              <a:buFont typeface="Wingdings" panose="05000000000000000000" pitchFamily="2" charset="2"/>
              <a:buChar char="§"/>
              <a:defRPr sz="1200" kern="1200">
                <a:solidFill>
                  <a:schemeClr val="bg1">
                    <a:lumMod val="50000"/>
                  </a:schemeClr>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lv-LV" sz="1000" dirty="0">
                <a:solidFill>
                  <a:sysClr val="window" lastClr="FFFFFF">
                    <a:lumMod val="50000"/>
                  </a:sysClr>
                </a:solidFill>
                <a:latin typeface="Calibri"/>
              </a:rPr>
              <a:t>Q10. Cik lielā mērā Valsts vides dienesta pārbaudes un to rezultāti ir veicinājuši jūsu uzņēmuma darbības atbilstību vides prasībām?</a:t>
            </a:r>
          </a:p>
          <a:p>
            <a:pPr lvl="0"/>
            <a:r>
              <a:rPr lang="lv-LV" sz="1000" dirty="0">
                <a:solidFill>
                  <a:sysClr val="window" lastClr="FFFFFF">
                    <a:lumMod val="50000"/>
                  </a:sysClr>
                </a:solidFill>
                <a:latin typeface="Calibri"/>
              </a:rPr>
              <a:t>Bāze: visi respondenti</a:t>
            </a:r>
            <a:r>
              <a:rPr lang="en-US" sz="1000" dirty="0">
                <a:solidFill>
                  <a:sysClr val="window" lastClr="FFFFFF">
                    <a:lumMod val="50000"/>
                  </a:sysClr>
                </a:solidFill>
                <a:latin typeface="Calibri"/>
              </a:rPr>
              <a:t>, `n` </a:t>
            </a:r>
            <a:r>
              <a:rPr lang="en-US" sz="1000" dirty="0" err="1">
                <a:solidFill>
                  <a:sysClr val="window" lastClr="FFFFFF">
                    <a:lumMod val="50000"/>
                  </a:sysClr>
                </a:solidFill>
                <a:latin typeface="Calibri"/>
              </a:rPr>
              <a:t>skat</a:t>
            </a:r>
            <a:r>
              <a:rPr lang="lv-LV" sz="1000" dirty="0" err="1">
                <a:solidFill>
                  <a:sysClr val="window" lastClr="FFFFFF">
                    <a:lumMod val="50000"/>
                  </a:sysClr>
                </a:solidFill>
                <a:latin typeface="Calibri"/>
              </a:rPr>
              <a:t>īt</a:t>
            </a:r>
            <a:r>
              <a:rPr lang="lv-LV" sz="1000" dirty="0">
                <a:solidFill>
                  <a:sysClr val="window" lastClr="FFFFFF">
                    <a:lumMod val="50000"/>
                  </a:sysClr>
                </a:solidFill>
                <a:latin typeface="Calibri"/>
              </a:rPr>
              <a:t> grafikā</a:t>
            </a:r>
          </a:p>
        </p:txBody>
      </p:sp>
    </p:spTree>
    <p:extLst>
      <p:ext uri="{BB962C8B-B14F-4D97-AF65-F5344CB8AC3E}">
        <p14:creationId xmlns:p14="http://schemas.microsoft.com/office/powerpoint/2010/main" val="338601376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VVD </a:t>
            </a:r>
            <a:r>
              <a:rPr lang="en-US" dirty="0" err="1"/>
              <a:t>darbinieku</a:t>
            </a:r>
            <a:r>
              <a:rPr lang="en-US" dirty="0"/>
              <a:t> </a:t>
            </a:r>
            <a:r>
              <a:rPr lang="en-US" dirty="0" err="1"/>
              <a:t>sniegto</a:t>
            </a:r>
            <a:r>
              <a:rPr lang="en-US" dirty="0"/>
              <a:t> </a:t>
            </a:r>
            <a:r>
              <a:rPr lang="en-US" dirty="0" err="1"/>
              <a:t>konsultāciju</a:t>
            </a:r>
            <a:r>
              <a:rPr lang="en-US" dirty="0"/>
              <a:t> </a:t>
            </a:r>
            <a:r>
              <a:rPr lang="en-US" dirty="0" err="1"/>
              <a:t>novērtējums</a:t>
            </a:r>
            <a:r>
              <a:rPr lang="en-US" dirty="0"/>
              <a:t> </a:t>
            </a:r>
          </a:p>
        </p:txBody>
      </p:sp>
    </p:spTree>
    <p:extLst>
      <p:ext uri="{BB962C8B-B14F-4D97-AF65-F5344CB8AC3E}">
        <p14:creationId xmlns:p14="http://schemas.microsoft.com/office/powerpoint/2010/main" val="356951937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D4A0A50-3576-4118-B23D-02EE362FB936}"/>
              </a:ext>
            </a:extLst>
          </p:cNvPr>
          <p:cNvSpPr>
            <a:spLocks noGrp="1"/>
          </p:cNvSpPr>
          <p:nvPr>
            <p:ph type="body" sz="quarter" idx="15"/>
          </p:nvPr>
        </p:nvSpPr>
        <p:spPr>
          <a:xfrm>
            <a:off x="183924" y="963986"/>
            <a:ext cx="10771460" cy="3699617"/>
          </a:xfrm>
        </p:spPr>
        <p:txBody>
          <a:bodyPr vert="horz" lIns="91440" tIns="45720" rIns="91440" bIns="45720" rtlCol="0">
            <a:noAutofit/>
          </a:bodyPr>
          <a:lstStyle/>
          <a:p>
            <a:pPr marL="0" indent="0" algn="just">
              <a:lnSpc>
                <a:spcPct val="150000"/>
              </a:lnSpc>
              <a:spcBef>
                <a:spcPts val="300"/>
              </a:spcBef>
              <a:buClr>
                <a:srgbClr val="14A2BA"/>
              </a:buClr>
              <a:buSzPct val="100000"/>
              <a:buNone/>
            </a:pPr>
            <a:r>
              <a:rPr lang="lt-LT" sz="1500" b="1" dirty="0"/>
              <a:t>Pārbaudes veikšanas laiks: </a:t>
            </a:r>
            <a:r>
              <a:rPr lang="lt-LT" sz="1500" dirty="0"/>
              <a:t>29.11. – 04.12.2020.</a:t>
            </a:r>
          </a:p>
          <a:p>
            <a:pPr marL="0" indent="0" algn="just">
              <a:lnSpc>
                <a:spcPct val="150000"/>
              </a:lnSpc>
              <a:spcBef>
                <a:spcPts val="300"/>
              </a:spcBef>
              <a:buClr>
                <a:srgbClr val="14A2BA"/>
              </a:buClr>
              <a:buSzPct val="100000"/>
              <a:buNone/>
            </a:pPr>
            <a:r>
              <a:rPr lang="lt-LT" sz="1500" b="1" dirty="0"/>
              <a:t>Pārbaudes mērķa grupa: </a:t>
            </a:r>
            <a:r>
              <a:rPr lang="lt-LT" sz="1500" dirty="0"/>
              <a:t>VVD darbinieki, kuri ikdienā, veicot darba pienākumus, konsultē arī klientus.</a:t>
            </a:r>
          </a:p>
          <a:p>
            <a:pPr marL="0" indent="0" algn="just">
              <a:lnSpc>
                <a:spcPct val="150000"/>
              </a:lnSpc>
              <a:spcBef>
                <a:spcPts val="300"/>
              </a:spcBef>
              <a:buClr>
                <a:srgbClr val="14A2BA"/>
              </a:buClr>
              <a:buSzPct val="100000"/>
              <a:buNone/>
            </a:pPr>
            <a:r>
              <a:rPr lang="lv-LV" sz="1500" b="1" dirty="0"/>
              <a:t>Pārbaudes mērķis: </a:t>
            </a:r>
            <a:r>
              <a:rPr lang="lv-LV" sz="1500" dirty="0"/>
              <a:t>novērtēt VVD darbinieku zināšanas un prasmes klientu apkalpošanā un spēju sniegt konsultācijas saskaņā ar labas pārvaldības pamatprincipiem klientu apkalpošanā. </a:t>
            </a:r>
            <a:endParaRPr lang="en-US" sz="1500" dirty="0"/>
          </a:p>
          <a:p>
            <a:pPr marL="0" indent="0" algn="just">
              <a:lnSpc>
                <a:spcPct val="150000"/>
              </a:lnSpc>
              <a:spcBef>
                <a:spcPts val="300"/>
              </a:spcBef>
              <a:buClr>
                <a:srgbClr val="14A2BA"/>
              </a:buClr>
              <a:buSzPct val="100000"/>
              <a:buNone/>
            </a:pPr>
            <a:r>
              <a:rPr lang="lt-LT" sz="1500" b="1" dirty="0"/>
              <a:t>Pētījuma metode: </a:t>
            </a:r>
            <a:r>
              <a:rPr lang="lt-LT" sz="1500" dirty="0"/>
              <a:t>slepenais pircējs (Mystery Shopping), veicot konsultācijas telefoniski.</a:t>
            </a:r>
          </a:p>
          <a:p>
            <a:pPr marL="0" indent="0" algn="just">
              <a:lnSpc>
                <a:spcPct val="150000"/>
              </a:lnSpc>
              <a:spcBef>
                <a:spcPts val="300"/>
              </a:spcBef>
              <a:buClr>
                <a:srgbClr val="14A2BA"/>
              </a:buClr>
              <a:buSzPct val="100000"/>
              <a:buNone/>
            </a:pPr>
            <a:r>
              <a:rPr lang="lt-LT" sz="1500" b="1" dirty="0"/>
              <a:t>Rezultāta vienība: </a:t>
            </a:r>
            <a:r>
              <a:rPr lang="lt-LT" sz="1500" dirty="0"/>
              <a:t>1 pārbaude (= 1 anketa). Kopā  - 23 zvani, vērtētas 14 VVD struktūrvienības.</a:t>
            </a:r>
          </a:p>
          <a:p>
            <a:pPr marL="0" indent="0" algn="just">
              <a:lnSpc>
                <a:spcPct val="150000"/>
              </a:lnSpc>
              <a:spcBef>
                <a:spcPts val="300"/>
              </a:spcBef>
              <a:buClr>
                <a:srgbClr val="14A2BA"/>
              </a:buClr>
              <a:buSzPct val="100000"/>
              <a:buNone/>
            </a:pPr>
            <a:r>
              <a:rPr lang="lt-LT" sz="1500" b="1" dirty="0">
                <a:sym typeface="Wingdings" pitchFamily="2" charset="2"/>
              </a:rPr>
              <a:t>Scenārijs: </a:t>
            </a:r>
            <a:r>
              <a:rPr lang="lt-LT" sz="1500" dirty="0">
                <a:sym typeface="Wingdings" pitchFamily="2" charset="2"/>
              </a:rPr>
              <a:t>pārbaudes zvana laikā slepenais pircējs uzdod darbiniekam jautājumu saistībā ar konkrētās struktūrvienības kompetencē esošu situāciju. </a:t>
            </a:r>
          </a:p>
          <a:p>
            <a:pPr marL="0" indent="0" algn="just">
              <a:lnSpc>
                <a:spcPct val="150000"/>
              </a:lnSpc>
              <a:spcBef>
                <a:spcPts val="300"/>
              </a:spcBef>
              <a:buClr>
                <a:srgbClr val="14A2BA"/>
              </a:buClr>
              <a:buSzPct val="100000"/>
              <a:buNone/>
            </a:pPr>
            <a:r>
              <a:rPr lang="lv-LV" sz="1500" b="1" dirty="0"/>
              <a:t>Vērtēšanas kritēriji: </a:t>
            </a:r>
            <a:r>
              <a:rPr lang="lv-LV" sz="1500" dirty="0"/>
              <a:t>anketas forma ar 17 kritērijiem (sadalīti 5 sadaļās):</a:t>
            </a:r>
          </a:p>
          <a:p>
            <a:pPr marL="0" indent="0">
              <a:lnSpc>
                <a:spcPct val="150000"/>
              </a:lnSpc>
              <a:spcBef>
                <a:spcPts val="300"/>
              </a:spcBef>
              <a:buClr>
                <a:srgbClr val="14A2BA"/>
              </a:buClr>
              <a:buSzPct val="100000"/>
              <a:buNone/>
            </a:pPr>
            <a:r>
              <a:rPr lang="lv-LV" sz="1500" dirty="0"/>
              <a:t>		</a:t>
            </a:r>
            <a:r>
              <a:rPr lang="lv-LV" sz="1500" b="1" dirty="0"/>
              <a:t>Zvana ilgums – 0%</a:t>
            </a:r>
            <a:br>
              <a:rPr lang="lv-LV" sz="1500" b="1" dirty="0"/>
            </a:br>
            <a:r>
              <a:rPr lang="lv-LV" sz="1500" b="1" dirty="0"/>
              <a:t>		Sarunas uzsākšana – 13%</a:t>
            </a:r>
            <a:br>
              <a:rPr lang="lv-LV" sz="1500" b="1" dirty="0"/>
            </a:br>
            <a:r>
              <a:rPr lang="lv-LV" sz="1500" b="1" dirty="0"/>
              <a:t>		Profesionalitāte – 48%</a:t>
            </a:r>
            <a:br>
              <a:rPr lang="lv-LV" sz="1500" b="1" dirty="0"/>
            </a:br>
            <a:r>
              <a:rPr lang="lv-LV" sz="1500" b="1" dirty="0"/>
              <a:t>		Sarunas nobeigums – 10%</a:t>
            </a:r>
            <a:br>
              <a:rPr lang="lv-LV" sz="1500" b="1" dirty="0"/>
            </a:br>
            <a:r>
              <a:rPr lang="lv-LV" sz="1500" b="1" dirty="0"/>
              <a:t>		Attieksme – 29%</a:t>
            </a:r>
          </a:p>
          <a:p>
            <a:pPr marL="0" indent="0" algn="just">
              <a:lnSpc>
                <a:spcPct val="150000"/>
              </a:lnSpc>
              <a:spcBef>
                <a:spcPts val="300"/>
              </a:spcBef>
              <a:buClr>
                <a:srgbClr val="14A2BA"/>
              </a:buClr>
              <a:buSzPct val="100000"/>
              <a:buNone/>
            </a:pPr>
            <a:r>
              <a:rPr lang="lv-LV" sz="1500" dirty="0"/>
              <a:t>Kopējais rezultāts tiek iegūts, procentuāli kopumā iegūto punktu skaitu attiecinot pret maksimālo punktu skaitu. </a:t>
            </a:r>
          </a:p>
          <a:p>
            <a:pPr marL="0" indent="0" algn="just">
              <a:lnSpc>
                <a:spcPct val="150000"/>
              </a:lnSpc>
              <a:spcBef>
                <a:spcPts val="300"/>
              </a:spcBef>
              <a:buClr>
                <a:srgbClr val="14A2BA"/>
              </a:buClr>
              <a:buSzPct val="100000"/>
              <a:buNone/>
            </a:pPr>
            <a:endParaRPr lang="en-US" sz="1500" dirty="0"/>
          </a:p>
        </p:txBody>
      </p:sp>
      <p:sp>
        <p:nvSpPr>
          <p:cNvPr id="11" name="Title 1">
            <a:extLst>
              <a:ext uri="{FF2B5EF4-FFF2-40B4-BE49-F238E27FC236}">
                <a16:creationId xmlns:a16="http://schemas.microsoft.com/office/drawing/2014/main" id="{21D0F96F-5B91-4D75-9068-894E9095C97F}"/>
              </a:ext>
            </a:extLst>
          </p:cNvPr>
          <p:cNvSpPr>
            <a:spLocks noGrp="1"/>
          </p:cNvSpPr>
          <p:nvPr>
            <p:ph type="title"/>
          </p:nvPr>
        </p:nvSpPr>
        <p:spPr/>
        <p:txBody>
          <a:bodyPr/>
          <a:lstStyle/>
          <a:p>
            <a:r>
              <a:rPr lang="lv-LV" dirty="0"/>
              <a:t>Metodoloģija</a:t>
            </a:r>
            <a:endParaRPr lang="en-US" dirty="0"/>
          </a:p>
        </p:txBody>
      </p:sp>
      <p:sp>
        <p:nvSpPr>
          <p:cNvPr id="7" name="Rectangle 6"/>
          <p:cNvSpPr/>
          <p:nvPr/>
        </p:nvSpPr>
        <p:spPr>
          <a:xfrm>
            <a:off x="1811547" y="4442605"/>
            <a:ext cx="3355675" cy="1664898"/>
          </a:xfrm>
          <a:prstGeom prst="rect">
            <a:avLst/>
          </a:prstGeom>
          <a:no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5594909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9B8017A3-2908-4D2B-A86A-0C73DF73220A}"/>
              </a:ext>
            </a:extLst>
          </p:cNvPr>
          <p:cNvSpPr txBox="1"/>
          <p:nvPr/>
        </p:nvSpPr>
        <p:spPr>
          <a:xfrm>
            <a:off x="209593" y="1434031"/>
            <a:ext cx="5291185" cy="3508653"/>
          </a:xfrm>
          <a:prstGeom prst="rect">
            <a:avLst/>
          </a:prstGeom>
          <a:noFill/>
        </p:spPr>
        <p:txBody>
          <a:bodyPr wrap="square" rtlCol="0">
            <a:spAutoFit/>
          </a:bodyPr>
          <a:lstStyle/>
          <a:p>
            <a:r>
              <a:rPr lang="lv-LV" dirty="0">
                <a:solidFill>
                  <a:srgbClr val="44546A"/>
                </a:solidFill>
                <a:cs typeface="Arial" pitchFamily="34" charset="0"/>
                <a:sym typeface="Montserrat SemiBold"/>
              </a:rPr>
              <a:t>Vidējais klientu apkalpošanas līmenis</a:t>
            </a:r>
            <a:r>
              <a:rPr lang="lv-LV" sz="1600" dirty="0">
                <a:solidFill>
                  <a:srgbClr val="44546A"/>
                </a:solidFill>
                <a:cs typeface="Arial" pitchFamily="34" charset="0"/>
                <a:sym typeface="Montserrat SemiBold"/>
              </a:rPr>
              <a:t> – </a:t>
            </a:r>
            <a:r>
              <a:rPr lang="lv-LV" sz="2000" b="1" dirty="0">
                <a:solidFill>
                  <a:srgbClr val="70AD47"/>
                </a:solidFill>
                <a:cs typeface="Arial" pitchFamily="34" charset="0"/>
                <a:sym typeface="Montserrat SemiBold"/>
              </a:rPr>
              <a:t>95.4%</a:t>
            </a:r>
            <a:endParaRPr lang="lv-LV" sz="2000" b="1" dirty="0">
              <a:solidFill>
                <a:srgbClr val="44546A"/>
              </a:solidFill>
              <a:cs typeface="Arial" pitchFamily="34" charset="0"/>
              <a:sym typeface="Montserrat SemiBold"/>
            </a:endParaRPr>
          </a:p>
          <a:p>
            <a:endParaRPr lang="lv-LV" sz="2000" b="1" dirty="0">
              <a:solidFill>
                <a:srgbClr val="44546A"/>
              </a:solidFill>
              <a:cs typeface="Arial" pitchFamily="34" charset="0"/>
              <a:sym typeface="Montserrat SemiBold"/>
            </a:endParaRPr>
          </a:p>
          <a:p>
            <a:r>
              <a:rPr lang="lv-LV" sz="2000" u="sng" dirty="0">
                <a:solidFill>
                  <a:srgbClr val="44546A"/>
                </a:solidFill>
                <a:cs typeface="Arial" pitchFamily="34" charset="0"/>
                <a:sym typeface="Montserrat SemiBold"/>
              </a:rPr>
              <a:t>Vājākie posmi</a:t>
            </a:r>
            <a:r>
              <a:rPr lang="lv-LV" sz="2000" dirty="0">
                <a:solidFill>
                  <a:srgbClr val="44546A"/>
                </a:solidFill>
                <a:cs typeface="Arial" pitchFamily="34" charset="0"/>
                <a:sym typeface="Montserrat SemiBold"/>
              </a:rPr>
              <a:t>: </a:t>
            </a:r>
          </a:p>
          <a:p>
            <a:pPr marL="285750" indent="-285750">
              <a:buFont typeface="Arial" panose="020B0604020202020204" pitchFamily="34" charset="0"/>
              <a:buChar char="•"/>
            </a:pPr>
            <a:r>
              <a:rPr lang="lv-LV" dirty="0">
                <a:solidFill>
                  <a:srgbClr val="44546A"/>
                </a:solidFill>
                <a:cs typeface="Arial" pitchFamily="34" charset="0"/>
                <a:sym typeface="Montserrat SemiBold"/>
              </a:rPr>
              <a:t>Pozitīvs balss tonis, saruna ar entuziasmu: </a:t>
            </a:r>
            <a:r>
              <a:rPr lang="lv-LV" b="1" dirty="0">
                <a:solidFill>
                  <a:srgbClr val="44546A"/>
                </a:solidFill>
                <a:cs typeface="Arial" pitchFamily="34" charset="0"/>
                <a:sym typeface="Montserrat SemiBold"/>
              </a:rPr>
              <a:t>91%</a:t>
            </a:r>
          </a:p>
          <a:p>
            <a:pPr marL="285750" indent="-285750">
              <a:buFont typeface="Arial" panose="020B0604020202020204" pitchFamily="34" charset="0"/>
              <a:buChar char="•"/>
            </a:pPr>
            <a:r>
              <a:rPr lang="lv-LV" dirty="0">
                <a:solidFill>
                  <a:srgbClr val="44546A"/>
                </a:solidFill>
                <a:cs typeface="Arial" pitchFamily="34" charset="0"/>
                <a:sym typeface="Montserrat SemiBold"/>
              </a:rPr>
              <a:t>Sasveicināšanās: </a:t>
            </a:r>
            <a:r>
              <a:rPr lang="lv-LV" b="1" dirty="0">
                <a:solidFill>
                  <a:srgbClr val="44546A"/>
                </a:solidFill>
                <a:cs typeface="Arial" pitchFamily="34" charset="0"/>
                <a:sym typeface="Montserrat SemiBold"/>
              </a:rPr>
              <a:t>83%</a:t>
            </a:r>
          </a:p>
          <a:p>
            <a:pPr marL="285750" indent="-285750">
              <a:buFont typeface="Arial" panose="020B0604020202020204" pitchFamily="34" charset="0"/>
              <a:buChar char="•"/>
            </a:pPr>
            <a:r>
              <a:rPr lang="lv-LV" dirty="0">
                <a:solidFill>
                  <a:srgbClr val="44546A"/>
                </a:solidFill>
                <a:cs typeface="Arial" pitchFamily="34" charset="0"/>
                <a:sym typeface="Montserrat SemiBold"/>
              </a:rPr>
              <a:t>Norādes, kur griezties pēc palīdzības: </a:t>
            </a:r>
            <a:r>
              <a:rPr lang="lv-LV" b="1" dirty="0">
                <a:solidFill>
                  <a:srgbClr val="44546A"/>
                </a:solidFill>
                <a:cs typeface="Arial" pitchFamily="34" charset="0"/>
                <a:sym typeface="Montserrat SemiBold"/>
              </a:rPr>
              <a:t>87%</a:t>
            </a:r>
          </a:p>
          <a:p>
            <a:pPr marL="285750" indent="-285750">
              <a:buFont typeface="Arial" panose="020B0604020202020204" pitchFamily="34" charset="0"/>
              <a:buChar char="•"/>
            </a:pPr>
            <a:r>
              <a:rPr lang="lv-LV" dirty="0">
                <a:solidFill>
                  <a:srgbClr val="44546A"/>
                </a:solidFill>
                <a:cs typeface="Arial" pitchFamily="34" charset="0"/>
                <a:sym typeface="Montserrat SemiBold"/>
              </a:rPr>
              <a:t>Pārliecināšanās, ka atbildēti visi jautājumi: </a:t>
            </a:r>
            <a:r>
              <a:rPr lang="lv-LV" b="1" dirty="0">
                <a:solidFill>
                  <a:srgbClr val="FF0000"/>
                </a:solidFill>
                <a:cs typeface="Arial" pitchFamily="34" charset="0"/>
                <a:sym typeface="Montserrat SemiBold"/>
              </a:rPr>
              <a:t>35%</a:t>
            </a:r>
          </a:p>
          <a:p>
            <a:pPr marL="285750" indent="-285750">
              <a:buFont typeface="Arial" panose="020B0604020202020204" pitchFamily="34" charset="0"/>
              <a:buChar char="•"/>
            </a:pPr>
            <a:endParaRPr lang="lv-LV" sz="1600" b="1" dirty="0">
              <a:solidFill>
                <a:srgbClr val="FF0000"/>
              </a:solidFill>
              <a:cs typeface="Arial" pitchFamily="34" charset="0"/>
              <a:sym typeface="Montserrat SemiBold"/>
            </a:endParaRPr>
          </a:p>
          <a:p>
            <a:r>
              <a:rPr lang="lv-LV" sz="2000" u="sng" dirty="0">
                <a:solidFill>
                  <a:srgbClr val="44546A"/>
                </a:solidFill>
                <a:cs typeface="Arial" pitchFamily="34" charset="0"/>
                <a:sym typeface="Montserrat SemiBold"/>
              </a:rPr>
              <a:t>Stiprās puses: </a:t>
            </a:r>
          </a:p>
          <a:p>
            <a:pPr marL="285750" indent="-285750">
              <a:buFont typeface="Arial" panose="020B0604020202020204" pitchFamily="34" charset="0"/>
              <a:buChar char="•"/>
            </a:pPr>
            <a:r>
              <a:rPr lang="lv-LV" dirty="0">
                <a:solidFill>
                  <a:srgbClr val="44546A"/>
                </a:solidFill>
                <a:cs typeface="Arial" pitchFamily="34" charset="0"/>
                <a:sym typeface="Montserrat SemiBold"/>
              </a:rPr>
              <a:t>Izsmeļošas un saprotamas atbildes sniegšana: </a:t>
            </a:r>
            <a:r>
              <a:rPr lang="lv-LV" b="1" dirty="0">
                <a:solidFill>
                  <a:srgbClr val="70AD47"/>
                </a:solidFill>
                <a:cs typeface="Arial" pitchFamily="34" charset="0"/>
                <a:sym typeface="Montserrat SemiBold"/>
              </a:rPr>
              <a:t>100%</a:t>
            </a:r>
          </a:p>
          <a:p>
            <a:pPr marL="285750" indent="-285750">
              <a:buFont typeface="Arial" panose="020B0604020202020204" pitchFamily="34" charset="0"/>
              <a:buChar char="•"/>
            </a:pPr>
            <a:r>
              <a:rPr lang="lv-LV" dirty="0">
                <a:solidFill>
                  <a:srgbClr val="44546A"/>
                </a:solidFill>
                <a:cs typeface="Arial" pitchFamily="34" charset="0"/>
                <a:sym typeface="Montserrat SemiBold"/>
              </a:rPr>
              <a:t>Papildu informācijas sniegšana: </a:t>
            </a:r>
            <a:r>
              <a:rPr lang="lv-LV" b="1" dirty="0">
                <a:solidFill>
                  <a:srgbClr val="70AD47"/>
                </a:solidFill>
                <a:cs typeface="Arial" pitchFamily="34" charset="0"/>
                <a:sym typeface="Montserrat SemiBold"/>
              </a:rPr>
              <a:t>100%</a:t>
            </a:r>
          </a:p>
          <a:p>
            <a:pPr marL="285750" indent="-285750">
              <a:buFont typeface="Arial" panose="020B0604020202020204" pitchFamily="34" charset="0"/>
              <a:buChar char="•"/>
            </a:pPr>
            <a:r>
              <a:rPr lang="lv-LV" dirty="0">
                <a:solidFill>
                  <a:srgbClr val="44546A"/>
                </a:solidFill>
                <a:cs typeface="Arial" pitchFamily="34" charset="0"/>
                <a:sym typeface="Montserrat SemiBold"/>
              </a:rPr>
              <a:t>Ieinteresētība palīdzēt: </a:t>
            </a:r>
            <a:r>
              <a:rPr lang="lv-LV" b="1" dirty="0">
                <a:solidFill>
                  <a:srgbClr val="70AD47"/>
                </a:solidFill>
                <a:cs typeface="Arial" pitchFamily="34" charset="0"/>
                <a:sym typeface="Montserrat SemiBold"/>
              </a:rPr>
              <a:t>100%</a:t>
            </a:r>
            <a:endParaRPr lang="en-US" b="1" dirty="0">
              <a:solidFill>
                <a:srgbClr val="70AD47"/>
              </a:solidFill>
              <a:cs typeface="Arial" pitchFamily="34" charset="0"/>
              <a:sym typeface="Montserrat SemiBold"/>
            </a:endParaRPr>
          </a:p>
        </p:txBody>
      </p:sp>
      <p:graphicFrame>
        <p:nvGraphicFramePr>
          <p:cNvPr id="8" name="Chart 7">
            <a:extLst>
              <a:ext uri="{FF2B5EF4-FFF2-40B4-BE49-F238E27FC236}">
                <a16:creationId xmlns:a16="http://schemas.microsoft.com/office/drawing/2014/main" id="{9FCAA0C7-ADBB-491B-8414-6283C2FDFB84}"/>
              </a:ext>
            </a:extLst>
          </p:cNvPr>
          <p:cNvGraphicFramePr/>
          <p:nvPr>
            <p:extLst>
              <p:ext uri="{D42A27DB-BD31-4B8C-83A1-F6EECF244321}">
                <p14:modId xmlns:p14="http://schemas.microsoft.com/office/powerpoint/2010/main" val="1795537272"/>
              </p:ext>
            </p:extLst>
          </p:nvPr>
        </p:nvGraphicFramePr>
        <p:xfrm>
          <a:off x="5500778" y="1434031"/>
          <a:ext cx="6095999" cy="3989937"/>
        </p:xfrm>
        <a:graphic>
          <a:graphicData uri="http://schemas.openxmlformats.org/drawingml/2006/chart">
            <c:chart xmlns:c="http://schemas.openxmlformats.org/drawingml/2006/chart" xmlns:r="http://schemas.openxmlformats.org/officeDocument/2006/relationships" r:id="rId2"/>
          </a:graphicData>
        </a:graphic>
      </p:graphicFrame>
      <p:sp>
        <p:nvSpPr>
          <p:cNvPr id="2" name="Title 1"/>
          <p:cNvSpPr>
            <a:spLocks noGrp="1"/>
          </p:cNvSpPr>
          <p:nvPr>
            <p:ph type="title"/>
          </p:nvPr>
        </p:nvSpPr>
        <p:spPr/>
        <p:txBody>
          <a:bodyPr/>
          <a:lstStyle/>
          <a:p>
            <a:r>
              <a:rPr lang="en-US" dirty="0" err="1"/>
              <a:t>Rezultāti</a:t>
            </a:r>
            <a:endParaRPr lang="en-US" dirty="0"/>
          </a:p>
        </p:txBody>
      </p:sp>
    </p:spTree>
    <p:extLst>
      <p:ext uri="{BB962C8B-B14F-4D97-AF65-F5344CB8AC3E}">
        <p14:creationId xmlns:p14="http://schemas.microsoft.com/office/powerpoint/2010/main" val="404420974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p:cNvSpPr>
            <a:spLocks noGrp="1"/>
          </p:cNvSpPr>
          <p:nvPr>
            <p:ph type="title"/>
          </p:nvPr>
        </p:nvSpPr>
        <p:spPr/>
        <p:txBody>
          <a:bodyPr/>
          <a:lstStyle/>
          <a:p>
            <a:r>
              <a:rPr lang="lv-LV" dirty="0"/>
              <a:t>Metodoloģija</a:t>
            </a:r>
            <a:endParaRPr lang="en-US" dirty="0"/>
          </a:p>
        </p:txBody>
      </p:sp>
      <p:sp>
        <p:nvSpPr>
          <p:cNvPr id="4" name="AutoShape 14"/>
          <p:cNvSpPr>
            <a:spLocks noChangeArrowheads="1"/>
          </p:cNvSpPr>
          <p:nvPr>
            <p:custDataLst>
              <p:tags r:id="rId1"/>
            </p:custDataLst>
          </p:nvPr>
        </p:nvSpPr>
        <p:spPr bwMode="gray">
          <a:xfrm>
            <a:off x="287265" y="1210939"/>
            <a:ext cx="2808360" cy="733008"/>
          </a:xfrm>
          <a:prstGeom prst="rect">
            <a:avLst/>
          </a:prstGeom>
          <a:solidFill>
            <a:schemeClr val="accent2">
              <a:lumMod val="75000"/>
            </a:schemeClr>
          </a:solidFill>
          <a:ln w="9525">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46800" bIns="46800"/>
          <a:lstStyle/>
          <a:p>
            <a:r>
              <a:rPr lang="lv-LV" sz="2000" b="1" dirty="0"/>
              <a:t>Pētījuma mērķis</a:t>
            </a:r>
          </a:p>
        </p:txBody>
      </p:sp>
      <p:sp>
        <p:nvSpPr>
          <p:cNvPr id="6" name="AutoShape 14"/>
          <p:cNvSpPr>
            <a:spLocks noChangeArrowheads="1"/>
          </p:cNvSpPr>
          <p:nvPr>
            <p:custDataLst>
              <p:tags r:id="rId2"/>
            </p:custDataLst>
          </p:nvPr>
        </p:nvSpPr>
        <p:spPr bwMode="gray">
          <a:xfrm>
            <a:off x="287265" y="1998079"/>
            <a:ext cx="2810387" cy="361188"/>
          </a:xfrm>
          <a:prstGeom prst="rect">
            <a:avLst/>
          </a:prstGeom>
          <a:solidFill>
            <a:schemeClr val="accent2">
              <a:lumMod val="75000"/>
            </a:schemeClr>
          </a:solidFill>
          <a:ln w="9525">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46800" bIns="46800"/>
          <a:lstStyle/>
          <a:p>
            <a:pPr fontAlgn="auto">
              <a:spcBef>
                <a:spcPts val="0"/>
              </a:spcBef>
              <a:spcAft>
                <a:spcPts val="0"/>
              </a:spcAft>
              <a:defRPr/>
            </a:pPr>
            <a:r>
              <a:rPr lang="lv-LV" sz="2000" b="1" dirty="0"/>
              <a:t>Aptaujas laiks</a:t>
            </a:r>
          </a:p>
        </p:txBody>
      </p:sp>
      <p:sp>
        <p:nvSpPr>
          <p:cNvPr id="7" name="Inhaltsplatzhalter 7"/>
          <p:cNvSpPr txBox="1">
            <a:spLocks/>
          </p:cNvSpPr>
          <p:nvPr>
            <p:custDataLst>
              <p:tags r:id="rId3"/>
            </p:custDataLst>
          </p:nvPr>
        </p:nvSpPr>
        <p:spPr bwMode="gray">
          <a:xfrm>
            <a:off x="3327609" y="1977633"/>
            <a:ext cx="7530892" cy="361188"/>
          </a:xfrm>
          <a:prstGeom prst="rect">
            <a:avLst/>
          </a:prstGeom>
          <a:noFill/>
          <a:ln w="9525">
            <a:noFill/>
            <a:miter lim="800000"/>
            <a:headEnd/>
            <a:tailEnd/>
          </a:ln>
        </p:spPr>
        <p:txBody>
          <a:bodyPr lIns="90000" tIns="46800" rIns="90000" bIns="46800" anchor="ctr"/>
          <a:lstStyle/>
          <a:p>
            <a:pPr marL="0" lvl="2" algn="just">
              <a:spcBef>
                <a:spcPts val="300"/>
              </a:spcBef>
            </a:pPr>
            <a:r>
              <a:rPr lang="lv-LV" sz="1600" dirty="0">
                <a:solidFill>
                  <a:schemeClr val="bg1"/>
                </a:solidFill>
              </a:rPr>
              <a:t>Novembris - decembris, 2020</a:t>
            </a:r>
            <a:endParaRPr lang="en-US" sz="1600" dirty="0">
              <a:solidFill>
                <a:schemeClr val="bg1"/>
              </a:solidFill>
            </a:endParaRPr>
          </a:p>
        </p:txBody>
      </p:sp>
      <p:sp>
        <p:nvSpPr>
          <p:cNvPr id="8" name="AutoShape 14"/>
          <p:cNvSpPr>
            <a:spLocks noChangeArrowheads="1"/>
          </p:cNvSpPr>
          <p:nvPr>
            <p:custDataLst>
              <p:tags r:id="rId4"/>
            </p:custDataLst>
          </p:nvPr>
        </p:nvSpPr>
        <p:spPr bwMode="gray">
          <a:xfrm>
            <a:off x="287265" y="4211445"/>
            <a:ext cx="2808360" cy="689643"/>
          </a:xfrm>
          <a:prstGeom prst="rect">
            <a:avLst/>
          </a:prstGeom>
          <a:solidFill>
            <a:schemeClr val="accent2">
              <a:lumMod val="75000"/>
            </a:schemeClr>
          </a:solidFill>
          <a:ln w="9525">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46800" bIns="46800"/>
          <a:lstStyle/>
          <a:p>
            <a:pPr fontAlgn="auto">
              <a:spcBef>
                <a:spcPts val="0"/>
              </a:spcBef>
              <a:spcAft>
                <a:spcPts val="0"/>
              </a:spcAft>
              <a:defRPr/>
            </a:pPr>
            <a:r>
              <a:rPr lang="lv-LV" sz="2000" b="1" dirty="0"/>
              <a:t>Pētījuma metode</a:t>
            </a:r>
            <a:endParaRPr lang="en-US" sz="2000" i="1" dirty="0">
              <a:solidFill>
                <a:srgbClr val="FFFFFF"/>
              </a:solidFill>
            </a:endParaRPr>
          </a:p>
        </p:txBody>
      </p:sp>
      <p:sp>
        <p:nvSpPr>
          <p:cNvPr id="9" name="Inhaltsplatzhalter 7"/>
          <p:cNvSpPr txBox="1">
            <a:spLocks/>
          </p:cNvSpPr>
          <p:nvPr>
            <p:custDataLst>
              <p:tags r:id="rId5"/>
            </p:custDataLst>
          </p:nvPr>
        </p:nvSpPr>
        <p:spPr bwMode="gray">
          <a:xfrm>
            <a:off x="3327609" y="3521700"/>
            <a:ext cx="7530892" cy="770064"/>
          </a:xfrm>
          <a:prstGeom prst="rect">
            <a:avLst/>
          </a:prstGeom>
          <a:noFill/>
          <a:ln w="9525">
            <a:noFill/>
            <a:miter lim="800000"/>
            <a:headEnd/>
            <a:tailEnd/>
          </a:ln>
        </p:spPr>
        <p:txBody>
          <a:bodyPr lIns="90000" tIns="46800" rIns="90000" bIns="46800" anchor="ctr"/>
          <a:lstStyle/>
          <a:p>
            <a:pPr marL="0" lvl="2" algn="just">
              <a:spcBef>
                <a:spcPts val="300"/>
              </a:spcBef>
            </a:pPr>
            <a:r>
              <a:rPr lang="it-IT" sz="1600" dirty="0">
                <a:solidFill>
                  <a:schemeClr val="bg1"/>
                </a:solidFill>
              </a:rPr>
              <a:t>323 klienti un 23 VVD darbinieki</a:t>
            </a:r>
            <a:endParaRPr lang="lv-LV" sz="1600" dirty="0">
              <a:solidFill>
                <a:schemeClr val="bg1"/>
              </a:solidFill>
            </a:endParaRPr>
          </a:p>
        </p:txBody>
      </p:sp>
      <p:sp>
        <p:nvSpPr>
          <p:cNvPr id="10" name="AutoShape 14"/>
          <p:cNvSpPr>
            <a:spLocks noChangeArrowheads="1"/>
          </p:cNvSpPr>
          <p:nvPr>
            <p:custDataLst>
              <p:tags r:id="rId6"/>
            </p:custDataLst>
          </p:nvPr>
        </p:nvSpPr>
        <p:spPr bwMode="gray">
          <a:xfrm>
            <a:off x="287265" y="2421551"/>
            <a:ext cx="2810387" cy="1180468"/>
          </a:xfrm>
          <a:prstGeom prst="rect">
            <a:avLst/>
          </a:prstGeom>
          <a:solidFill>
            <a:schemeClr val="accent2">
              <a:lumMod val="75000"/>
            </a:schemeClr>
          </a:solidFill>
          <a:ln w="9525">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46800" bIns="46800"/>
          <a:lstStyle/>
          <a:p>
            <a:pPr fontAlgn="auto">
              <a:spcBef>
                <a:spcPts val="0"/>
              </a:spcBef>
              <a:spcAft>
                <a:spcPts val="0"/>
              </a:spcAft>
              <a:defRPr/>
            </a:pPr>
            <a:r>
              <a:rPr lang="lv-LV" sz="2000" b="1" dirty="0"/>
              <a:t>Mērķa grupa</a:t>
            </a:r>
          </a:p>
        </p:txBody>
      </p:sp>
      <p:sp>
        <p:nvSpPr>
          <p:cNvPr id="12" name="AutoShape 14"/>
          <p:cNvSpPr>
            <a:spLocks noChangeArrowheads="1"/>
          </p:cNvSpPr>
          <p:nvPr>
            <p:custDataLst>
              <p:tags r:id="rId7"/>
            </p:custDataLst>
          </p:nvPr>
        </p:nvSpPr>
        <p:spPr bwMode="gray">
          <a:xfrm>
            <a:off x="287265" y="3655532"/>
            <a:ext cx="2808360" cy="502400"/>
          </a:xfrm>
          <a:prstGeom prst="rect">
            <a:avLst/>
          </a:prstGeom>
          <a:solidFill>
            <a:schemeClr val="accent2">
              <a:lumMod val="75000"/>
            </a:schemeClr>
          </a:solidFill>
          <a:ln w="9525">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46800" bIns="46800"/>
          <a:lstStyle/>
          <a:p>
            <a:pPr fontAlgn="auto">
              <a:spcBef>
                <a:spcPts val="0"/>
              </a:spcBef>
              <a:spcAft>
                <a:spcPts val="0"/>
              </a:spcAft>
              <a:defRPr/>
            </a:pPr>
            <a:r>
              <a:rPr lang="lv-LV" sz="2000" b="1" dirty="0"/>
              <a:t>Izlases lielums</a:t>
            </a:r>
            <a:endParaRPr lang="en-US" sz="2000" i="1" dirty="0">
              <a:solidFill>
                <a:srgbClr val="FFFFFF"/>
              </a:solidFill>
            </a:endParaRPr>
          </a:p>
        </p:txBody>
      </p:sp>
      <p:sp>
        <p:nvSpPr>
          <p:cNvPr id="14" name="Inhaltsplatzhalter 7"/>
          <p:cNvSpPr txBox="1">
            <a:spLocks/>
          </p:cNvSpPr>
          <p:nvPr>
            <p:custDataLst>
              <p:tags r:id="rId8"/>
            </p:custDataLst>
          </p:nvPr>
        </p:nvSpPr>
        <p:spPr bwMode="gray">
          <a:xfrm>
            <a:off x="3327609" y="4291764"/>
            <a:ext cx="7530892" cy="413209"/>
          </a:xfrm>
          <a:prstGeom prst="rect">
            <a:avLst/>
          </a:prstGeom>
          <a:noFill/>
          <a:ln w="9525">
            <a:noFill/>
            <a:miter lim="800000"/>
            <a:headEnd/>
            <a:tailEnd/>
          </a:ln>
        </p:spPr>
        <p:txBody>
          <a:bodyPr lIns="90000" tIns="46800" rIns="90000" bIns="46800" anchor="ctr"/>
          <a:lstStyle/>
          <a:p>
            <a:pPr marL="0" lvl="2" algn="just">
              <a:spcBef>
                <a:spcPts val="300"/>
              </a:spcBef>
            </a:pPr>
            <a:r>
              <a:rPr lang="lv-LV" sz="1600" dirty="0">
                <a:solidFill>
                  <a:schemeClr val="bg1"/>
                </a:solidFill>
              </a:rPr>
              <a:t>Online intervijas un telefonintervijas ar datoratbalstu </a:t>
            </a:r>
          </a:p>
          <a:p>
            <a:pPr marL="0" lvl="2" algn="just">
              <a:spcBef>
                <a:spcPts val="300"/>
              </a:spcBef>
            </a:pPr>
            <a:r>
              <a:rPr lang="lv-LV" sz="1600" dirty="0">
                <a:solidFill>
                  <a:schemeClr val="bg1"/>
                </a:solidFill>
              </a:rPr>
              <a:t>S</a:t>
            </a:r>
            <a:r>
              <a:rPr lang="en-US" sz="1600" dirty="0" err="1">
                <a:solidFill>
                  <a:schemeClr val="bg1"/>
                </a:solidFill>
              </a:rPr>
              <a:t>lepenā</a:t>
            </a:r>
            <a:r>
              <a:rPr lang="en-US" sz="1600" dirty="0">
                <a:solidFill>
                  <a:schemeClr val="bg1"/>
                </a:solidFill>
              </a:rPr>
              <a:t> </a:t>
            </a:r>
            <a:r>
              <a:rPr lang="en-US" sz="1600" dirty="0" err="1">
                <a:solidFill>
                  <a:schemeClr val="bg1"/>
                </a:solidFill>
              </a:rPr>
              <a:t>pircēja</a:t>
            </a:r>
            <a:r>
              <a:rPr lang="en-US" sz="1600" dirty="0">
                <a:solidFill>
                  <a:schemeClr val="bg1"/>
                </a:solidFill>
              </a:rPr>
              <a:t> </a:t>
            </a:r>
            <a:r>
              <a:rPr lang="en-US" sz="1600" dirty="0" err="1">
                <a:solidFill>
                  <a:schemeClr val="bg1"/>
                </a:solidFill>
              </a:rPr>
              <a:t>metode</a:t>
            </a:r>
            <a:r>
              <a:rPr lang="en-US" sz="1600" dirty="0">
                <a:solidFill>
                  <a:schemeClr val="bg1"/>
                </a:solidFill>
              </a:rPr>
              <a:t> </a:t>
            </a:r>
            <a:r>
              <a:rPr lang="en-US" sz="1600" dirty="0" err="1">
                <a:solidFill>
                  <a:schemeClr val="bg1"/>
                </a:solidFill>
              </a:rPr>
              <a:t>jeb</a:t>
            </a:r>
            <a:r>
              <a:rPr lang="en-US" sz="1600" dirty="0">
                <a:solidFill>
                  <a:schemeClr val="bg1"/>
                </a:solidFill>
              </a:rPr>
              <a:t> Mystery Shopping (MS)</a:t>
            </a:r>
          </a:p>
        </p:txBody>
      </p:sp>
      <p:sp>
        <p:nvSpPr>
          <p:cNvPr id="15" name="Rechteck 10"/>
          <p:cNvSpPr/>
          <p:nvPr/>
        </p:nvSpPr>
        <p:spPr bwMode="gray">
          <a:xfrm>
            <a:off x="287265" y="4949924"/>
            <a:ext cx="2808360" cy="1340533"/>
          </a:xfrm>
          <a:prstGeom prst="rect">
            <a:avLst/>
          </a:prstGeom>
          <a:solidFill>
            <a:schemeClr val="accent2">
              <a:lumMod val="75000"/>
            </a:schemeClr>
          </a:solidFill>
          <a:ln w="9525">
            <a:solidFill>
              <a:schemeClr val="bg1"/>
            </a:solidFill>
          </a:ln>
          <a:effectLst>
            <a:outerShdw blurRad="50800" dist="38100" dir="2700000" algn="tl" rotWithShape="0">
              <a:prstClr val="black">
                <a:alpha val="40000"/>
              </a:prstClr>
            </a:outerShdw>
          </a:effectLst>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nchor="ctr" anchorCtr="0"/>
          <a:lstStyle/>
          <a:p>
            <a:r>
              <a:rPr lang="lv-LV" sz="2000" b="1" dirty="0">
                <a:solidFill>
                  <a:srgbClr val="F5F5F5"/>
                </a:solidFill>
              </a:rPr>
              <a:t>Apzīmējumi</a:t>
            </a:r>
            <a:endParaRPr lang="en-US" sz="2000" b="1" dirty="0">
              <a:solidFill>
                <a:srgbClr val="F5F5F5"/>
              </a:solidFill>
            </a:endParaRPr>
          </a:p>
        </p:txBody>
      </p:sp>
      <p:grpSp>
        <p:nvGrpSpPr>
          <p:cNvPr id="21" name="Group 20"/>
          <p:cNvGrpSpPr/>
          <p:nvPr/>
        </p:nvGrpSpPr>
        <p:grpSpPr>
          <a:xfrm>
            <a:off x="3325582" y="5061828"/>
            <a:ext cx="6986285" cy="1352628"/>
            <a:chOff x="2730874" y="4964352"/>
            <a:chExt cx="8394326" cy="1352628"/>
          </a:xfrm>
        </p:grpSpPr>
        <p:sp>
          <p:nvSpPr>
            <p:cNvPr id="22" name="Rectangle 21"/>
            <p:cNvSpPr/>
            <p:nvPr/>
          </p:nvSpPr>
          <p:spPr>
            <a:xfrm>
              <a:off x="2730874" y="4964352"/>
              <a:ext cx="8394326" cy="1352628"/>
            </a:xfrm>
            <a:prstGeom prst="rect">
              <a:avLst/>
            </a:prstGeom>
          </p:spPr>
          <p:txBody>
            <a:bodyPr wrap="square">
              <a:noAutofit/>
            </a:bodyPr>
            <a:lstStyle/>
            <a:p>
              <a:pPr>
                <a:spcAft>
                  <a:spcPts val="600"/>
                </a:spcAft>
                <a:buClr>
                  <a:schemeClr val="accent1"/>
                </a:buClr>
                <a:defRPr/>
              </a:pPr>
              <a:r>
                <a:rPr lang="lv-LV" sz="1600" dirty="0">
                  <a:solidFill>
                    <a:schemeClr val="bg1"/>
                  </a:solidFill>
                </a:rPr>
                <a:t>Rādītājs ir statistiski nozīmīgi</a:t>
              </a:r>
              <a:r>
                <a:rPr lang="en-US" sz="1600" dirty="0">
                  <a:solidFill>
                    <a:schemeClr val="bg1"/>
                  </a:solidFill>
                </a:rPr>
                <a:t>   </a:t>
              </a:r>
              <a:r>
                <a:rPr lang="lv-LV" sz="1600" dirty="0">
                  <a:solidFill>
                    <a:schemeClr val="bg1"/>
                  </a:solidFill>
                </a:rPr>
                <a:t> </a:t>
              </a:r>
              <a:r>
                <a:rPr lang="lv-LV" sz="1600" u="sng" dirty="0">
                  <a:solidFill>
                    <a:schemeClr val="bg1"/>
                  </a:solidFill>
                </a:rPr>
                <a:t>augstāks</a:t>
              </a:r>
              <a:r>
                <a:rPr lang="lv-LV" sz="1600" dirty="0">
                  <a:solidFill>
                    <a:schemeClr val="bg1"/>
                  </a:solidFill>
                </a:rPr>
                <a:t> </a:t>
              </a:r>
              <a:r>
                <a:rPr lang="en-US" sz="1600" dirty="0">
                  <a:solidFill>
                    <a:schemeClr val="bg1"/>
                  </a:solidFill>
                </a:rPr>
                <a:t>   </a:t>
              </a:r>
              <a:r>
                <a:rPr lang="lv-LV" sz="1600" u="sng" dirty="0">
                  <a:solidFill>
                    <a:schemeClr val="bg1"/>
                  </a:solidFill>
                </a:rPr>
                <a:t>zemāks</a:t>
              </a:r>
              <a:r>
                <a:rPr lang="lv-LV" sz="1600" dirty="0">
                  <a:solidFill>
                    <a:schemeClr val="bg1"/>
                  </a:solidFill>
                </a:rPr>
                <a:t> kā visā izlasē (varbūtība 95%)</a:t>
              </a:r>
            </a:p>
            <a:p>
              <a:pPr fontAlgn="auto">
                <a:spcBef>
                  <a:spcPts val="0"/>
                </a:spcBef>
                <a:spcAft>
                  <a:spcPts val="600"/>
                </a:spcAft>
                <a:buClr>
                  <a:schemeClr val="accent1"/>
                </a:buClr>
                <a:defRPr/>
              </a:pPr>
              <a:r>
                <a:rPr lang="lv-LV" sz="1600" dirty="0">
                  <a:solidFill>
                    <a:schemeClr val="bg1"/>
                  </a:solidFill>
                </a:rPr>
                <a:t>* Izlases apjoms (30 &lt; n &lt; 50 respondenti) ir pārāk mazs, lai izdarītu statistiski nozīmīgus secinājumus </a:t>
              </a:r>
            </a:p>
            <a:p>
              <a:pPr fontAlgn="auto">
                <a:spcBef>
                  <a:spcPts val="0"/>
                </a:spcBef>
                <a:spcAft>
                  <a:spcPts val="600"/>
                </a:spcAft>
                <a:buClr>
                  <a:schemeClr val="accent1"/>
                </a:buClr>
                <a:defRPr/>
              </a:pPr>
              <a:r>
                <a:rPr lang="lv-LV" sz="1600" dirty="0">
                  <a:solidFill>
                    <a:schemeClr val="bg1"/>
                  </a:solidFill>
                </a:rPr>
                <a:t> ** Izlases apjoms (n &lt; 30 respondenti) ir ļoti mazs, datiem ir ilustratīva nozīme</a:t>
              </a:r>
            </a:p>
          </p:txBody>
        </p:sp>
        <p:cxnSp>
          <p:nvCxnSpPr>
            <p:cNvPr id="23" name="Straight Arrow Connector 22"/>
            <p:cNvCxnSpPr/>
            <p:nvPr/>
          </p:nvCxnSpPr>
          <p:spPr>
            <a:xfrm>
              <a:off x="6854790" y="5041558"/>
              <a:ext cx="0" cy="180000"/>
            </a:xfrm>
            <a:prstGeom prst="straightConnector1">
              <a:avLst/>
            </a:prstGeom>
            <a:ln w="22225">
              <a:solidFill>
                <a:srgbClr val="C00000"/>
              </a:solidFill>
              <a:headEnd type="none" w="med" len="med"/>
              <a:tailEnd type="arrow"/>
            </a:ln>
          </p:spPr>
          <p:style>
            <a:lnRef idx="1">
              <a:schemeClr val="accent1"/>
            </a:lnRef>
            <a:fillRef idx="0">
              <a:schemeClr val="accent1"/>
            </a:fillRef>
            <a:effectRef idx="0">
              <a:schemeClr val="accent1"/>
            </a:effectRef>
            <a:fontRef idx="minor">
              <a:schemeClr val="tx1"/>
            </a:fontRef>
          </p:style>
        </p:cxnSp>
        <p:cxnSp>
          <p:nvCxnSpPr>
            <p:cNvPr id="24" name="Straight Arrow Connector 23"/>
            <p:cNvCxnSpPr/>
            <p:nvPr/>
          </p:nvCxnSpPr>
          <p:spPr>
            <a:xfrm flipH="1" flipV="1">
              <a:off x="5805395" y="5025312"/>
              <a:ext cx="0" cy="180000"/>
            </a:xfrm>
            <a:prstGeom prst="straightConnector1">
              <a:avLst/>
            </a:prstGeom>
            <a:ln w="22225">
              <a:solidFill>
                <a:srgbClr val="1B7F20"/>
              </a:solidFill>
              <a:headEnd type="none" w="med" len="med"/>
              <a:tailEnd type="arrow"/>
            </a:ln>
          </p:spPr>
          <p:style>
            <a:lnRef idx="1">
              <a:schemeClr val="accent1"/>
            </a:lnRef>
            <a:fillRef idx="0">
              <a:schemeClr val="accent1"/>
            </a:fillRef>
            <a:effectRef idx="0">
              <a:schemeClr val="accent1"/>
            </a:effectRef>
            <a:fontRef idx="minor">
              <a:schemeClr val="tx1"/>
            </a:fontRef>
          </p:style>
        </p:cxnSp>
      </p:grpSp>
      <p:sp>
        <p:nvSpPr>
          <p:cNvPr id="18" name="Inhaltsplatzhalter 7"/>
          <p:cNvSpPr txBox="1">
            <a:spLocks/>
          </p:cNvSpPr>
          <p:nvPr>
            <p:custDataLst>
              <p:tags r:id="rId9"/>
            </p:custDataLst>
          </p:nvPr>
        </p:nvSpPr>
        <p:spPr bwMode="gray">
          <a:xfrm>
            <a:off x="3327609" y="1159182"/>
            <a:ext cx="6892156" cy="733009"/>
          </a:xfrm>
          <a:prstGeom prst="rect">
            <a:avLst/>
          </a:prstGeom>
          <a:noFill/>
          <a:ln w="9525">
            <a:noFill/>
            <a:miter lim="800000"/>
            <a:headEnd/>
            <a:tailEnd/>
          </a:ln>
        </p:spPr>
        <p:txBody>
          <a:bodyPr lIns="90000" tIns="46800" rIns="90000" bIns="46800" anchor="ctr"/>
          <a:lstStyle/>
          <a:p>
            <a:pPr algn="just"/>
            <a:r>
              <a:rPr lang="lv-LV" sz="1600" dirty="0">
                <a:solidFill>
                  <a:schemeClr val="bg1"/>
                </a:solidFill>
              </a:rPr>
              <a:t>Noskaidrot VVD pakalpojuma vērtību klientam – sniegtā pakalpojuma atbilstību klienta vajadzībām, klienta apmierinātību ar sniegto pakalpojumu inspekcijas jomā</a:t>
            </a:r>
            <a:endParaRPr lang="en-US" sz="1600" dirty="0">
              <a:solidFill>
                <a:schemeClr val="bg1"/>
              </a:solidFill>
            </a:endParaRPr>
          </a:p>
        </p:txBody>
      </p:sp>
      <p:sp>
        <p:nvSpPr>
          <p:cNvPr id="2" name="Rectangle 1"/>
          <p:cNvSpPr/>
          <p:nvPr/>
        </p:nvSpPr>
        <p:spPr>
          <a:xfrm>
            <a:off x="3325582" y="2195940"/>
            <a:ext cx="6775950" cy="1477328"/>
          </a:xfrm>
          <a:prstGeom prst="rect">
            <a:avLst/>
          </a:prstGeom>
          <a:noFill/>
          <a:ln w="9525">
            <a:noFill/>
            <a:miter lim="800000"/>
            <a:headEnd/>
            <a:tailEnd/>
          </a:ln>
        </p:spPr>
        <p:txBody>
          <a:bodyPr lIns="90000" tIns="46800" rIns="90000" bIns="46800" anchor="ctr"/>
          <a:lstStyle/>
          <a:p>
            <a:pPr marL="342900" indent="-342900" algn="just">
              <a:buFont typeface="+mj-lt"/>
              <a:buAutoNum type="arabicPeriod"/>
            </a:pPr>
            <a:r>
              <a:rPr lang="lv-LV" sz="1600" dirty="0">
                <a:solidFill>
                  <a:schemeClr val="bg1"/>
                </a:solidFill>
              </a:rPr>
              <a:t>VVD klienti, kuri 2020. gada 1. pusgadā saņēmuši pakalpojumu – pārbaudi piesārņojuma un radiācijas drošības jomā, jūras, piekrastes un iekšējo ūdeņu komerczvejas jomā</a:t>
            </a:r>
          </a:p>
          <a:p>
            <a:pPr marL="342900" indent="-342900" algn="just">
              <a:buFont typeface="+mj-lt"/>
              <a:buAutoNum type="arabicPeriod"/>
            </a:pPr>
            <a:r>
              <a:rPr lang="lv-LV" sz="1600" dirty="0">
                <a:solidFill>
                  <a:schemeClr val="bg1"/>
                </a:solidFill>
              </a:rPr>
              <a:t>VVD darbinieki, kuri ikdienā sniedz klientu konsultācijas</a:t>
            </a:r>
          </a:p>
        </p:txBody>
      </p:sp>
    </p:spTree>
    <p:extLst>
      <p:ext uri="{BB962C8B-B14F-4D97-AF65-F5344CB8AC3E}">
        <p14:creationId xmlns:p14="http://schemas.microsoft.com/office/powerpoint/2010/main" val="338951924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p:cNvSpPr>
            <a:spLocks noGrp="1"/>
          </p:cNvSpPr>
          <p:nvPr>
            <p:ph type="title"/>
          </p:nvPr>
        </p:nvSpPr>
        <p:spPr/>
        <p:txBody>
          <a:bodyPr/>
          <a:lstStyle/>
          <a:p>
            <a:r>
              <a:rPr lang="lv-LV" dirty="0"/>
              <a:t>Klientu aptaujas izlases struktūra</a:t>
            </a:r>
            <a:endParaRPr lang="en-US" dirty="0"/>
          </a:p>
        </p:txBody>
      </p:sp>
      <p:graphicFrame>
        <p:nvGraphicFramePr>
          <p:cNvPr id="3" name="Table 2"/>
          <p:cNvGraphicFramePr>
            <a:graphicFrameLocks noGrp="1"/>
          </p:cNvGraphicFramePr>
          <p:nvPr>
            <p:extLst>
              <p:ext uri="{D42A27DB-BD31-4B8C-83A1-F6EECF244321}">
                <p14:modId xmlns:p14="http://schemas.microsoft.com/office/powerpoint/2010/main" val="625871657"/>
              </p:ext>
            </p:extLst>
          </p:nvPr>
        </p:nvGraphicFramePr>
        <p:xfrm>
          <a:off x="337352" y="1121434"/>
          <a:ext cx="9367365" cy="4037177"/>
        </p:xfrm>
        <a:graphic>
          <a:graphicData uri="http://schemas.openxmlformats.org/drawingml/2006/table">
            <a:tbl>
              <a:tblPr firstRow="1" firstCol="1" bandRow="1">
                <a:tableStyleId>{5C22544A-7EE6-4342-B048-85BDC9FD1C3A}</a:tableStyleId>
              </a:tblPr>
              <a:tblGrid>
                <a:gridCol w="2121812">
                  <a:extLst>
                    <a:ext uri="{9D8B030D-6E8A-4147-A177-3AD203B41FA5}">
                      <a16:colId xmlns:a16="http://schemas.microsoft.com/office/drawing/2014/main" val="20000"/>
                    </a:ext>
                  </a:extLst>
                </a:gridCol>
                <a:gridCol w="2080832">
                  <a:extLst>
                    <a:ext uri="{9D8B030D-6E8A-4147-A177-3AD203B41FA5}">
                      <a16:colId xmlns:a16="http://schemas.microsoft.com/office/drawing/2014/main" val="20001"/>
                    </a:ext>
                  </a:extLst>
                </a:gridCol>
                <a:gridCol w="2739055">
                  <a:extLst>
                    <a:ext uri="{9D8B030D-6E8A-4147-A177-3AD203B41FA5}">
                      <a16:colId xmlns:a16="http://schemas.microsoft.com/office/drawing/2014/main" val="20002"/>
                    </a:ext>
                  </a:extLst>
                </a:gridCol>
                <a:gridCol w="2425666">
                  <a:extLst>
                    <a:ext uri="{9D8B030D-6E8A-4147-A177-3AD203B41FA5}">
                      <a16:colId xmlns:a16="http://schemas.microsoft.com/office/drawing/2014/main" val="20003"/>
                    </a:ext>
                  </a:extLst>
                </a:gridCol>
              </a:tblGrid>
              <a:tr h="1112808">
                <a:tc gridSpan="2">
                  <a:txBody>
                    <a:bodyPr/>
                    <a:lstStyle/>
                    <a:p>
                      <a:pPr>
                        <a:lnSpc>
                          <a:spcPts val="1400"/>
                        </a:lnSpc>
                        <a:spcBef>
                          <a:spcPts val="600"/>
                        </a:spcBef>
                        <a:spcAft>
                          <a:spcPts val="600"/>
                        </a:spcAft>
                      </a:pPr>
                      <a:r>
                        <a:rPr lang="lv-LV" sz="1600" dirty="0">
                          <a:effectLst/>
                        </a:rPr>
                        <a:t> </a:t>
                      </a:r>
                      <a:endParaRPr lang="en-US" sz="16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tc>
                <a:tc hMerge="1">
                  <a:txBody>
                    <a:bodyPr/>
                    <a:lstStyle/>
                    <a:p>
                      <a:endParaRPr lang="en-US"/>
                    </a:p>
                  </a:txBody>
                  <a:tcPr/>
                </a:tc>
                <a:tc>
                  <a:txBody>
                    <a:bodyPr/>
                    <a:lstStyle/>
                    <a:p>
                      <a:pPr algn="ctr">
                        <a:lnSpc>
                          <a:spcPts val="1400"/>
                        </a:lnSpc>
                        <a:spcBef>
                          <a:spcPts val="600"/>
                        </a:spcBef>
                        <a:spcAft>
                          <a:spcPts val="600"/>
                        </a:spcAft>
                      </a:pPr>
                      <a:endParaRPr lang="lv-LV" sz="1600">
                        <a:effectLst/>
                      </a:endParaRPr>
                    </a:p>
                    <a:p>
                      <a:pPr algn="ctr">
                        <a:lnSpc>
                          <a:spcPts val="1400"/>
                        </a:lnSpc>
                        <a:spcBef>
                          <a:spcPts val="600"/>
                        </a:spcBef>
                        <a:spcAft>
                          <a:spcPts val="600"/>
                        </a:spcAft>
                      </a:pPr>
                      <a:r>
                        <a:rPr lang="lv-LV" sz="1600">
                          <a:effectLst/>
                        </a:rPr>
                        <a:t>VVD </a:t>
                      </a:r>
                      <a:r>
                        <a:rPr lang="lv-LV" sz="1600" dirty="0">
                          <a:effectLst/>
                        </a:rPr>
                        <a:t>klientu skaits pa pārbaužu jomām 2020. </a:t>
                      </a:r>
                      <a:r>
                        <a:rPr lang="lv-LV" sz="1600">
                          <a:effectLst/>
                        </a:rPr>
                        <a:t>gada  1. pusgadā</a:t>
                      </a:r>
                      <a:endParaRPr lang="en-US" sz="16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algn="ctr">
                        <a:lnSpc>
                          <a:spcPts val="1400"/>
                        </a:lnSpc>
                        <a:spcBef>
                          <a:spcPts val="600"/>
                        </a:spcBef>
                        <a:spcAft>
                          <a:spcPts val="600"/>
                        </a:spcAft>
                      </a:pPr>
                      <a:r>
                        <a:rPr lang="lv-LV" sz="1600">
                          <a:effectLst/>
                        </a:rPr>
                        <a:t> </a:t>
                      </a:r>
                      <a:endParaRPr lang="en-US" sz="1600">
                        <a:effectLst/>
                      </a:endParaRPr>
                    </a:p>
                    <a:p>
                      <a:pPr algn="ctr">
                        <a:lnSpc>
                          <a:spcPts val="1400"/>
                        </a:lnSpc>
                        <a:spcBef>
                          <a:spcPts val="600"/>
                        </a:spcBef>
                        <a:spcAft>
                          <a:spcPts val="600"/>
                        </a:spcAft>
                      </a:pPr>
                      <a:r>
                        <a:rPr lang="lv-LV" sz="1600">
                          <a:effectLst/>
                        </a:rPr>
                        <a:t>Respondentu skaits</a:t>
                      </a:r>
                      <a:endParaRPr lang="en-US" sz="1600">
                        <a:effectLst/>
                        <a:latin typeface="Arial" panose="020B0604020202020204" pitchFamily="34" charset="0"/>
                        <a:ea typeface="Times New Roman" panose="02020603050405020304" pitchFamily="18" charset="0"/>
                        <a:cs typeface="Times New Roman" panose="02020603050405020304" pitchFamily="18" charset="0"/>
                      </a:endParaRPr>
                    </a:p>
                  </a:txBody>
                  <a:tcPr marL="0" marR="0" marT="0" marB="0"/>
                </a:tc>
                <a:extLst>
                  <a:ext uri="{0D108BD9-81ED-4DB2-BD59-A6C34878D82A}">
                    <a16:rowId xmlns:a16="http://schemas.microsoft.com/office/drawing/2014/main" val="10000"/>
                  </a:ext>
                </a:extLst>
              </a:tr>
              <a:tr h="414067">
                <a:tc gridSpan="2">
                  <a:txBody>
                    <a:bodyPr/>
                    <a:lstStyle/>
                    <a:p>
                      <a:pPr algn="r">
                        <a:lnSpc>
                          <a:spcPct val="150000"/>
                        </a:lnSpc>
                        <a:spcBef>
                          <a:spcPts val="600"/>
                        </a:spcBef>
                        <a:spcAft>
                          <a:spcPts val="600"/>
                        </a:spcAft>
                      </a:pPr>
                      <a:r>
                        <a:rPr lang="lv-LV" sz="1600" dirty="0">
                          <a:effectLst/>
                        </a:rPr>
                        <a:t>Plānveida pārbaudes (integrētās un tematiskās):</a:t>
                      </a:r>
                      <a:endParaRPr lang="en-US" sz="16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tc>
                <a:tc hMerge="1">
                  <a:txBody>
                    <a:bodyPr/>
                    <a:lstStyle/>
                    <a:p>
                      <a:endParaRPr lang="en-US"/>
                    </a:p>
                  </a:txBody>
                  <a:tcPr/>
                </a:tc>
                <a:tc>
                  <a:txBody>
                    <a:bodyPr/>
                    <a:lstStyle/>
                    <a:p>
                      <a:pPr algn="ctr">
                        <a:lnSpc>
                          <a:spcPct val="200000"/>
                        </a:lnSpc>
                        <a:spcBef>
                          <a:spcPts val="600"/>
                        </a:spcBef>
                        <a:spcAft>
                          <a:spcPts val="600"/>
                        </a:spcAft>
                      </a:pPr>
                      <a:r>
                        <a:rPr lang="en-US" sz="1600" dirty="0">
                          <a:effectLst/>
                        </a:rPr>
                        <a:t>1 157</a:t>
                      </a:r>
                      <a:endParaRPr lang="en-US" sz="16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algn="ctr">
                        <a:lnSpc>
                          <a:spcPct val="200000"/>
                        </a:lnSpc>
                        <a:spcBef>
                          <a:spcPts val="600"/>
                        </a:spcBef>
                        <a:spcAft>
                          <a:spcPts val="600"/>
                        </a:spcAft>
                      </a:pPr>
                      <a:r>
                        <a:rPr lang="en-US" sz="1600" dirty="0">
                          <a:effectLst/>
                        </a:rPr>
                        <a:t>203</a:t>
                      </a:r>
                      <a:endParaRPr lang="en-US" sz="16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0" marR="0" marT="0" marB="0"/>
                </a:tc>
                <a:extLst>
                  <a:ext uri="{0D108BD9-81ED-4DB2-BD59-A6C34878D82A}">
                    <a16:rowId xmlns:a16="http://schemas.microsoft.com/office/drawing/2014/main" val="10001"/>
                  </a:ext>
                </a:extLst>
              </a:tr>
              <a:tr h="334485">
                <a:tc gridSpan="2">
                  <a:txBody>
                    <a:bodyPr/>
                    <a:lstStyle/>
                    <a:p>
                      <a:pPr algn="r">
                        <a:lnSpc>
                          <a:spcPct val="150000"/>
                        </a:lnSpc>
                        <a:spcBef>
                          <a:spcPts val="600"/>
                        </a:spcBef>
                        <a:spcAft>
                          <a:spcPts val="600"/>
                        </a:spcAft>
                      </a:pPr>
                      <a:r>
                        <a:rPr lang="lv-LV" sz="1600" dirty="0">
                          <a:effectLst/>
                        </a:rPr>
                        <a:t>Zvejas kontrole:</a:t>
                      </a:r>
                      <a:endParaRPr lang="en-US" sz="16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tc>
                <a:tc hMerge="1">
                  <a:txBody>
                    <a:bodyPr/>
                    <a:lstStyle/>
                    <a:p>
                      <a:endParaRPr lang="en-US"/>
                    </a:p>
                  </a:txBody>
                  <a:tcPr/>
                </a:tc>
                <a:tc>
                  <a:txBody>
                    <a:bodyPr/>
                    <a:lstStyle/>
                    <a:p>
                      <a:pPr algn="ctr">
                        <a:lnSpc>
                          <a:spcPct val="200000"/>
                        </a:lnSpc>
                        <a:spcBef>
                          <a:spcPts val="600"/>
                        </a:spcBef>
                        <a:spcAft>
                          <a:spcPts val="600"/>
                        </a:spcAft>
                      </a:pPr>
                      <a:r>
                        <a:rPr lang="en-US" sz="1600">
                          <a:effectLst/>
                        </a:rPr>
                        <a:t>441</a:t>
                      </a:r>
                      <a:endParaRPr lang="en-US" sz="160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algn="ctr">
                        <a:lnSpc>
                          <a:spcPct val="200000"/>
                        </a:lnSpc>
                        <a:spcBef>
                          <a:spcPts val="600"/>
                        </a:spcBef>
                        <a:spcAft>
                          <a:spcPts val="600"/>
                        </a:spcAft>
                      </a:pPr>
                      <a:r>
                        <a:rPr lang="en-US" sz="1600" dirty="0">
                          <a:effectLst/>
                        </a:rPr>
                        <a:t>55</a:t>
                      </a:r>
                      <a:endParaRPr lang="en-US" sz="16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0" marR="0" marT="0" marB="0"/>
                </a:tc>
                <a:extLst>
                  <a:ext uri="{0D108BD9-81ED-4DB2-BD59-A6C34878D82A}">
                    <a16:rowId xmlns:a16="http://schemas.microsoft.com/office/drawing/2014/main" val="10002"/>
                  </a:ext>
                </a:extLst>
              </a:tr>
              <a:tr h="334485">
                <a:tc rowSpan="4">
                  <a:txBody>
                    <a:bodyPr/>
                    <a:lstStyle/>
                    <a:p>
                      <a:pPr>
                        <a:lnSpc>
                          <a:spcPct val="150000"/>
                        </a:lnSpc>
                        <a:spcBef>
                          <a:spcPts val="600"/>
                        </a:spcBef>
                        <a:spcAft>
                          <a:spcPts val="600"/>
                        </a:spcAft>
                      </a:pPr>
                      <a:r>
                        <a:rPr lang="lv-LV" sz="1600" dirty="0">
                          <a:effectLst/>
                        </a:rPr>
                        <a:t>Pārbaudes radiācijas drošībā:</a:t>
                      </a:r>
                      <a:endParaRPr lang="en-US" sz="1600" dirty="0">
                        <a:effectLst/>
                      </a:endParaRPr>
                    </a:p>
                    <a:p>
                      <a:pPr>
                        <a:lnSpc>
                          <a:spcPct val="150000"/>
                        </a:lnSpc>
                        <a:spcBef>
                          <a:spcPts val="600"/>
                        </a:spcBef>
                        <a:spcAft>
                          <a:spcPts val="600"/>
                        </a:spcAft>
                      </a:pPr>
                      <a:r>
                        <a:rPr lang="lv-LV" sz="1600" dirty="0">
                          <a:effectLst/>
                        </a:rPr>
                        <a:t> </a:t>
                      </a:r>
                      <a:endParaRPr lang="en-US" sz="16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algn="r">
                        <a:lnSpc>
                          <a:spcPct val="150000"/>
                        </a:lnSpc>
                        <a:spcBef>
                          <a:spcPts val="600"/>
                        </a:spcBef>
                        <a:spcAft>
                          <a:spcPts val="600"/>
                        </a:spcAft>
                      </a:pPr>
                      <a:r>
                        <a:rPr lang="lv-LV" sz="1600" dirty="0">
                          <a:effectLst/>
                        </a:rPr>
                        <a:t>Zobārstniecība</a:t>
                      </a:r>
                      <a:endParaRPr lang="en-US" sz="16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algn="ctr">
                        <a:lnSpc>
                          <a:spcPct val="200000"/>
                        </a:lnSpc>
                        <a:spcBef>
                          <a:spcPts val="600"/>
                        </a:spcBef>
                        <a:spcAft>
                          <a:spcPts val="600"/>
                        </a:spcAft>
                      </a:pPr>
                      <a:r>
                        <a:rPr lang="lv-LV" sz="1600">
                          <a:effectLst/>
                        </a:rPr>
                        <a:t>77</a:t>
                      </a:r>
                      <a:endParaRPr lang="en-US" sz="160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algn="ctr">
                        <a:lnSpc>
                          <a:spcPct val="200000"/>
                        </a:lnSpc>
                        <a:spcBef>
                          <a:spcPts val="600"/>
                        </a:spcBef>
                        <a:spcAft>
                          <a:spcPts val="600"/>
                        </a:spcAft>
                      </a:pPr>
                      <a:r>
                        <a:rPr lang="en-US" sz="1600" dirty="0">
                          <a:effectLst/>
                        </a:rPr>
                        <a:t>45</a:t>
                      </a:r>
                      <a:endParaRPr lang="en-US" sz="16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0" marR="0" marT="0" marB="0"/>
                </a:tc>
                <a:extLst>
                  <a:ext uri="{0D108BD9-81ED-4DB2-BD59-A6C34878D82A}">
                    <a16:rowId xmlns:a16="http://schemas.microsoft.com/office/drawing/2014/main" val="10003"/>
                  </a:ext>
                </a:extLst>
              </a:tr>
              <a:tr h="334485">
                <a:tc vMerge="1">
                  <a:txBody>
                    <a:bodyPr/>
                    <a:lstStyle/>
                    <a:p>
                      <a:endParaRPr lang="en-US"/>
                    </a:p>
                  </a:txBody>
                  <a:tcPr/>
                </a:tc>
                <a:tc>
                  <a:txBody>
                    <a:bodyPr/>
                    <a:lstStyle/>
                    <a:p>
                      <a:pPr algn="r">
                        <a:lnSpc>
                          <a:spcPct val="150000"/>
                        </a:lnSpc>
                        <a:spcBef>
                          <a:spcPts val="600"/>
                        </a:spcBef>
                        <a:spcAft>
                          <a:spcPts val="600"/>
                        </a:spcAft>
                      </a:pPr>
                      <a:r>
                        <a:rPr lang="lv-LV" sz="1600" dirty="0">
                          <a:effectLst/>
                        </a:rPr>
                        <a:t>Medicīnas</a:t>
                      </a:r>
                      <a:endParaRPr lang="en-US" sz="16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algn="ctr">
                        <a:lnSpc>
                          <a:spcPct val="200000"/>
                        </a:lnSpc>
                        <a:spcBef>
                          <a:spcPts val="600"/>
                        </a:spcBef>
                        <a:spcAft>
                          <a:spcPts val="600"/>
                        </a:spcAft>
                      </a:pPr>
                      <a:r>
                        <a:rPr lang="lv-LV" sz="1600">
                          <a:effectLst/>
                        </a:rPr>
                        <a:t>1</a:t>
                      </a:r>
                      <a:r>
                        <a:rPr lang="en-US" sz="1600">
                          <a:effectLst/>
                        </a:rPr>
                        <a:t>3</a:t>
                      </a:r>
                      <a:endParaRPr lang="en-US" sz="160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algn="ctr">
                        <a:lnSpc>
                          <a:spcPct val="200000"/>
                        </a:lnSpc>
                        <a:spcBef>
                          <a:spcPts val="600"/>
                        </a:spcBef>
                        <a:spcAft>
                          <a:spcPts val="600"/>
                        </a:spcAft>
                      </a:pPr>
                      <a:r>
                        <a:rPr lang="en-US" sz="1600" dirty="0">
                          <a:effectLst/>
                        </a:rPr>
                        <a:t>10</a:t>
                      </a:r>
                      <a:endParaRPr lang="en-US" sz="16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0" marR="0" marT="0" marB="0"/>
                </a:tc>
                <a:extLst>
                  <a:ext uri="{0D108BD9-81ED-4DB2-BD59-A6C34878D82A}">
                    <a16:rowId xmlns:a16="http://schemas.microsoft.com/office/drawing/2014/main" val="10004"/>
                  </a:ext>
                </a:extLst>
              </a:tr>
              <a:tr h="334485">
                <a:tc vMerge="1">
                  <a:txBody>
                    <a:bodyPr/>
                    <a:lstStyle/>
                    <a:p>
                      <a:endParaRPr lang="en-US"/>
                    </a:p>
                  </a:txBody>
                  <a:tcPr/>
                </a:tc>
                <a:tc>
                  <a:txBody>
                    <a:bodyPr/>
                    <a:lstStyle/>
                    <a:p>
                      <a:pPr algn="r">
                        <a:lnSpc>
                          <a:spcPct val="150000"/>
                        </a:lnSpc>
                        <a:spcBef>
                          <a:spcPts val="600"/>
                        </a:spcBef>
                        <a:spcAft>
                          <a:spcPts val="600"/>
                        </a:spcAft>
                      </a:pPr>
                      <a:r>
                        <a:rPr lang="lv-LV" sz="1600" dirty="0">
                          <a:effectLst/>
                        </a:rPr>
                        <a:t>Nemedicīnas</a:t>
                      </a:r>
                      <a:endParaRPr lang="en-US" sz="16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algn="ctr">
                        <a:lnSpc>
                          <a:spcPct val="200000"/>
                        </a:lnSpc>
                        <a:spcBef>
                          <a:spcPts val="600"/>
                        </a:spcBef>
                        <a:spcAft>
                          <a:spcPts val="600"/>
                        </a:spcAft>
                      </a:pPr>
                      <a:r>
                        <a:rPr lang="en-US" sz="1600">
                          <a:effectLst/>
                        </a:rPr>
                        <a:t>14</a:t>
                      </a:r>
                      <a:endParaRPr lang="en-US" sz="160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algn="ctr">
                        <a:lnSpc>
                          <a:spcPct val="200000"/>
                        </a:lnSpc>
                        <a:spcBef>
                          <a:spcPts val="600"/>
                        </a:spcBef>
                        <a:spcAft>
                          <a:spcPts val="600"/>
                        </a:spcAft>
                      </a:pPr>
                      <a:r>
                        <a:rPr lang="en-US" sz="1600" dirty="0">
                          <a:effectLst/>
                        </a:rPr>
                        <a:t>10</a:t>
                      </a:r>
                      <a:endParaRPr lang="en-US" sz="16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0" marR="0" marT="0" marB="0"/>
                </a:tc>
                <a:extLst>
                  <a:ext uri="{0D108BD9-81ED-4DB2-BD59-A6C34878D82A}">
                    <a16:rowId xmlns:a16="http://schemas.microsoft.com/office/drawing/2014/main" val="10005"/>
                  </a:ext>
                </a:extLst>
              </a:tr>
              <a:tr h="334485">
                <a:tc vMerge="1">
                  <a:txBody>
                    <a:bodyPr/>
                    <a:lstStyle/>
                    <a:p>
                      <a:endParaRPr lang="en-US"/>
                    </a:p>
                  </a:txBody>
                  <a:tcPr/>
                </a:tc>
                <a:tc>
                  <a:txBody>
                    <a:bodyPr/>
                    <a:lstStyle/>
                    <a:p>
                      <a:pPr algn="r">
                        <a:lnSpc>
                          <a:spcPct val="150000"/>
                        </a:lnSpc>
                        <a:spcBef>
                          <a:spcPts val="600"/>
                        </a:spcBef>
                        <a:spcAft>
                          <a:spcPts val="600"/>
                        </a:spcAft>
                      </a:pPr>
                      <a:r>
                        <a:rPr lang="en-US" sz="1600" dirty="0" err="1">
                          <a:effectLst/>
                        </a:rPr>
                        <a:t>Kopā</a:t>
                      </a:r>
                      <a:r>
                        <a:rPr lang="en-US" sz="1600" dirty="0">
                          <a:effectLst/>
                        </a:rPr>
                        <a:t>:</a:t>
                      </a:r>
                      <a:endParaRPr lang="en-US" sz="16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algn="ctr">
                        <a:lnSpc>
                          <a:spcPct val="200000"/>
                        </a:lnSpc>
                        <a:spcBef>
                          <a:spcPts val="600"/>
                        </a:spcBef>
                        <a:spcAft>
                          <a:spcPts val="600"/>
                        </a:spcAft>
                      </a:pPr>
                      <a:r>
                        <a:rPr lang="en-US" sz="1600">
                          <a:effectLst/>
                        </a:rPr>
                        <a:t>104</a:t>
                      </a:r>
                      <a:endParaRPr lang="en-US" sz="160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algn="ctr">
                        <a:lnSpc>
                          <a:spcPct val="200000"/>
                        </a:lnSpc>
                        <a:spcBef>
                          <a:spcPts val="600"/>
                        </a:spcBef>
                        <a:spcAft>
                          <a:spcPts val="600"/>
                        </a:spcAft>
                      </a:pPr>
                      <a:r>
                        <a:rPr lang="lv-LV" sz="1600" dirty="0">
                          <a:effectLst/>
                        </a:rPr>
                        <a:t>65</a:t>
                      </a:r>
                      <a:endParaRPr lang="en-US" sz="16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0" marR="0" marT="0" marB="0"/>
                </a:tc>
                <a:extLst>
                  <a:ext uri="{0D108BD9-81ED-4DB2-BD59-A6C34878D82A}">
                    <a16:rowId xmlns:a16="http://schemas.microsoft.com/office/drawing/2014/main" val="10006"/>
                  </a:ext>
                </a:extLst>
              </a:tr>
              <a:tr h="334485">
                <a:tc gridSpan="2">
                  <a:txBody>
                    <a:bodyPr/>
                    <a:lstStyle/>
                    <a:p>
                      <a:pPr algn="ctr">
                        <a:lnSpc>
                          <a:spcPts val="1400"/>
                        </a:lnSpc>
                        <a:spcBef>
                          <a:spcPts val="600"/>
                        </a:spcBef>
                        <a:spcAft>
                          <a:spcPts val="600"/>
                        </a:spcAft>
                      </a:pPr>
                      <a:r>
                        <a:rPr lang="en-US" sz="1600">
                          <a:effectLst/>
                        </a:rPr>
                        <a:t>                                                    PAVISAM:   </a:t>
                      </a:r>
                      <a:endParaRPr lang="en-US" sz="1600">
                        <a:effectLst/>
                        <a:latin typeface="Arial" panose="020B0604020202020204" pitchFamily="34" charset="0"/>
                        <a:ea typeface="Times New Roman" panose="02020603050405020304" pitchFamily="18" charset="0"/>
                        <a:cs typeface="Times New Roman" panose="02020603050405020304" pitchFamily="18" charset="0"/>
                      </a:endParaRPr>
                    </a:p>
                  </a:txBody>
                  <a:tcPr marL="0" marR="0" marT="0" marB="0" anchor="ctr"/>
                </a:tc>
                <a:tc hMerge="1">
                  <a:txBody>
                    <a:bodyPr/>
                    <a:lstStyle/>
                    <a:p>
                      <a:endParaRPr lang="en-US"/>
                    </a:p>
                  </a:txBody>
                  <a:tcPr/>
                </a:tc>
                <a:tc>
                  <a:txBody>
                    <a:bodyPr/>
                    <a:lstStyle/>
                    <a:p>
                      <a:pPr algn="ctr">
                        <a:lnSpc>
                          <a:spcPct val="200000"/>
                        </a:lnSpc>
                        <a:spcBef>
                          <a:spcPts val="600"/>
                        </a:spcBef>
                        <a:spcAft>
                          <a:spcPts val="600"/>
                        </a:spcAft>
                      </a:pPr>
                      <a:r>
                        <a:rPr lang="lv-LV" sz="1600" b="1" dirty="0">
                          <a:effectLst/>
                        </a:rPr>
                        <a:t>1702</a:t>
                      </a:r>
                      <a:endParaRPr lang="en-US" sz="1600" b="1"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algn="ctr">
                        <a:lnSpc>
                          <a:spcPct val="200000"/>
                        </a:lnSpc>
                        <a:spcBef>
                          <a:spcPts val="600"/>
                        </a:spcBef>
                        <a:spcAft>
                          <a:spcPts val="600"/>
                        </a:spcAft>
                      </a:pPr>
                      <a:r>
                        <a:rPr lang="lv-LV" sz="1600" b="1" dirty="0">
                          <a:effectLst/>
                        </a:rPr>
                        <a:t>323</a:t>
                      </a:r>
                      <a:endParaRPr lang="en-US" sz="1600" b="1" dirty="0">
                        <a:effectLst/>
                        <a:latin typeface="Arial" panose="020B0604020202020204" pitchFamily="34" charset="0"/>
                        <a:ea typeface="Times New Roman" panose="02020603050405020304" pitchFamily="18" charset="0"/>
                        <a:cs typeface="Times New Roman" panose="02020603050405020304" pitchFamily="18" charset="0"/>
                      </a:endParaRPr>
                    </a:p>
                  </a:txBody>
                  <a:tcPr marL="0" marR="0" marT="0" marB="0"/>
                </a:tc>
                <a:extLst>
                  <a:ext uri="{0D108BD9-81ED-4DB2-BD59-A6C34878D82A}">
                    <a16:rowId xmlns:a16="http://schemas.microsoft.com/office/drawing/2014/main" val="10007"/>
                  </a:ext>
                </a:extLst>
              </a:tr>
            </a:tbl>
          </a:graphicData>
        </a:graphic>
      </p:graphicFrame>
      <p:sp>
        <p:nvSpPr>
          <p:cNvPr id="5" name="Rectangle 4"/>
          <p:cNvSpPr/>
          <p:nvPr/>
        </p:nvSpPr>
        <p:spPr>
          <a:xfrm>
            <a:off x="250165" y="5682508"/>
            <a:ext cx="8428007" cy="646331"/>
          </a:xfrm>
          <a:prstGeom prst="rect">
            <a:avLst/>
          </a:prstGeom>
          <a:noFill/>
          <a:ln w="9525">
            <a:noFill/>
            <a:miter lim="800000"/>
            <a:headEnd/>
            <a:tailEnd/>
          </a:ln>
        </p:spPr>
        <p:txBody>
          <a:bodyPr lIns="90000" tIns="46800" rIns="90000" bIns="46800" anchor="ctr"/>
          <a:lstStyle/>
          <a:p>
            <a:r>
              <a:rPr lang="lv-LV" dirty="0">
                <a:solidFill>
                  <a:schemeClr val="bg1"/>
                </a:solidFill>
              </a:rPr>
              <a:t>Lai nodrošinātu lielāku datu reprezentativitāti, dati svērti pēc VVD pārbaužu jomām.</a:t>
            </a:r>
            <a:endParaRPr lang="en-US" dirty="0">
              <a:solidFill>
                <a:schemeClr val="bg1"/>
              </a:solidFill>
            </a:endParaRPr>
          </a:p>
        </p:txBody>
      </p:sp>
    </p:spTree>
    <p:extLst>
      <p:ext uri="{BB962C8B-B14F-4D97-AF65-F5344CB8AC3E}">
        <p14:creationId xmlns:p14="http://schemas.microsoft.com/office/powerpoint/2010/main" val="130496171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VVD </a:t>
            </a:r>
            <a:r>
              <a:rPr lang="en-US" dirty="0" err="1"/>
              <a:t>klientu</a:t>
            </a:r>
            <a:r>
              <a:rPr lang="en-US" dirty="0"/>
              <a:t> </a:t>
            </a:r>
            <a:r>
              <a:rPr lang="en-US" dirty="0" err="1"/>
              <a:t>aptaujas</a:t>
            </a:r>
            <a:r>
              <a:rPr lang="en-US" dirty="0"/>
              <a:t> </a:t>
            </a:r>
            <a:r>
              <a:rPr lang="en-US" dirty="0" err="1"/>
              <a:t>rezultāti</a:t>
            </a:r>
            <a:endParaRPr lang="en-US" dirty="0"/>
          </a:p>
        </p:txBody>
      </p:sp>
    </p:spTree>
    <p:extLst>
      <p:ext uri="{BB962C8B-B14F-4D97-AF65-F5344CB8AC3E}">
        <p14:creationId xmlns:p14="http://schemas.microsoft.com/office/powerpoint/2010/main" val="222066289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lv-LV" dirty="0"/>
              <a:t>Sniegto pakalpojumu kvalitāte un pārbaudes procesa novērtējums</a:t>
            </a:r>
          </a:p>
        </p:txBody>
      </p:sp>
      <p:sp>
        <p:nvSpPr>
          <p:cNvPr id="3" name="Text Placeholder 2"/>
          <p:cNvSpPr>
            <a:spLocks noGrp="1"/>
          </p:cNvSpPr>
          <p:nvPr>
            <p:ph type="body" idx="1"/>
          </p:nvPr>
        </p:nvSpPr>
        <p:spPr/>
        <p:txBody>
          <a:bodyPr/>
          <a:lstStyle/>
          <a:p>
            <a:endParaRPr lang="lv-LV"/>
          </a:p>
        </p:txBody>
      </p:sp>
    </p:spTree>
    <p:extLst>
      <p:ext uri="{BB962C8B-B14F-4D97-AF65-F5344CB8AC3E}">
        <p14:creationId xmlns:p14="http://schemas.microsoft.com/office/powerpoint/2010/main" val="38519350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lv-LV" dirty="0"/>
              <a:t>Apmierinātība ar VVD sniegto pakalpojumu kvalitāti 2020. gadā </a:t>
            </a:r>
          </a:p>
        </p:txBody>
      </p:sp>
      <p:sp>
        <p:nvSpPr>
          <p:cNvPr id="36" name="Text Placeholder 5"/>
          <p:cNvSpPr txBox="1">
            <a:spLocks/>
          </p:cNvSpPr>
          <p:nvPr/>
        </p:nvSpPr>
        <p:spPr>
          <a:xfrm>
            <a:off x="133350" y="5950985"/>
            <a:ext cx="11925299" cy="485209"/>
          </a:xfrm>
          <a:prstGeom prst="rect">
            <a:avLst/>
          </a:prstGeom>
        </p:spPr>
        <p:txBody>
          <a:bodyPr vert="horz" lIns="91440" tIns="45720" rIns="91440" bIns="45720" rtlCol="0" anchor="b" anchorCtr="0">
            <a:noAutofit/>
          </a:bodyPr>
          <a:lstStyle>
            <a:lvl1pPr marL="0" indent="0" algn="l" defTabSz="914400" rtl="0" eaLnBrk="1" latinLnBrk="0" hangingPunct="1">
              <a:lnSpc>
                <a:spcPct val="100000"/>
              </a:lnSpc>
              <a:spcBef>
                <a:spcPts val="0"/>
              </a:spcBef>
              <a:buSzPct val="50000"/>
              <a:buFont typeface="Wingdings" panose="05000000000000000000" pitchFamily="2" charset="2"/>
              <a:buNone/>
              <a:defRPr sz="1200" i="0" kern="1200" baseline="0">
                <a:solidFill>
                  <a:schemeClr val="bg1">
                    <a:lumMod val="50000"/>
                  </a:schemeClr>
                </a:solidFill>
                <a:latin typeface="+mj-lt"/>
                <a:ea typeface="+mn-ea"/>
                <a:cs typeface="+mn-cs"/>
              </a:defRPr>
            </a:lvl1pPr>
            <a:lvl2pPr marL="685800" indent="-228600" algn="l" defTabSz="914400" rtl="0" eaLnBrk="1" latinLnBrk="0" hangingPunct="1">
              <a:lnSpc>
                <a:spcPct val="90000"/>
              </a:lnSpc>
              <a:spcBef>
                <a:spcPts val="500"/>
              </a:spcBef>
              <a:buSzPct val="50000"/>
              <a:buFont typeface="Wingdings" panose="05000000000000000000" pitchFamily="2" charset="2"/>
              <a:buChar char="§"/>
              <a:defRPr sz="1200" kern="1200">
                <a:solidFill>
                  <a:schemeClr val="bg1">
                    <a:lumMod val="50000"/>
                  </a:schemeClr>
                </a:solidFill>
                <a:latin typeface="+mj-lt"/>
                <a:ea typeface="+mn-ea"/>
                <a:cs typeface="+mn-cs"/>
              </a:defRPr>
            </a:lvl2pPr>
            <a:lvl3pPr marL="1143000" indent="-228600" algn="l" defTabSz="914400" rtl="0" eaLnBrk="1" latinLnBrk="0" hangingPunct="1">
              <a:lnSpc>
                <a:spcPct val="90000"/>
              </a:lnSpc>
              <a:spcBef>
                <a:spcPts val="500"/>
              </a:spcBef>
              <a:buSzPct val="50000"/>
              <a:buFont typeface="Wingdings" panose="05000000000000000000" pitchFamily="2" charset="2"/>
              <a:buChar char="§"/>
              <a:defRPr sz="1200" kern="1200">
                <a:solidFill>
                  <a:schemeClr val="bg1">
                    <a:lumMod val="50000"/>
                  </a:schemeClr>
                </a:solidFill>
                <a:latin typeface="+mj-lt"/>
                <a:ea typeface="+mn-ea"/>
                <a:cs typeface="+mn-cs"/>
              </a:defRPr>
            </a:lvl3pPr>
            <a:lvl4pPr marL="1600200" indent="-228600" algn="l" defTabSz="914400" rtl="0" eaLnBrk="1" latinLnBrk="0" hangingPunct="1">
              <a:lnSpc>
                <a:spcPct val="90000"/>
              </a:lnSpc>
              <a:spcBef>
                <a:spcPts val="500"/>
              </a:spcBef>
              <a:buSzPct val="50000"/>
              <a:buFont typeface="Wingdings" panose="05000000000000000000" pitchFamily="2" charset="2"/>
              <a:buChar char="§"/>
              <a:defRPr sz="1200" kern="1200">
                <a:solidFill>
                  <a:schemeClr val="bg1">
                    <a:lumMod val="50000"/>
                  </a:schemeClr>
                </a:solidFill>
                <a:latin typeface="+mj-lt"/>
                <a:ea typeface="+mn-ea"/>
                <a:cs typeface="+mn-cs"/>
              </a:defRPr>
            </a:lvl4pPr>
            <a:lvl5pPr marL="2057400" indent="-228600" algn="l" defTabSz="914400" rtl="0" eaLnBrk="1" latinLnBrk="0" hangingPunct="1">
              <a:lnSpc>
                <a:spcPct val="90000"/>
              </a:lnSpc>
              <a:spcBef>
                <a:spcPts val="500"/>
              </a:spcBef>
              <a:buSzPct val="50000"/>
              <a:buFont typeface="Wingdings" panose="05000000000000000000" pitchFamily="2" charset="2"/>
              <a:buChar char="§"/>
              <a:defRPr sz="1200" kern="1200">
                <a:solidFill>
                  <a:schemeClr val="bg1">
                    <a:lumMod val="50000"/>
                  </a:schemeClr>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r>
              <a:rPr lang="lv-LV" sz="1000" dirty="0">
                <a:solidFill>
                  <a:sysClr val="window" lastClr="FFFFFF">
                    <a:lumMod val="50000"/>
                  </a:sysClr>
                </a:solidFill>
                <a:latin typeface="Calibri"/>
              </a:rPr>
              <a:t>Q1. Cik apmierināts kopumā Jūs esat ar Valsts vides dienesta sniegto pakalpojumu kvalitāti 2020. gadā? </a:t>
            </a:r>
            <a:endParaRPr lang="en-US" sz="1000" dirty="0">
              <a:solidFill>
                <a:sysClr val="window" lastClr="FFFFFF">
                  <a:lumMod val="50000"/>
                </a:sysClr>
              </a:solidFill>
              <a:latin typeface="Calibri"/>
            </a:endParaRPr>
          </a:p>
          <a:p>
            <a:pPr lvl="0"/>
            <a:r>
              <a:rPr lang="lv-LV" sz="1000" dirty="0">
                <a:solidFill>
                  <a:sysClr val="window" lastClr="FFFFFF">
                    <a:lumMod val="50000"/>
                  </a:sysClr>
                </a:solidFill>
                <a:latin typeface="Calibri"/>
              </a:rPr>
              <a:t>Bāze: visi respondenti</a:t>
            </a:r>
            <a:r>
              <a:rPr lang="en-US" sz="1000" dirty="0">
                <a:solidFill>
                  <a:sysClr val="window" lastClr="FFFFFF">
                    <a:lumMod val="50000"/>
                  </a:sysClr>
                </a:solidFill>
                <a:latin typeface="Calibri"/>
              </a:rPr>
              <a:t>, `n` </a:t>
            </a:r>
            <a:r>
              <a:rPr lang="en-US" sz="1000" dirty="0" err="1">
                <a:solidFill>
                  <a:sysClr val="window" lastClr="FFFFFF">
                    <a:lumMod val="50000"/>
                  </a:sysClr>
                </a:solidFill>
                <a:latin typeface="Calibri"/>
              </a:rPr>
              <a:t>skat</a:t>
            </a:r>
            <a:r>
              <a:rPr lang="lv-LV" sz="1000" dirty="0" err="1">
                <a:solidFill>
                  <a:sysClr val="window" lastClr="FFFFFF">
                    <a:lumMod val="50000"/>
                  </a:sysClr>
                </a:solidFill>
                <a:latin typeface="Calibri"/>
              </a:rPr>
              <a:t>īt</a:t>
            </a:r>
            <a:r>
              <a:rPr lang="lv-LV" sz="1000" dirty="0">
                <a:solidFill>
                  <a:sysClr val="window" lastClr="FFFFFF">
                    <a:lumMod val="50000"/>
                  </a:sysClr>
                </a:solidFill>
                <a:latin typeface="Calibri"/>
              </a:rPr>
              <a:t> grafikā</a:t>
            </a:r>
            <a:endParaRPr kumimoji="0" lang="lv-LV" sz="1000" b="0" i="0" u="none" strike="noStrike" kern="1200" cap="none" spc="0" normalizeH="0" baseline="0" noProof="0" dirty="0">
              <a:ln>
                <a:noFill/>
              </a:ln>
              <a:solidFill>
                <a:sysClr val="window" lastClr="FFFFFF">
                  <a:lumMod val="50000"/>
                </a:sysClr>
              </a:solidFill>
              <a:effectLst/>
              <a:uLnTx/>
              <a:uFillTx/>
              <a:latin typeface="Calibri"/>
              <a:ea typeface="+mn-ea"/>
              <a:cs typeface="+mn-cs"/>
            </a:endParaRPr>
          </a:p>
        </p:txBody>
      </p:sp>
      <p:graphicFrame>
        <p:nvGraphicFramePr>
          <p:cNvPr id="38" name="Chart 37"/>
          <p:cNvGraphicFramePr/>
          <p:nvPr>
            <p:extLst>
              <p:ext uri="{D42A27DB-BD31-4B8C-83A1-F6EECF244321}">
                <p14:modId xmlns:p14="http://schemas.microsoft.com/office/powerpoint/2010/main" val="1063402831"/>
              </p:ext>
            </p:extLst>
          </p:nvPr>
        </p:nvGraphicFramePr>
        <p:xfrm>
          <a:off x="650448" y="1153392"/>
          <a:ext cx="10550951" cy="4652348"/>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353868175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lv-LV" dirty="0"/>
              <a:t>Pēdējās pārbaudes procesa novērtējums kopumā</a:t>
            </a:r>
          </a:p>
        </p:txBody>
      </p:sp>
      <p:sp>
        <p:nvSpPr>
          <p:cNvPr id="36" name="Text Placeholder 5"/>
          <p:cNvSpPr txBox="1">
            <a:spLocks/>
          </p:cNvSpPr>
          <p:nvPr/>
        </p:nvSpPr>
        <p:spPr>
          <a:xfrm>
            <a:off x="133350" y="5950985"/>
            <a:ext cx="11925299" cy="485209"/>
          </a:xfrm>
          <a:prstGeom prst="rect">
            <a:avLst/>
          </a:prstGeom>
        </p:spPr>
        <p:txBody>
          <a:bodyPr vert="horz" lIns="91440" tIns="45720" rIns="91440" bIns="45720" rtlCol="0" anchor="b" anchorCtr="0">
            <a:noAutofit/>
          </a:bodyPr>
          <a:lstStyle>
            <a:lvl1pPr marL="0" indent="0" algn="l" defTabSz="914400" rtl="0" eaLnBrk="1" latinLnBrk="0" hangingPunct="1">
              <a:lnSpc>
                <a:spcPct val="100000"/>
              </a:lnSpc>
              <a:spcBef>
                <a:spcPts val="0"/>
              </a:spcBef>
              <a:buSzPct val="50000"/>
              <a:buFont typeface="Wingdings" panose="05000000000000000000" pitchFamily="2" charset="2"/>
              <a:buNone/>
              <a:defRPr sz="1200" i="0" kern="1200" baseline="0">
                <a:solidFill>
                  <a:schemeClr val="bg1">
                    <a:lumMod val="50000"/>
                  </a:schemeClr>
                </a:solidFill>
                <a:latin typeface="+mj-lt"/>
                <a:ea typeface="+mn-ea"/>
                <a:cs typeface="+mn-cs"/>
              </a:defRPr>
            </a:lvl1pPr>
            <a:lvl2pPr marL="685800" indent="-228600" algn="l" defTabSz="914400" rtl="0" eaLnBrk="1" latinLnBrk="0" hangingPunct="1">
              <a:lnSpc>
                <a:spcPct val="90000"/>
              </a:lnSpc>
              <a:spcBef>
                <a:spcPts val="500"/>
              </a:spcBef>
              <a:buSzPct val="50000"/>
              <a:buFont typeface="Wingdings" panose="05000000000000000000" pitchFamily="2" charset="2"/>
              <a:buChar char="§"/>
              <a:defRPr sz="1200" kern="1200">
                <a:solidFill>
                  <a:schemeClr val="bg1">
                    <a:lumMod val="50000"/>
                  </a:schemeClr>
                </a:solidFill>
                <a:latin typeface="+mj-lt"/>
                <a:ea typeface="+mn-ea"/>
                <a:cs typeface="+mn-cs"/>
              </a:defRPr>
            </a:lvl2pPr>
            <a:lvl3pPr marL="1143000" indent="-228600" algn="l" defTabSz="914400" rtl="0" eaLnBrk="1" latinLnBrk="0" hangingPunct="1">
              <a:lnSpc>
                <a:spcPct val="90000"/>
              </a:lnSpc>
              <a:spcBef>
                <a:spcPts val="500"/>
              </a:spcBef>
              <a:buSzPct val="50000"/>
              <a:buFont typeface="Wingdings" panose="05000000000000000000" pitchFamily="2" charset="2"/>
              <a:buChar char="§"/>
              <a:defRPr sz="1200" kern="1200">
                <a:solidFill>
                  <a:schemeClr val="bg1">
                    <a:lumMod val="50000"/>
                  </a:schemeClr>
                </a:solidFill>
                <a:latin typeface="+mj-lt"/>
                <a:ea typeface="+mn-ea"/>
                <a:cs typeface="+mn-cs"/>
              </a:defRPr>
            </a:lvl3pPr>
            <a:lvl4pPr marL="1600200" indent="-228600" algn="l" defTabSz="914400" rtl="0" eaLnBrk="1" latinLnBrk="0" hangingPunct="1">
              <a:lnSpc>
                <a:spcPct val="90000"/>
              </a:lnSpc>
              <a:spcBef>
                <a:spcPts val="500"/>
              </a:spcBef>
              <a:buSzPct val="50000"/>
              <a:buFont typeface="Wingdings" panose="05000000000000000000" pitchFamily="2" charset="2"/>
              <a:buChar char="§"/>
              <a:defRPr sz="1200" kern="1200">
                <a:solidFill>
                  <a:schemeClr val="bg1">
                    <a:lumMod val="50000"/>
                  </a:schemeClr>
                </a:solidFill>
                <a:latin typeface="+mj-lt"/>
                <a:ea typeface="+mn-ea"/>
                <a:cs typeface="+mn-cs"/>
              </a:defRPr>
            </a:lvl4pPr>
            <a:lvl5pPr marL="2057400" indent="-228600" algn="l" defTabSz="914400" rtl="0" eaLnBrk="1" latinLnBrk="0" hangingPunct="1">
              <a:lnSpc>
                <a:spcPct val="90000"/>
              </a:lnSpc>
              <a:spcBef>
                <a:spcPts val="500"/>
              </a:spcBef>
              <a:buSzPct val="50000"/>
              <a:buFont typeface="Wingdings" panose="05000000000000000000" pitchFamily="2" charset="2"/>
              <a:buChar char="§"/>
              <a:defRPr sz="1200" kern="1200">
                <a:solidFill>
                  <a:schemeClr val="bg1">
                    <a:lumMod val="50000"/>
                  </a:schemeClr>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r>
              <a:rPr lang="lv-LV" sz="1000" dirty="0">
                <a:solidFill>
                  <a:sysClr val="window" lastClr="FFFFFF">
                    <a:lumMod val="50000"/>
                  </a:sysClr>
                </a:solidFill>
                <a:latin typeface="Calibri"/>
              </a:rPr>
              <a:t>Q6. Lūdzu, novērtējiet nesenākās, pēdējās pārbaudes procesu kopumā. Cik labi īstenota, Jūsuprāt, tā bija no Valsts vides dienesta puses?</a:t>
            </a:r>
          </a:p>
          <a:p>
            <a:pPr lvl="0"/>
            <a:r>
              <a:rPr lang="lv-LV" sz="1000" dirty="0">
                <a:solidFill>
                  <a:sysClr val="window" lastClr="FFFFFF">
                    <a:lumMod val="50000"/>
                  </a:sysClr>
                </a:solidFill>
                <a:latin typeface="Calibri"/>
              </a:rPr>
              <a:t>Bāze: visi respondenti</a:t>
            </a:r>
            <a:r>
              <a:rPr lang="en-US" sz="1000" dirty="0">
                <a:solidFill>
                  <a:sysClr val="window" lastClr="FFFFFF">
                    <a:lumMod val="50000"/>
                  </a:sysClr>
                </a:solidFill>
                <a:latin typeface="Calibri"/>
              </a:rPr>
              <a:t>, `n` </a:t>
            </a:r>
            <a:r>
              <a:rPr lang="en-US" sz="1000" dirty="0" err="1">
                <a:solidFill>
                  <a:sysClr val="window" lastClr="FFFFFF">
                    <a:lumMod val="50000"/>
                  </a:sysClr>
                </a:solidFill>
                <a:latin typeface="Calibri"/>
              </a:rPr>
              <a:t>skat</a:t>
            </a:r>
            <a:r>
              <a:rPr lang="lv-LV" sz="1000" dirty="0" err="1">
                <a:solidFill>
                  <a:sysClr val="window" lastClr="FFFFFF">
                    <a:lumMod val="50000"/>
                  </a:sysClr>
                </a:solidFill>
                <a:latin typeface="Calibri"/>
              </a:rPr>
              <a:t>īt</a:t>
            </a:r>
            <a:r>
              <a:rPr lang="lv-LV" sz="1000" dirty="0">
                <a:solidFill>
                  <a:sysClr val="window" lastClr="FFFFFF">
                    <a:lumMod val="50000"/>
                  </a:sysClr>
                </a:solidFill>
                <a:latin typeface="Calibri"/>
              </a:rPr>
              <a:t> grafikā</a:t>
            </a:r>
            <a:endParaRPr kumimoji="0" lang="lv-LV" sz="1000" b="0" i="0" u="none" strike="noStrike" kern="1200" cap="none" spc="0" normalizeH="0" baseline="0" noProof="0" dirty="0">
              <a:ln>
                <a:noFill/>
              </a:ln>
              <a:solidFill>
                <a:sysClr val="window" lastClr="FFFFFF">
                  <a:lumMod val="50000"/>
                </a:sysClr>
              </a:solidFill>
              <a:effectLst/>
              <a:uLnTx/>
              <a:uFillTx/>
              <a:latin typeface="Calibri"/>
              <a:ea typeface="+mn-ea"/>
              <a:cs typeface="+mn-cs"/>
            </a:endParaRPr>
          </a:p>
        </p:txBody>
      </p:sp>
      <p:graphicFrame>
        <p:nvGraphicFramePr>
          <p:cNvPr id="38" name="Chart 37"/>
          <p:cNvGraphicFramePr/>
          <p:nvPr>
            <p:extLst>
              <p:ext uri="{D42A27DB-BD31-4B8C-83A1-F6EECF244321}">
                <p14:modId xmlns:p14="http://schemas.microsoft.com/office/powerpoint/2010/main" val="2143454183"/>
              </p:ext>
            </p:extLst>
          </p:nvPr>
        </p:nvGraphicFramePr>
        <p:xfrm>
          <a:off x="650448" y="1298864"/>
          <a:ext cx="10457433" cy="4506875"/>
        </p:xfrm>
        <a:graphic>
          <a:graphicData uri="http://schemas.openxmlformats.org/drawingml/2006/chart">
            <c:chart xmlns:c="http://schemas.openxmlformats.org/drawingml/2006/chart" xmlns:r="http://schemas.openxmlformats.org/officeDocument/2006/relationships" r:id="rId2"/>
          </a:graphicData>
        </a:graphic>
      </p:graphicFrame>
      <p:cxnSp>
        <p:nvCxnSpPr>
          <p:cNvPr id="5" name="Straight Arrow Connector 4"/>
          <p:cNvCxnSpPr/>
          <p:nvPr/>
        </p:nvCxnSpPr>
        <p:spPr>
          <a:xfrm rot="10800000" flipV="1">
            <a:off x="8201576" y="4653386"/>
            <a:ext cx="0" cy="216024"/>
          </a:xfrm>
          <a:prstGeom prst="straightConnector1">
            <a:avLst/>
          </a:prstGeom>
          <a:ln w="19050">
            <a:solidFill>
              <a:srgbClr val="B2371A"/>
            </a:solidFill>
            <a:headEnd type="none" w="med" len="med"/>
            <a:tailEnd type="arrow"/>
          </a:ln>
        </p:spPr>
        <p:style>
          <a:lnRef idx="1">
            <a:schemeClr val="accent1"/>
          </a:lnRef>
          <a:fillRef idx="0">
            <a:schemeClr val="accent1"/>
          </a:fillRef>
          <a:effectRef idx="0">
            <a:schemeClr val="accent1"/>
          </a:effectRef>
          <a:fontRef idx="minor">
            <a:schemeClr val="tx1"/>
          </a:fontRef>
        </p:style>
      </p:cxnSp>
      <p:cxnSp>
        <p:nvCxnSpPr>
          <p:cNvPr id="6" name="Straight Arrow Connector 5"/>
          <p:cNvCxnSpPr/>
          <p:nvPr/>
        </p:nvCxnSpPr>
        <p:spPr>
          <a:xfrm flipV="1">
            <a:off x="6289069" y="3926334"/>
            <a:ext cx="0" cy="216024"/>
          </a:xfrm>
          <a:prstGeom prst="straightConnector1">
            <a:avLst/>
          </a:prstGeom>
          <a:ln w="19050">
            <a:solidFill>
              <a:srgbClr val="1B7F24"/>
            </a:solidFill>
            <a:headEnd type="none" w="med" len="med"/>
            <a:tailEnd type="arrow"/>
          </a:ln>
        </p:spPr>
        <p:style>
          <a:lnRef idx="1">
            <a:schemeClr val="accent1"/>
          </a:lnRef>
          <a:fillRef idx="0">
            <a:schemeClr val="accent1"/>
          </a:fillRef>
          <a:effectRef idx="0">
            <a:schemeClr val="accent1"/>
          </a:effectRef>
          <a:fontRef idx="minor">
            <a:schemeClr val="tx1"/>
          </a:fontRef>
        </p:style>
      </p:cxnSp>
      <p:cxnSp>
        <p:nvCxnSpPr>
          <p:cNvPr id="7" name="Straight Arrow Connector 6"/>
          <p:cNvCxnSpPr/>
          <p:nvPr/>
        </p:nvCxnSpPr>
        <p:spPr>
          <a:xfrm flipV="1">
            <a:off x="8201575" y="3190244"/>
            <a:ext cx="0" cy="216024"/>
          </a:xfrm>
          <a:prstGeom prst="straightConnector1">
            <a:avLst/>
          </a:prstGeom>
          <a:ln w="19050">
            <a:solidFill>
              <a:srgbClr val="1B7F24"/>
            </a:solidFill>
            <a:headEnd type="none" w="med" len="med"/>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3712563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Y1albhT3SUeUeDdZV47s2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malIZ_AUOEuFkek9ybm33g"/>
</p:tagLst>
</file>

<file path=ppt/tags/tag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q_ev.VPN5kalUFWXp79iQ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T7.8USRnPka8mLzTENxAy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Y1albhT3SUeUeDdZV47s2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T7.8USRnPka8mLzTENxAy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Y1albhT3SUeUeDdZV47s2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T7.8USRnPka8mLzTENxAy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T7.8USRnPka8mLzTENxAyw"/>
</p:tagLst>
</file>

<file path=ppt/theme/theme1.xml><?xml version="1.0" encoding="utf-8"?>
<a:theme xmlns:a="http://schemas.openxmlformats.org/drawingml/2006/main" name="1_Logo in corner">
  <a:themeElements>
    <a:clrScheme name="RAIT">
      <a:dk1>
        <a:sysClr val="windowText" lastClr="000000"/>
      </a:dk1>
      <a:lt1>
        <a:sysClr val="window" lastClr="FFFFFF"/>
      </a:lt1>
      <a:dk2>
        <a:srgbClr val="1F497D"/>
      </a:dk2>
      <a:lt2>
        <a:srgbClr val="EEECE1"/>
      </a:lt2>
      <a:accent1>
        <a:srgbClr val="073C45"/>
      </a:accent1>
      <a:accent2>
        <a:srgbClr val="14A2BA"/>
      </a:accent2>
      <a:accent3>
        <a:srgbClr val="99E8F5"/>
      </a:accent3>
      <a:accent4>
        <a:srgbClr val="F1AA99"/>
      </a:accent4>
      <a:accent5>
        <a:srgbClr val="B2371A"/>
      </a:accent5>
      <a:accent6>
        <a:srgbClr val="661F0E"/>
      </a:accent6>
      <a:hlink>
        <a:srgbClr val="7F7F7F"/>
      </a:hlink>
      <a:folHlink>
        <a:srgbClr val="0000FF"/>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No logo in corner">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36627</TotalTime>
  <Words>1575</Words>
  <Application>Microsoft Office PowerPoint</Application>
  <PresentationFormat>Platekrāna</PresentationFormat>
  <Paragraphs>287</Paragraphs>
  <Slides>36</Slides>
  <Notes>2</Notes>
  <HiddenSlides>0</HiddenSlides>
  <MMClips>0</MMClips>
  <ScaleCrop>false</ScaleCrop>
  <HeadingPairs>
    <vt:vector size="6" baseType="variant">
      <vt:variant>
        <vt:lpstr>Lietotie fonti</vt:lpstr>
      </vt:variant>
      <vt:variant>
        <vt:i4>6</vt:i4>
      </vt:variant>
      <vt:variant>
        <vt:lpstr>Dizains</vt:lpstr>
      </vt:variant>
      <vt:variant>
        <vt:i4>2</vt:i4>
      </vt:variant>
      <vt:variant>
        <vt:lpstr>Slaidu virsraksti</vt:lpstr>
      </vt:variant>
      <vt:variant>
        <vt:i4>36</vt:i4>
      </vt:variant>
    </vt:vector>
  </HeadingPairs>
  <TitlesOfParts>
    <vt:vector size="44" baseType="lpstr">
      <vt:lpstr>Arial</vt:lpstr>
      <vt:lpstr>Calibri</vt:lpstr>
      <vt:lpstr>Calibri Light</vt:lpstr>
      <vt:lpstr>Cambria Math</vt:lpstr>
      <vt:lpstr>Times New Roman</vt:lpstr>
      <vt:lpstr>Wingdings</vt:lpstr>
      <vt:lpstr>1_Logo in corner</vt:lpstr>
      <vt:lpstr>No logo in corner</vt:lpstr>
      <vt:lpstr>PowerPoint prezentācija</vt:lpstr>
      <vt:lpstr>Saturs</vt:lpstr>
      <vt:lpstr>Metodoloģija</vt:lpstr>
      <vt:lpstr>Metodoloģija</vt:lpstr>
      <vt:lpstr>Klientu aptaujas izlases struktūra</vt:lpstr>
      <vt:lpstr>VVD klientu aptaujas rezultāti</vt:lpstr>
      <vt:lpstr>Sniegto pakalpojumu kvalitāte un pārbaudes procesa novērtējums</vt:lpstr>
      <vt:lpstr>Apmierinātība ar VVD sniegto pakalpojumu kvalitāti 2020. gadā </vt:lpstr>
      <vt:lpstr>Pēdējās pārbaudes procesa novērtējums kopumā</vt:lpstr>
      <vt:lpstr>Sadarbības ar VVD visaugstāk novērtētie aspekti</vt:lpstr>
      <vt:lpstr>Attālināto pārbaužu novērtējums</vt:lpstr>
      <vt:lpstr>Attālināto un klātienes pārbaužu sadalījums</vt:lpstr>
      <vt:lpstr>VVD tehniskās gatavības attālinātai pārbaudei novērtējums</vt:lpstr>
      <vt:lpstr>Klientu tehniskās gatavības attālinātai pārbaudei pašvērtējums</vt:lpstr>
      <vt:lpstr>Attālināto pārbaužu operatīiitātes un efektivitātes novērtējums</vt:lpstr>
      <vt:lpstr>Informēšanas par pārbaudi savlaicīguma novērtējums</vt:lpstr>
      <vt:lpstr>Informēšanas par pārbaudi savlaicīguma novērtējums</vt:lpstr>
      <vt:lpstr>Informēšanas par pārbaudi savlaicīguma novērtējums</vt:lpstr>
      <vt:lpstr>Koruptīvo risku novērtējums</vt:lpstr>
      <vt:lpstr>Koruptīvo risku novērtējums klātienē veiktām pārbaudēm</vt:lpstr>
      <vt:lpstr>Koruptīvo risku novērtējums attālināti veiktām pārbaudēm</vt:lpstr>
      <vt:lpstr>Inspektoru snieguma novērtējums</vt:lpstr>
      <vt:lpstr>Inspektoru rīcības ētiskuma novērtējums</vt:lpstr>
      <vt:lpstr>Inspektoru sniegto konsultāciju, ieteikumu novērtējums</vt:lpstr>
      <vt:lpstr>Inspektoru profesionalitātes novērtējums</vt:lpstr>
      <vt:lpstr>Inspektoru darba kvalitātes novērtējums</vt:lpstr>
      <vt:lpstr>Inspektoru sniegtās informācijas par pārbaudes mērķiem un norisi novērtējums</vt:lpstr>
      <vt:lpstr>Pārbaudes akta novērtējums</vt:lpstr>
      <vt:lpstr>Pārbaudes akta saņemšanas savlaicīguma novērtējums</vt:lpstr>
      <vt:lpstr>Pārbaudes aktā iekļautās informācijas apjoma novērtējums</vt:lpstr>
      <vt:lpstr>Pārbaudes akta saprotamība</vt:lpstr>
      <vt:lpstr>VVD pārbaužu ietekme uz atbilstību vides prasībām un ieteikumi</vt:lpstr>
      <vt:lpstr>Pārbaužu veicinošā ietekme uz darbības atbilstību normatīvo aktu prasībām</vt:lpstr>
      <vt:lpstr>VVD darbinieku sniegto konsultāciju novērtējums </vt:lpstr>
      <vt:lpstr>Metodoloģija</vt:lpstr>
      <vt:lpstr>Rezultāti</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lukasv</dc:creator>
  <cp:lastModifiedBy>Liga Zvirbule</cp:lastModifiedBy>
  <cp:revision>1492</cp:revision>
  <dcterms:created xsi:type="dcterms:W3CDTF">2015-10-16T12:34:11Z</dcterms:created>
  <dcterms:modified xsi:type="dcterms:W3CDTF">2021-01-04T09:27:41Z</dcterms:modified>
</cp:coreProperties>
</file>